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notesSlides/notesSlide2.xml" ContentType="application/vnd.openxmlformats-officedocument.presentationml.notesSlide+xml"/>
  <Override PartName="/ppt/tags/tag9.xml" ContentType="application/vnd.openxmlformats-officedocument.presentationml.tags+xml"/>
  <Override PartName="/ppt/notesSlides/notesSlide3.xml" ContentType="application/vnd.openxmlformats-officedocument.presentationml.notesSlide+xml"/>
  <Override PartName="/ppt/tags/tag10.xml" ContentType="application/vnd.openxmlformats-officedocument.presentationml.tags+xml"/>
  <Override PartName="/ppt/notesSlides/notesSlide4.xml" ContentType="application/vnd.openxmlformats-officedocument.presentationml.notesSlide+xml"/>
  <Override PartName="/ppt/tags/tag11.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12.xml" ContentType="application/vnd.openxmlformats-officedocument.presentationml.tags+xml"/>
  <Override PartName="/ppt/notesSlides/notesSlide6.xml" ContentType="application/vnd.openxmlformats-officedocument.presentationml.notesSlide+xml"/>
  <Override PartName="/ppt/tags/tag13.xml" ContentType="application/vnd.openxmlformats-officedocument.presentationml.tags+xml"/>
  <Override PartName="/ppt/notesSlides/notesSlide7.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notesSlides/notesSlide8.xml" ContentType="application/vnd.openxmlformats-officedocument.presentationml.notesSlide+xml"/>
  <Override PartName="/ppt/charts/chart3.xml" ContentType="application/vnd.openxmlformats-officedocument.drawingml.chart+xml"/>
  <Override PartName="/ppt/ink/ink1.xml" ContentType="application/inkml+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notesSlides/notesSlide9.xml" ContentType="application/vnd.openxmlformats-officedocument.presentationml.notesSlide+xml"/>
  <Override PartName="/ppt/charts/chart4.xml" ContentType="application/vnd.openxmlformats-officedocument.drawingml.chart+xml"/>
  <Override PartName="/ppt/charts/chart5.xml" ContentType="application/vnd.openxmlformats-officedocument.drawingml.chart+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notesSlides/notesSlide10.xml" ContentType="application/vnd.openxmlformats-officedocument.presentationml.notesSlide+xml"/>
  <Override PartName="/ppt/charts/chart6.xml" ContentType="application/vnd.openxmlformats-officedocument.drawingml.chart+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notesSlides/notesSlide11.xml" ContentType="application/vnd.openxmlformats-officedocument.presentationml.notesSlide+xml"/>
  <Override PartName="/ppt/charts/chart7.xml" ContentType="application/vnd.openxmlformats-officedocument.drawingml.chart+xml"/>
  <Override PartName="/ppt/ink/ink2.xml" ContentType="application/inkml+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notesSlides/notesSlide12.xml" ContentType="application/vnd.openxmlformats-officedocument.presentationml.notesSlide+xml"/>
  <Override PartName="/ppt/charts/chart8.xml" ContentType="application/vnd.openxmlformats-officedocument.drawingml.chart+xml"/>
  <Override PartName="/ppt/ink/ink3.xml" ContentType="application/inkml+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notesSlides/notesSlide13.xml" ContentType="application/vnd.openxmlformats-officedocument.presentationml.notesSlide+xml"/>
  <Override PartName="/ppt/charts/chart9.xml" ContentType="application/vnd.openxmlformats-officedocument.drawingml.chart+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notesSlides/notesSlide14.xml" ContentType="application/vnd.openxmlformats-officedocument.presentationml.notesSlide+xml"/>
  <Override PartName="/ppt/charts/chart10.xml" ContentType="application/vnd.openxmlformats-officedocument.drawingml.chart+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notesSlides/notesSlide15.xml" ContentType="application/vnd.openxmlformats-officedocument.presentationml.notesSlide+xml"/>
  <Override PartName="/ppt/ink/ink4.xml" ContentType="application/inkml+xml"/>
  <Override PartName="/ppt/charts/chart11.xml" ContentType="application/vnd.openxmlformats-officedocument.drawingml.chart+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notesSlides/notesSlide16.xml" ContentType="application/vnd.openxmlformats-officedocument.presentationml.notesSlide+xml"/>
  <Override PartName="/ppt/charts/chart12.xml" ContentType="application/vnd.openxmlformats-officedocument.drawingml.chart+xml"/>
  <Override PartName="/ppt/charts/chart13.xml" ContentType="application/vnd.openxmlformats-officedocument.drawingml.chart+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notesSlides/notesSlide17.xml" ContentType="application/vnd.openxmlformats-officedocument.presentationml.notesSlide+xml"/>
  <Override PartName="/ppt/charts/chart14.xml" ContentType="application/vnd.openxmlformats-officedocument.drawingml.chart+xml"/>
  <Override PartName="/ppt/charts/chart15.xml" ContentType="application/vnd.openxmlformats-officedocument.drawingml.chart+xml"/>
  <Override PartName="/ppt/tags/tag624.xml" ContentType="application/vnd.openxmlformats-officedocument.presentationml.tags+xml"/>
  <Override PartName="/ppt/tags/tag625.xml" ContentType="application/vnd.openxmlformats-officedocument.presentationml.tags+xml"/>
  <Override PartName="/ppt/notesSlides/notesSlide18.xml" ContentType="application/vnd.openxmlformats-officedocument.presentationml.notesSlide+xml"/>
  <Override PartName="/ppt/comments/modernComment_7FFFFB37_35849F2E.xml" ContentType="application/vnd.ms-powerpoint.comment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10" r:id="rId4"/>
    <p:sldMasterId id="2147483786" r:id="rId5"/>
    <p:sldMasterId id="2147483804" r:id="rId6"/>
    <p:sldMasterId id="2147483838" r:id="rId7"/>
    <p:sldMasterId id="2147483854" r:id="rId8"/>
  </p:sldMasterIdLst>
  <p:notesMasterIdLst>
    <p:notesMasterId r:id="rId28"/>
  </p:notesMasterIdLst>
  <p:handoutMasterIdLst>
    <p:handoutMasterId r:id="rId29"/>
  </p:handoutMasterIdLst>
  <p:sldIdLst>
    <p:sldId id="2147478681" r:id="rId9"/>
    <p:sldId id="2147482551" r:id="rId10"/>
    <p:sldId id="2147482416" r:id="rId11"/>
    <p:sldId id="2147482415" r:id="rId12"/>
    <p:sldId id="2147482446" r:id="rId13"/>
    <p:sldId id="2147482447" r:id="rId14"/>
    <p:sldId id="2147482448" r:id="rId15"/>
    <p:sldId id="2147482553" r:id="rId16"/>
    <p:sldId id="2147482422" r:id="rId17"/>
    <p:sldId id="2147482554" r:id="rId18"/>
    <p:sldId id="2147482444" r:id="rId19"/>
    <p:sldId id="2147482405" r:id="rId20"/>
    <p:sldId id="2147479077" r:id="rId21"/>
    <p:sldId id="2147482450" r:id="rId22"/>
    <p:sldId id="2147482552" r:id="rId23"/>
    <p:sldId id="2147482547" r:id="rId24"/>
    <p:sldId id="2147482546" r:id="rId25"/>
    <p:sldId id="2147478861" r:id="rId26"/>
    <p:sldId id="2147482423" r:id="rId27"/>
  </p:sldIdLst>
  <p:sldSz cx="12192000" cy="6858000"/>
  <p:notesSz cx="7010400" cy="9236075"/>
  <p:embeddedFontLst>
    <p:embeddedFont>
      <p:font typeface="Montserrat" panose="00000500000000000000" pitchFamily="2" charset="0"/>
      <p:regular r:id="rId30"/>
      <p:bold r:id="rId31"/>
      <p:italic r:id="rId32"/>
      <p:boldItalic r:id="rId33"/>
    </p:embeddedFont>
    <p:embeddedFont>
      <p:font typeface="Montserrat Light" panose="00000400000000000000" pitchFamily="2" charset="0"/>
      <p:regular r:id="rId34"/>
      <p:italic r:id="rId35"/>
    </p:embeddedFont>
    <p:embeddedFont>
      <p:font typeface="Montserrat SemiBold" panose="00000700000000000000" pitchFamily="2" charset="0"/>
      <p:bold r:id="rId36"/>
      <p:boldItalic r:id="rId37"/>
    </p:embeddedFont>
  </p:embeddedFontLst>
  <p:custDataLst>
    <p:tags r:id="rId3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F0160064-8744-4AA3-9D98-6C72B7672D94}">
          <p14:sldIdLst>
            <p14:sldId id="2147478681"/>
            <p14:sldId id="2147482551"/>
            <p14:sldId id="2147482416"/>
            <p14:sldId id="2147482415"/>
            <p14:sldId id="2147482446"/>
            <p14:sldId id="2147482447"/>
            <p14:sldId id="2147482448"/>
            <p14:sldId id="2147482553"/>
            <p14:sldId id="2147482422"/>
            <p14:sldId id="2147482554"/>
            <p14:sldId id="2147482444"/>
            <p14:sldId id="2147482405"/>
            <p14:sldId id="2147479077"/>
            <p14:sldId id="2147482450"/>
            <p14:sldId id="2147482552"/>
            <p14:sldId id="2147482547"/>
            <p14:sldId id="2147482546"/>
          </p14:sldIdLst>
        </p14:section>
        <p14:section name="Needs Documentation Still" id="{7013AE28-31BC-4443-9E9C-CFC1262EABE5}">
          <p14:sldIdLst>
            <p14:sldId id="2147478861"/>
            <p14:sldId id="2147482423"/>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B9F6E24-FFB0-C23B-3338-1B66AFB1FC8A}" name="Zinder, Ruth" initials="ZR" userId="S::rzinde001@cable.comcast.com::a90c48f2-563d-49fa-a70a-f9de71abd174" providerId="AD"/>
  <p188:author id="{0BA99D2B-5B6D-CB9F-E97B-6A71FFB17DCC}" name="Schultz, Brett" initials="SB" userId="S::bschul200@cable.comcast.com::6f1ca771-748f-4623-b230-390664b2b7bb" providerId="AD"/>
  <p188:author id="{1076D53D-00BA-7670-01E6-A3E60B7C49F2}" name="Rogers, Kyle" initials="RK" userId="S::kroger216@cable.comcast.com::af2a1d39-5a94-40ee-a36e-3becb1d1330b" providerId="AD"/>
  <p188:author id="{EDFF0B59-D57F-CA27-7522-D28474423966}" name="Vesely, Nicholas (Contractor)" initials="NV" userId="S::nvesel888@cable.comcast.com::6eb1bbf9-8a60-4273-9ef6-c3d07da86279" providerId="AD"/>
  <p188:author id="{D299BE78-2EBD-6183-5325-CCBAD2EB83B2}" name="Reed, Laura" initials="LR" userId="S::lreed020@cable.comcast.com::9fea78c5-ea5b-4644-97ca-27a42c846256" providerId="AD"/>
  <p188:author id="{38E20DC4-7106-E501-15DC-F8AD9DB22E0B}" name="Moran, Ashley" initials="MA" userId="S::amoran001@corphq.comcast.com::30900280-6a79-4802-8452-f42b1a937fd2" providerId="AD"/>
  <p188:author id="{374EA4E0-FCF1-8B7F-2C25-F1EF98551AE9}" name="Nika Ablao" initials="NA" userId="Nika Ablao" providerId="None"/>
  <p188:author id="{DBC978FF-33AC-9F77-6984-DD45763394E2}" name="Ablao, Nika" initials="AN" userId="S::nablao332@cable.comcast.com::f3da4afd-157b-4f02-af2b-ddaf45949391" providerId="AD"/>
  <p188:author id="{EA7F86FF-3987-0622-9F36-BA2FBFDEC304}" name="Wingers, Emily" initials="EW" userId="S::esomer0001@cable.comcast.com::1b0766c0-c7d7-41d8-80fc-4c2ee40a374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CCCCFF"/>
    <a:srgbClr val="C00000"/>
    <a:srgbClr val="007770"/>
    <a:srgbClr val="4C6C9C"/>
    <a:srgbClr val="595959"/>
    <a:srgbClr val="A89FFF"/>
    <a:srgbClr val="A99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3F8C9825-5D04-410F-977E-4BDAC1C71B71}" styleName="CB Table Style Acc1 Header">
    <a:wholeTbl>
      <a:tcTxStyle>
        <a:fontRef idx="minor">
          <a:prstClr val="black"/>
        </a:fontRef>
        <a:schemeClr val="dk1"/>
      </a:tcTxStyle>
      <a:tcStyle>
        <a:tcBdr>
          <a:left>
            <a:ln w="0" cmpd="sng">
              <a:solidFill>
                <a:srgbClr val="FFFFFF"/>
              </a:solidFill>
            </a:ln>
          </a:left>
          <a:right>
            <a:ln w="0" cmpd="sng">
              <a:solidFill>
                <a:srgbClr val="FFFFFF"/>
              </a:solidFill>
            </a:ln>
          </a:right>
          <a:top>
            <a:ln w="0" cmpd="sng">
              <a:solidFill>
                <a:srgbClr val="FFFFFF"/>
              </a:solidFill>
            </a:ln>
          </a:top>
          <a:bottom>
            <a:ln w="0" cmpd="sng">
              <a:solidFill>
                <a:srgbClr val="FFFFFF"/>
              </a:solidFill>
            </a:ln>
          </a:bottom>
          <a:insideH>
            <a:ln w="0" cmpd="sng">
              <a:solidFill>
                <a:srgbClr val="FFFFFF"/>
              </a:solidFill>
            </a:ln>
          </a:insideH>
          <a:insideV>
            <a:ln w="0" cmpd="sng">
              <a:solidFill>
                <a:srgbClr val="FFFFFF"/>
              </a:solidFill>
            </a:ln>
          </a:insideV>
        </a:tcBdr>
        <a:fill>
          <a:solidFill>
            <a:srgbClr val="EEEEEE"/>
          </a:solidFill>
        </a:fill>
      </a:tcStyle>
    </a:wholeTbl>
    <a:band2H>
      <a:tcTxStyle>
        <a:fontRef idx="minor">
          <a:prstClr val="black"/>
        </a:fontRef>
        <a:schemeClr val="dk1"/>
      </a:tcTxStyle>
      <a:tcStyle>
        <a:tcBdr/>
        <a:fill>
          <a:solidFill>
            <a:srgbClr val="E2E2E2"/>
          </a:solidFill>
        </a:fill>
      </a:tcStyle>
    </a:band2H>
    <a:band2V>
      <a:tcTxStyle>
        <a:fontRef idx="minor">
          <a:prstClr val="black"/>
        </a:fontRef>
        <a:schemeClr val="dk1"/>
      </a:tcTxStyle>
      <a:tcStyle>
        <a:tcBdr/>
        <a:fill>
          <a:solidFill>
            <a:srgbClr val="E2E2E2"/>
          </a:solidFill>
        </a:fill>
      </a:tcStyle>
    </a:band2V>
    <a:lastCol>
      <a:tcTxStyle>
        <a:fontRef idx="minor">
          <a:prstClr val="black"/>
        </a:fontRef>
        <a:schemeClr val="dk1"/>
      </a:tcTxStyle>
      <a:tcStyle>
        <a:tcBdr>
          <a:left>
            <a:ln w="0" cmpd="sng">
              <a:solidFill>
                <a:srgbClr val="FFFFFF"/>
              </a:solidFill>
            </a:ln>
          </a:left>
          <a:right>
            <a:ln w="0" cmpd="sng">
              <a:solidFill>
                <a:srgbClr val="FFFFFF"/>
              </a:solidFill>
            </a:ln>
          </a:right>
          <a:top>
            <a:ln w="6350" cmpd="sng">
              <a:solidFill>
                <a:schemeClr val="lt1"/>
              </a:solidFill>
            </a:ln>
          </a:top>
          <a:bottom>
            <a:ln w="6350" cmpd="sng">
              <a:solidFill>
                <a:schemeClr val="lt1"/>
              </a:solidFill>
            </a:ln>
          </a:bottom>
          <a:insideH>
            <a:ln w="0" cmpd="sng">
              <a:solidFill>
                <a:schemeClr val="lt1"/>
              </a:solidFill>
            </a:ln>
          </a:insideH>
          <a:insideV>
            <a:ln w="0" cmpd="sng">
              <a:solidFill>
                <a:srgbClr val="FFFFFF"/>
              </a:solidFill>
            </a:ln>
          </a:insideV>
        </a:tcBdr>
        <a:fill>
          <a:solidFill>
            <a:schemeClr val="accent3"/>
          </a:solidFill>
        </a:fill>
      </a:tcStyle>
    </a:lastCol>
    <a:firstCol>
      <a:tcTxStyle>
        <a:fontRef idx="minor">
          <a:prstClr val="black"/>
        </a:fontRef>
        <a:schemeClr val="dk1"/>
      </a:tcTxStyle>
      <a:tcStyle>
        <a:tcBdr>
          <a:left>
            <a:ln w="0" cmpd="sng">
              <a:solidFill>
                <a:srgbClr val="FFFFFF"/>
              </a:solidFill>
            </a:ln>
          </a:left>
          <a:right>
            <a:ln w="0" cmpd="sng">
              <a:solidFill>
                <a:srgbClr val="FFFFFF"/>
              </a:solidFill>
            </a:ln>
          </a:right>
          <a:top>
            <a:ln w="6350" cmpd="sng">
              <a:solidFill>
                <a:schemeClr val="lt1"/>
              </a:solidFill>
            </a:ln>
          </a:top>
          <a:bottom>
            <a:ln w="6350" cmpd="sng">
              <a:solidFill>
                <a:schemeClr val="lt1"/>
              </a:solidFill>
            </a:ln>
          </a:bottom>
          <a:insideH>
            <a:ln w="0" cmpd="sng">
              <a:solidFill>
                <a:schemeClr val="lt1"/>
              </a:solidFill>
            </a:ln>
          </a:insideH>
          <a:insideV>
            <a:ln w="0" cmpd="sng">
              <a:solidFill>
                <a:srgbClr val="FFFFFF"/>
              </a:solidFill>
            </a:ln>
          </a:insideV>
        </a:tcBdr>
        <a:fill>
          <a:solidFill>
            <a:schemeClr val="accent3"/>
          </a:solidFill>
        </a:fill>
      </a:tcStyle>
    </a:firstCol>
    <a:lastRow>
      <a:tcTxStyle>
        <a:fontRef idx="minor">
          <a:prstClr val="black"/>
        </a:fontRef>
        <a:schemeClr val="dk1"/>
      </a:tcTxStyle>
      <a:tcStyle>
        <a:tcBdr/>
        <a:fill>
          <a:solidFill>
            <a:schemeClr val="accent3"/>
          </a:solidFill>
        </a:fill>
      </a:tcStyle>
    </a:lastRow>
    <a:firstRow>
      <a:tcTxStyle>
        <a:fontRef idx="minor">
          <a:prstClr val="black"/>
        </a:fontRef>
        <a:schemeClr val="lt1"/>
      </a:tcTxStyle>
      <a:tcStyle>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323" autoAdjust="0"/>
    <p:restoredTop sz="93961" autoAdjust="0"/>
  </p:normalViewPr>
  <p:slideViewPr>
    <p:cSldViewPr snapToGrid="0">
      <p:cViewPr varScale="1">
        <p:scale>
          <a:sx n="64" d="100"/>
          <a:sy n="64" d="100"/>
        </p:scale>
        <p:origin x="812" y="48"/>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presProps" Target="presProps.xml"/><Relationship Id="rId21" Type="http://schemas.openxmlformats.org/officeDocument/2006/relationships/slide" Target="slides/slide13.xml"/><Relationship Id="rId34" Type="http://schemas.openxmlformats.org/officeDocument/2006/relationships/font" Target="fonts/font5.fntdata"/><Relationship Id="rId42"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handoutMaster" Target="handoutMasters/handoutMaster1.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font" Target="fonts/font3.fntdata"/><Relationship Id="rId37" Type="http://schemas.openxmlformats.org/officeDocument/2006/relationships/font" Target="fonts/font8.fntdata"/><Relationship Id="rId40"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notesMaster" Target="notesMasters/notesMaster1.xml"/><Relationship Id="rId36" Type="http://schemas.openxmlformats.org/officeDocument/2006/relationships/font" Target="fonts/font7.fntdata"/><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font" Target="fonts/font2.fntdata"/><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font" Target="fonts/font1.fntdata"/><Relationship Id="rId35" Type="http://schemas.openxmlformats.org/officeDocument/2006/relationships/font" Target="fonts/font6.fntdata"/><Relationship Id="rId43" Type="http://schemas.microsoft.com/office/2018/10/relationships/authors" Target="author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font" Target="fonts/font4.fntdata"/><Relationship Id="rId38" Type="http://schemas.openxmlformats.org/officeDocument/2006/relationships/tags" Target="tags/tag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8579330647232478E-2"/>
          <c:y val="0"/>
          <c:w val="0.92284133870553509"/>
          <c:h val="0.59383565775100033"/>
        </c:manualLayout>
      </c:layout>
      <c:lineChart>
        <c:grouping val="standard"/>
        <c:varyColors val="0"/>
        <c:ser>
          <c:idx val="0"/>
          <c:order val="0"/>
          <c:tx>
            <c:strRef>
              <c:f>Sheet1!$B$1</c:f>
              <c:strCache>
                <c:ptCount val="1"/>
                <c:pt idx="0">
                  <c:v>% to BUD</c:v>
                </c:pt>
              </c:strCache>
            </c:strRef>
          </c:tx>
          <c:spPr>
            <a:ln w="28575" cap="rnd">
              <a:solidFill>
                <a:schemeClr val="tx1"/>
              </a:solidFill>
              <a:round/>
            </a:ln>
            <a:effectLst/>
          </c:spPr>
          <c:marker>
            <c:symbol val="circle"/>
            <c:size val="5"/>
            <c:spPr>
              <a:solidFill>
                <a:schemeClr val="tx1"/>
              </a:solidFill>
              <a:ln w="9525">
                <a:solidFill>
                  <a:schemeClr val="tx1"/>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mmm\-yy</c:formatCode>
                <c:ptCount val="4"/>
                <c:pt idx="0">
                  <c:v>45292</c:v>
                </c:pt>
                <c:pt idx="1">
                  <c:v>45323</c:v>
                </c:pt>
                <c:pt idx="2">
                  <c:v>45352</c:v>
                </c:pt>
                <c:pt idx="3">
                  <c:v>45383</c:v>
                </c:pt>
              </c:numCache>
            </c:numRef>
          </c:cat>
          <c:val>
            <c:numRef>
              <c:f>Sheet1!$B$2:$B$5</c:f>
              <c:numCache>
                <c:formatCode>0%</c:formatCode>
                <c:ptCount val="4"/>
                <c:pt idx="0">
                  <c:v>1</c:v>
                </c:pt>
                <c:pt idx="1">
                  <c:v>1</c:v>
                </c:pt>
                <c:pt idx="2">
                  <c:v>1.1499999999999999</c:v>
                </c:pt>
                <c:pt idx="3">
                  <c:v>1</c:v>
                </c:pt>
              </c:numCache>
            </c:numRef>
          </c:val>
          <c:smooth val="0"/>
          <c:extLst>
            <c:ext xmlns:c16="http://schemas.microsoft.com/office/drawing/2014/chart" uri="{C3380CC4-5D6E-409C-BE32-E72D297353CC}">
              <c16:uniqueId val="{00000002-A686-4B64-A145-C1510D104D76}"/>
            </c:ext>
          </c:extLst>
        </c:ser>
        <c:dLbls>
          <c:showLegendKey val="0"/>
          <c:showVal val="0"/>
          <c:showCatName val="0"/>
          <c:showSerName val="0"/>
          <c:showPercent val="0"/>
          <c:showBubbleSize val="0"/>
        </c:dLbls>
        <c:marker val="1"/>
        <c:smooth val="0"/>
        <c:axId val="297089455"/>
        <c:axId val="363422800"/>
      </c:lineChart>
      <c:dateAx>
        <c:axId val="297089455"/>
        <c:scaling>
          <c:orientation val="minMax"/>
        </c:scaling>
        <c:delete val="1"/>
        <c:axPos val="b"/>
        <c:numFmt formatCode="mmm\-yy" sourceLinked="1"/>
        <c:majorTickMark val="none"/>
        <c:minorTickMark val="none"/>
        <c:tickLblPos val="nextTo"/>
        <c:crossAx val="363422800"/>
        <c:crosses val="autoZero"/>
        <c:auto val="1"/>
        <c:lblOffset val="100"/>
        <c:baseTimeUnit val="months"/>
      </c:dateAx>
      <c:valAx>
        <c:axId val="363422800"/>
        <c:scaling>
          <c:orientation val="minMax"/>
        </c:scaling>
        <c:delete val="1"/>
        <c:axPos val="l"/>
        <c:numFmt formatCode="0%" sourceLinked="1"/>
        <c:majorTickMark val="none"/>
        <c:minorTickMark val="none"/>
        <c:tickLblPos val="nextTo"/>
        <c:crossAx val="297089455"/>
        <c:crosses val="autoZero"/>
        <c:crossBetween val="between"/>
      </c:valAx>
      <c:spPr>
        <a:noFill/>
        <a:ln>
          <a:noFill/>
        </a:ln>
        <a:effectLst/>
      </c:spPr>
    </c:plotArea>
    <c:legend>
      <c:legendPos val="b"/>
      <c:layout>
        <c:manualLayout>
          <c:xMode val="edge"/>
          <c:yMode val="edge"/>
          <c:x val="0.44938822876589191"/>
          <c:y val="0.38983912802445703"/>
          <c:w val="0.31576041664533749"/>
          <c:h val="0.16756448722259473"/>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083381811130502E-2"/>
          <c:y val="6.7554709800190293E-2"/>
          <c:w val="0.979833236377739"/>
          <c:h val="0.86489058039961941"/>
        </c:manualLayout>
      </c:layout>
      <c:barChart>
        <c:barDir val="col"/>
        <c:grouping val="stacked"/>
        <c:varyColors val="0"/>
        <c:ser>
          <c:idx val="0"/>
          <c:order val="0"/>
          <c:spPr>
            <a:solidFill>
              <a:schemeClr val="accent1"/>
            </a:solidFill>
            <a:ln>
              <a:noFill/>
            </a:ln>
          </c:spPr>
          <c:invertIfNegative val="0"/>
          <c:dLbls>
            <c:dLbl>
              <c:idx val="0"/>
              <c:layout>
                <c:manualLayout>
                  <c:x val="0"/>
                  <c:y val="-1.4272121788772598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0E0-4937-84BE-7A6B77E86D5B}"/>
                </c:ext>
              </c:extLst>
            </c:dLbl>
            <c:dLbl>
              <c:idx val="1"/>
              <c:layout>
                <c:manualLayout>
                  <c:x val="0"/>
                  <c:y val="-1.4272121788772598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0E0-4937-84BE-7A6B77E86D5B}"/>
                </c:ext>
              </c:extLst>
            </c:dLbl>
            <c:dLbl>
              <c:idx val="2"/>
              <c:layout>
                <c:manualLayout>
                  <c:x val="0"/>
                  <c:y val="-1.4272121788772598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0E0-4937-84BE-7A6B77E86D5B}"/>
                </c:ext>
              </c:extLst>
            </c:dLbl>
            <c:dLbl>
              <c:idx val="3"/>
              <c:layout>
                <c:manualLayout>
                  <c:x val="0"/>
                  <c:y val="-1.4272121788772598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0E0-4937-84BE-7A6B77E86D5B}"/>
                </c:ext>
              </c:extLst>
            </c:dLbl>
            <c:dLbl>
              <c:idx val="4"/>
              <c:layout>
                <c:manualLayout>
                  <c:x val="0"/>
                  <c:y val="-1.4272121788772598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0E0-4937-84BE-7A6B77E86D5B}"/>
                </c:ext>
              </c:extLst>
            </c:dLbl>
            <c:dLbl>
              <c:idx val="5"/>
              <c:layout>
                <c:manualLayout>
                  <c:x val="0"/>
                  <c:y val="-1.4272121788772598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0E0-4937-84BE-7A6B77E86D5B}"/>
                </c:ext>
              </c:extLst>
            </c:dLbl>
            <c:dLbl>
              <c:idx val="6"/>
              <c:layout>
                <c:manualLayout>
                  <c:x val="0"/>
                  <c:y val="-1.9029495718363464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0E0-4937-84BE-7A6B77E86D5B}"/>
                </c:ext>
              </c:extLst>
            </c:dLbl>
            <c:dLbl>
              <c:idx val="7"/>
              <c:layout>
                <c:manualLayout>
                  <c:x val="0"/>
                  <c:y val="-1.4272121788772598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40E0-4937-84BE-7A6B77E86D5B}"/>
                </c:ext>
              </c:extLst>
            </c:dLbl>
            <c:dLbl>
              <c:idx val="8"/>
              <c:layout>
                <c:manualLayout>
                  <c:x val="0"/>
                  <c:y val="-1.4272121788772598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40E0-4937-84BE-7A6B77E86D5B}"/>
                </c:ext>
              </c:extLst>
            </c:dLbl>
            <c:dLbl>
              <c:idx val="9"/>
              <c:layout>
                <c:manualLayout>
                  <c:x val="0"/>
                  <c:y val="-1.4272121788772598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40E0-4937-84BE-7A6B77E86D5B}"/>
                </c:ext>
              </c:extLst>
            </c:dLbl>
            <c:dLbl>
              <c:idx val="10"/>
              <c:layout>
                <c:manualLayout>
                  <c:x val="0"/>
                  <c:y val="-1.4272121788772598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40E0-4937-84BE-7A6B77E86D5B}"/>
                </c:ext>
              </c:extLst>
            </c:dLbl>
            <c:dLbl>
              <c:idx val="11"/>
              <c:layout>
                <c:manualLayout>
                  <c:x val="0"/>
                  <c:y val="-1.4272121788772598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40E0-4937-84BE-7A6B77E86D5B}"/>
                </c:ext>
              </c:extLst>
            </c:dLbl>
            <c:dLbl>
              <c:idx val="12"/>
              <c:layout>
                <c:manualLayout>
                  <c:x val="0"/>
                  <c:y val="-1.4272121788772598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40E0-4937-84BE-7A6B77E86D5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M$1</c:f>
              <c:numCache>
                <c:formatCode>General</c:formatCode>
                <c:ptCount val="13"/>
                <c:pt idx="0">
                  <c:v>39</c:v>
                </c:pt>
                <c:pt idx="1">
                  <c:v>43</c:v>
                </c:pt>
                <c:pt idx="2">
                  <c:v>49</c:v>
                </c:pt>
                <c:pt idx="3">
                  <c:v>51</c:v>
                </c:pt>
                <c:pt idx="4">
                  <c:v>61</c:v>
                </c:pt>
                <c:pt idx="5">
                  <c:v>65</c:v>
                </c:pt>
                <c:pt idx="6">
                  <c:v>58</c:v>
                </c:pt>
                <c:pt idx="7">
                  <c:v>55</c:v>
                </c:pt>
                <c:pt idx="8">
                  <c:v>52</c:v>
                </c:pt>
                <c:pt idx="9">
                  <c:v>63</c:v>
                </c:pt>
                <c:pt idx="10">
                  <c:v>60</c:v>
                </c:pt>
                <c:pt idx="11">
                  <c:v>65</c:v>
                </c:pt>
                <c:pt idx="12">
                  <c:v>46</c:v>
                </c:pt>
              </c:numCache>
            </c:numRef>
          </c:val>
          <c:extLst>
            <c:ext xmlns:c16="http://schemas.microsoft.com/office/drawing/2014/chart" uri="{C3380CC4-5D6E-409C-BE32-E72D297353CC}">
              <c16:uniqueId val="{0000000D-40E0-4937-84BE-7A6B77E86D5B}"/>
            </c:ext>
          </c:extLst>
        </c:ser>
        <c:ser>
          <c:idx val="1"/>
          <c:order val="1"/>
          <c:spPr>
            <a:solidFill>
              <a:schemeClr val="accent2"/>
            </a:solidFill>
            <a:ln>
              <a:noFill/>
            </a:ln>
          </c:spPr>
          <c:invertIfNegative val="0"/>
          <c:dLbls>
            <c:dLbl>
              <c:idx val="0"/>
              <c:layout>
                <c:manualLayout>
                  <c:x val="0"/>
                  <c:y val="-1.427212178877259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40E0-4937-84BE-7A6B77E86D5B}"/>
                </c:ext>
              </c:extLst>
            </c:dLbl>
            <c:dLbl>
              <c:idx val="1"/>
              <c:layout>
                <c:manualLayout>
                  <c:x val="0"/>
                  <c:y val="-1.427212178877259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40E0-4937-84BE-7A6B77E86D5B}"/>
                </c:ext>
              </c:extLst>
            </c:dLbl>
            <c:dLbl>
              <c:idx val="2"/>
              <c:layout>
                <c:manualLayout>
                  <c:x val="0"/>
                  <c:y val="-1.902949571836346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40E0-4937-84BE-7A6B77E86D5B}"/>
                </c:ext>
              </c:extLst>
            </c:dLbl>
            <c:dLbl>
              <c:idx val="3"/>
              <c:layout>
                <c:manualLayout>
                  <c:x val="0"/>
                  <c:y val="-1.427212178877259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40E0-4937-84BE-7A6B77E86D5B}"/>
                </c:ext>
              </c:extLst>
            </c:dLbl>
            <c:dLbl>
              <c:idx val="4"/>
              <c:layout>
                <c:manualLayout>
                  <c:x val="0"/>
                  <c:y val="-1.902949571836346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40E0-4937-84BE-7A6B77E86D5B}"/>
                </c:ext>
              </c:extLst>
            </c:dLbl>
            <c:dLbl>
              <c:idx val="5"/>
              <c:layout>
                <c:manualLayout>
                  <c:x val="0"/>
                  <c:y val="-1.427212178877259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40E0-4937-84BE-7A6B77E86D5B}"/>
                </c:ext>
              </c:extLst>
            </c:dLbl>
            <c:dLbl>
              <c:idx val="6"/>
              <c:layout>
                <c:manualLayout>
                  <c:x val="0"/>
                  <c:y val="-1.427212178877259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40E0-4937-84BE-7A6B77E86D5B}"/>
                </c:ext>
              </c:extLst>
            </c:dLbl>
            <c:dLbl>
              <c:idx val="7"/>
              <c:layout>
                <c:manualLayout>
                  <c:x val="0"/>
                  <c:y val="-1.427212178877259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40E0-4937-84BE-7A6B77E86D5B}"/>
                </c:ext>
              </c:extLst>
            </c:dLbl>
            <c:dLbl>
              <c:idx val="8"/>
              <c:layout>
                <c:manualLayout>
                  <c:x val="0"/>
                  <c:y val="-1.427212178877259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40E0-4937-84BE-7A6B77E86D5B}"/>
                </c:ext>
              </c:extLst>
            </c:dLbl>
            <c:dLbl>
              <c:idx val="9"/>
              <c:layout>
                <c:manualLayout>
                  <c:x val="0"/>
                  <c:y val="-1.427212178877259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40E0-4937-84BE-7A6B77E86D5B}"/>
                </c:ext>
              </c:extLst>
            </c:dLbl>
            <c:dLbl>
              <c:idx val="10"/>
              <c:layout>
                <c:manualLayout>
                  <c:x val="0"/>
                  <c:y val="-1.427212178877259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40E0-4937-84BE-7A6B77E86D5B}"/>
                </c:ext>
              </c:extLst>
            </c:dLbl>
            <c:dLbl>
              <c:idx val="11"/>
              <c:layout>
                <c:manualLayout>
                  <c:x val="0"/>
                  <c:y val="-1.427212178877259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40E0-4937-84BE-7A6B77E86D5B}"/>
                </c:ext>
              </c:extLst>
            </c:dLbl>
            <c:dLbl>
              <c:idx val="12"/>
              <c:layout>
                <c:manualLayout>
                  <c:x val="0"/>
                  <c:y val="-1.427212178877259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40E0-4937-84BE-7A6B77E86D5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M$2</c:f>
              <c:numCache>
                <c:formatCode>General</c:formatCode>
                <c:ptCount val="13"/>
                <c:pt idx="0">
                  <c:v>48</c:v>
                </c:pt>
                <c:pt idx="1">
                  <c:v>44</c:v>
                </c:pt>
                <c:pt idx="2">
                  <c:v>48</c:v>
                </c:pt>
                <c:pt idx="3">
                  <c:v>45</c:v>
                </c:pt>
                <c:pt idx="4">
                  <c:v>46</c:v>
                </c:pt>
                <c:pt idx="5">
                  <c:v>52</c:v>
                </c:pt>
                <c:pt idx="6">
                  <c:v>50</c:v>
                </c:pt>
                <c:pt idx="7">
                  <c:v>43</c:v>
                </c:pt>
                <c:pt idx="8">
                  <c:v>36</c:v>
                </c:pt>
                <c:pt idx="9">
                  <c:v>38</c:v>
                </c:pt>
                <c:pt idx="10">
                  <c:v>39</c:v>
                </c:pt>
                <c:pt idx="11">
                  <c:v>34</c:v>
                </c:pt>
                <c:pt idx="12">
                  <c:v>37</c:v>
                </c:pt>
              </c:numCache>
            </c:numRef>
          </c:val>
          <c:extLst>
            <c:ext xmlns:c16="http://schemas.microsoft.com/office/drawing/2014/chart" uri="{C3380CC4-5D6E-409C-BE32-E72D297353CC}">
              <c16:uniqueId val="{0000001B-40E0-4937-84BE-7A6B77E86D5B}"/>
            </c:ext>
          </c:extLst>
        </c:ser>
        <c:ser>
          <c:idx val="2"/>
          <c:order val="2"/>
          <c:spPr>
            <a:solidFill>
              <a:schemeClr val="accent3"/>
            </a:solidFill>
            <a:ln>
              <a:noFill/>
            </a:ln>
          </c:spPr>
          <c:invertIfNegative val="0"/>
          <c:dLbls>
            <c:dLbl>
              <c:idx val="0"/>
              <c:layout>
                <c:manualLayout>
                  <c:x val="0"/>
                  <c:y val="-1.427212178877259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40E0-4937-84BE-7A6B77E86D5B}"/>
                </c:ext>
              </c:extLst>
            </c:dLbl>
            <c:dLbl>
              <c:idx val="1"/>
              <c:layout>
                <c:manualLayout>
                  <c:x val="0"/>
                  <c:y val="-1.427212178877259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40E0-4937-84BE-7A6B77E86D5B}"/>
                </c:ext>
              </c:extLst>
            </c:dLbl>
            <c:dLbl>
              <c:idx val="2"/>
              <c:layout>
                <c:manualLayout>
                  <c:x val="0"/>
                  <c:y val="-1.902949571836346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40E0-4937-84BE-7A6B77E86D5B}"/>
                </c:ext>
              </c:extLst>
            </c:dLbl>
            <c:dLbl>
              <c:idx val="3"/>
              <c:layout>
                <c:manualLayout>
                  <c:x val="0"/>
                  <c:y val="-1.427212178877259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40E0-4937-84BE-7A6B77E86D5B}"/>
                </c:ext>
              </c:extLst>
            </c:dLbl>
            <c:dLbl>
              <c:idx val="4"/>
              <c:layout>
                <c:manualLayout>
                  <c:x val="0"/>
                  <c:y val="-1.427212178877259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40E0-4937-84BE-7A6B77E86D5B}"/>
                </c:ext>
              </c:extLst>
            </c:dLbl>
            <c:dLbl>
              <c:idx val="5"/>
              <c:layout>
                <c:manualLayout>
                  <c:x val="0"/>
                  <c:y val="-1.427212178877259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40E0-4937-84BE-7A6B77E86D5B}"/>
                </c:ext>
              </c:extLst>
            </c:dLbl>
            <c:dLbl>
              <c:idx val="6"/>
              <c:layout>
                <c:manualLayout>
                  <c:x val="0"/>
                  <c:y val="-1.902949571836346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40E0-4937-84BE-7A6B77E86D5B}"/>
                </c:ext>
              </c:extLst>
            </c:dLbl>
            <c:dLbl>
              <c:idx val="7"/>
              <c:layout>
                <c:manualLayout>
                  <c:x val="0"/>
                  <c:y val="-1.427212178877259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40E0-4937-84BE-7A6B77E86D5B}"/>
                </c:ext>
              </c:extLst>
            </c:dLbl>
            <c:dLbl>
              <c:idx val="8"/>
              <c:layout>
                <c:manualLayout>
                  <c:x val="0"/>
                  <c:y val="-1.902949571836346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40E0-4937-84BE-7A6B77E86D5B}"/>
                </c:ext>
              </c:extLst>
            </c:dLbl>
            <c:dLbl>
              <c:idx val="9"/>
              <c:layout>
                <c:manualLayout>
                  <c:x val="0"/>
                  <c:y val="-1.427212178877259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40E0-4937-84BE-7A6B77E86D5B}"/>
                </c:ext>
              </c:extLst>
            </c:dLbl>
            <c:dLbl>
              <c:idx val="10"/>
              <c:layout>
                <c:manualLayout>
                  <c:x val="0"/>
                  <c:y val="-1.427212178877259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40E0-4937-84BE-7A6B77E86D5B}"/>
                </c:ext>
              </c:extLst>
            </c:dLbl>
            <c:dLbl>
              <c:idx val="11"/>
              <c:layout>
                <c:manualLayout>
                  <c:x val="0"/>
                  <c:y val="-1.427212178877259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40E0-4937-84BE-7A6B77E86D5B}"/>
                </c:ext>
              </c:extLst>
            </c:dLbl>
            <c:dLbl>
              <c:idx val="12"/>
              <c:layout>
                <c:manualLayout>
                  <c:x val="0"/>
                  <c:y val="-1.902949571836346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40E0-4937-84BE-7A6B77E86D5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M$3</c:f>
              <c:numCache>
                <c:formatCode>General</c:formatCode>
                <c:ptCount val="13"/>
                <c:pt idx="0">
                  <c:v>36</c:v>
                </c:pt>
                <c:pt idx="1">
                  <c:v>30</c:v>
                </c:pt>
                <c:pt idx="2">
                  <c:v>35</c:v>
                </c:pt>
                <c:pt idx="3">
                  <c:v>34</c:v>
                </c:pt>
                <c:pt idx="4">
                  <c:v>35</c:v>
                </c:pt>
                <c:pt idx="5">
                  <c:v>36</c:v>
                </c:pt>
                <c:pt idx="6">
                  <c:v>34</c:v>
                </c:pt>
                <c:pt idx="7">
                  <c:v>34</c:v>
                </c:pt>
                <c:pt idx="8">
                  <c:v>26</c:v>
                </c:pt>
                <c:pt idx="9">
                  <c:v>28</c:v>
                </c:pt>
                <c:pt idx="10">
                  <c:v>28</c:v>
                </c:pt>
                <c:pt idx="11">
                  <c:v>27</c:v>
                </c:pt>
                <c:pt idx="12">
                  <c:v>25</c:v>
                </c:pt>
              </c:numCache>
            </c:numRef>
          </c:val>
          <c:extLst>
            <c:ext xmlns:c16="http://schemas.microsoft.com/office/drawing/2014/chart" uri="{C3380CC4-5D6E-409C-BE32-E72D297353CC}">
              <c16:uniqueId val="{00000029-40E0-4937-84BE-7A6B77E86D5B}"/>
            </c:ext>
          </c:extLst>
        </c:ser>
        <c:ser>
          <c:idx val="3"/>
          <c:order val="3"/>
          <c:spPr>
            <a:solidFill>
              <a:schemeClr val="accent4"/>
            </a:solidFill>
            <a:ln>
              <a:noFill/>
            </a:ln>
          </c:spPr>
          <c:invertIfNegative val="0"/>
          <c:dLbls>
            <c:dLbl>
              <c:idx val="0"/>
              <c:layout>
                <c:manualLayout>
                  <c:x val="0"/>
                  <c:y val="-1.427212178877259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40E0-4937-84BE-7A6B77E86D5B}"/>
                </c:ext>
              </c:extLst>
            </c:dLbl>
            <c:dLbl>
              <c:idx val="1"/>
              <c:layout>
                <c:manualLayout>
                  <c:x val="0"/>
                  <c:y val="-1.427212178877259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40E0-4937-84BE-7A6B77E86D5B}"/>
                </c:ext>
              </c:extLst>
            </c:dLbl>
            <c:dLbl>
              <c:idx val="2"/>
              <c:layout>
                <c:manualLayout>
                  <c:x val="0"/>
                  <c:y val="-1.427212178877259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40E0-4937-84BE-7A6B77E86D5B}"/>
                </c:ext>
              </c:extLst>
            </c:dLbl>
            <c:dLbl>
              <c:idx val="3"/>
              <c:layout>
                <c:manualLayout>
                  <c:x val="0"/>
                  <c:y val="-1.427212178877259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D-40E0-4937-84BE-7A6B77E86D5B}"/>
                </c:ext>
              </c:extLst>
            </c:dLbl>
            <c:dLbl>
              <c:idx val="4"/>
              <c:layout>
                <c:manualLayout>
                  <c:x val="0"/>
                  <c:y val="-1.427212178877259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E-40E0-4937-84BE-7A6B77E86D5B}"/>
                </c:ext>
              </c:extLst>
            </c:dLbl>
            <c:dLbl>
              <c:idx val="5"/>
              <c:layout>
                <c:manualLayout>
                  <c:x val="0"/>
                  <c:y val="-1.427212178877259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F-40E0-4937-84BE-7A6B77E86D5B}"/>
                </c:ext>
              </c:extLst>
            </c:dLbl>
            <c:dLbl>
              <c:idx val="6"/>
              <c:layout>
                <c:manualLayout>
                  <c:x val="0"/>
                  <c:y val="-1.902949571836346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0-40E0-4937-84BE-7A6B77E86D5B}"/>
                </c:ext>
              </c:extLst>
            </c:dLbl>
            <c:dLbl>
              <c:idx val="7"/>
              <c:layout>
                <c:manualLayout>
                  <c:x val="0"/>
                  <c:y val="-1.427212178877259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1-40E0-4937-84BE-7A6B77E86D5B}"/>
                </c:ext>
              </c:extLst>
            </c:dLbl>
            <c:dLbl>
              <c:idx val="8"/>
              <c:layout>
                <c:manualLayout>
                  <c:x val="0"/>
                  <c:y val="-1.902949571836346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2-40E0-4937-84BE-7A6B77E86D5B}"/>
                </c:ext>
              </c:extLst>
            </c:dLbl>
            <c:dLbl>
              <c:idx val="9"/>
              <c:layout>
                <c:manualLayout>
                  <c:x val="0"/>
                  <c:y val="-1.427212178877259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3-40E0-4937-84BE-7A6B77E86D5B}"/>
                </c:ext>
              </c:extLst>
            </c:dLbl>
            <c:dLbl>
              <c:idx val="10"/>
              <c:layout>
                <c:manualLayout>
                  <c:x val="0"/>
                  <c:y val="-1.427212178877259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4-40E0-4937-84BE-7A6B77E86D5B}"/>
                </c:ext>
              </c:extLst>
            </c:dLbl>
            <c:dLbl>
              <c:idx val="11"/>
              <c:layout>
                <c:manualLayout>
                  <c:x val="0"/>
                  <c:y val="-1.902949571836346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5-40E0-4937-84BE-7A6B77E86D5B}"/>
                </c:ext>
              </c:extLst>
            </c:dLbl>
            <c:dLbl>
              <c:idx val="12"/>
              <c:layout>
                <c:manualLayout>
                  <c:x val="0"/>
                  <c:y val="-1.427212178877259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6-40E0-4937-84BE-7A6B77E86D5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M$4</c:f>
              <c:numCache>
                <c:formatCode>General</c:formatCode>
                <c:ptCount val="13"/>
                <c:pt idx="0">
                  <c:v>85</c:v>
                </c:pt>
                <c:pt idx="1">
                  <c:v>77</c:v>
                </c:pt>
                <c:pt idx="2">
                  <c:v>76</c:v>
                </c:pt>
                <c:pt idx="3">
                  <c:v>72</c:v>
                </c:pt>
                <c:pt idx="4">
                  <c:v>75</c:v>
                </c:pt>
                <c:pt idx="5">
                  <c:v>73</c:v>
                </c:pt>
                <c:pt idx="6">
                  <c:v>65</c:v>
                </c:pt>
                <c:pt idx="7">
                  <c:v>68</c:v>
                </c:pt>
                <c:pt idx="8">
                  <c:v>61</c:v>
                </c:pt>
                <c:pt idx="9">
                  <c:v>61</c:v>
                </c:pt>
                <c:pt idx="10">
                  <c:v>59</c:v>
                </c:pt>
                <c:pt idx="11">
                  <c:v>53</c:v>
                </c:pt>
                <c:pt idx="12">
                  <c:v>49</c:v>
                </c:pt>
              </c:numCache>
            </c:numRef>
          </c:val>
          <c:extLst>
            <c:ext xmlns:c16="http://schemas.microsoft.com/office/drawing/2014/chart" uri="{C3380CC4-5D6E-409C-BE32-E72D297353CC}">
              <c16:uniqueId val="{00000037-40E0-4937-84BE-7A6B77E86D5B}"/>
            </c:ext>
          </c:extLst>
        </c:ser>
        <c:ser>
          <c:idx val="4"/>
          <c:order val="4"/>
          <c:spPr>
            <a:solidFill>
              <a:srgbClr val="9DB1CF"/>
            </a:solidFill>
            <a:ln>
              <a:noFill/>
            </a:ln>
          </c:spPr>
          <c:invertIfNegative val="0"/>
          <c:dLbls>
            <c:dLbl>
              <c:idx val="0"/>
              <c:layout>
                <c:manualLayout>
                  <c:x val="0"/>
                  <c:y val="-1.427212178877259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8-40E0-4937-84BE-7A6B77E86D5B}"/>
                </c:ext>
              </c:extLst>
            </c:dLbl>
            <c:dLbl>
              <c:idx val="1"/>
              <c:layout>
                <c:manualLayout>
                  <c:x val="0"/>
                  <c:y val="-1.427212178877259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9-40E0-4937-84BE-7A6B77E86D5B}"/>
                </c:ext>
              </c:extLst>
            </c:dLbl>
            <c:dLbl>
              <c:idx val="2"/>
              <c:layout>
                <c:manualLayout>
                  <c:x val="0"/>
                  <c:y val="-1.427212178877259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A-40E0-4937-84BE-7A6B77E86D5B}"/>
                </c:ext>
              </c:extLst>
            </c:dLbl>
            <c:dLbl>
              <c:idx val="3"/>
              <c:layout>
                <c:manualLayout>
                  <c:x val="0"/>
                  <c:y val="-1.427212178877259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B-40E0-4937-84BE-7A6B77E86D5B}"/>
                </c:ext>
              </c:extLst>
            </c:dLbl>
            <c:dLbl>
              <c:idx val="4"/>
              <c:layout>
                <c:manualLayout>
                  <c:x val="0"/>
                  <c:y val="-1.427212178877259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C-40E0-4937-84BE-7A6B77E86D5B}"/>
                </c:ext>
              </c:extLst>
            </c:dLbl>
            <c:dLbl>
              <c:idx val="5"/>
              <c:layout>
                <c:manualLayout>
                  <c:x val="0"/>
                  <c:y val="-1.427212178877259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D-40E0-4937-84BE-7A6B77E86D5B}"/>
                </c:ext>
              </c:extLst>
            </c:dLbl>
            <c:dLbl>
              <c:idx val="6"/>
              <c:layout>
                <c:manualLayout>
                  <c:x val="0"/>
                  <c:y val="-1.427212178877259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E-40E0-4937-84BE-7A6B77E86D5B}"/>
                </c:ext>
              </c:extLst>
            </c:dLbl>
            <c:dLbl>
              <c:idx val="7"/>
              <c:layout>
                <c:manualLayout>
                  <c:x val="0"/>
                  <c:y val="-1.902949571836346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F-40E0-4937-84BE-7A6B77E86D5B}"/>
                </c:ext>
              </c:extLst>
            </c:dLbl>
            <c:dLbl>
              <c:idx val="8"/>
              <c:layout>
                <c:manualLayout>
                  <c:x val="0"/>
                  <c:y val="-1.427212178877259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0-40E0-4937-84BE-7A6B77E86D5B}"/>
                </c:ext>
              </c:extLst>
            </c:dLbl>
            <c:dLbl>
              <c:idx val="9"/>
              <c:layout>
                <c:manualLayout>
                  <c:x val="0"/>
                  <c:y val="-1.427212178877259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1-40E0-4937-84BE-7A6B77E86D5B}"/>
                </c:ext>
              </c:extLst>
            </c:dLbl>
            <c:dLbl>
              <c:idx val="10"/>
              <c:layout>
                <c:manualLayout>
                  <c:x val="0"/>
                  <c:y val="-1.427212178877259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2-40E0-4937-84BE-7A6B77E86D5B}"/>
                </c:ext>
              </c:extLst>
            </c:dLbl>
            <c:dLbl>
              <c:idx val="11"/>
              <c:layout>
                <c:manualLayout>
                  <c:x val="0"/>
                  <c:y val="-1.902949571836346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3-40E0-4937-84BE-7A6B77E86D5B}"/>
                </c:ext>
              </c:extLst>
            </c:dLbl>
            <c:dLbl>
              <c:idx val="12"/>
              <c:layout>
                <c:manualLayout>
                  <c:x val="0"/>
                  <c:y val="-1.427212178877259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4-40E0-4937-84BE-7A6B77E86D5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M$5</c:f>
              <c:numCache>
                <c:formatCode>General</c:formatCode>
                <c:ptCount val="13"/>
                <c:pt idx="0">
                  <c:v>124</c:v>
                </c:pt>
                <c:pt idx="1">
                  <c:v>136</c:v>
                </c:pt>
                <c:pt idx="2">
                  <c:v>128</c:v>
                </c:pt>
                <c:pt idx="3">
                  <c:v>127</c:v>
                </c:pt>
                <c:pt idx="4">
                  <c:v>140</c:v>
                </c:pt>
                <c:pt idx="5">
                  <c:v>125</c:v>
                </c:pt>
                <c:pt idx="6">
                  <c:v>119</c:v>
                </c:pt>
                <c:pt idx="7">
                  <c:v>114</c:v>
                </c:pt>
                <c:pt idx="8">
                  <c:v>123</c:v>
                </c:pt>
                <c:pt idx="9">
                  <c:v>128</c:v>
                </c:pt>
                <c:pt idx="10">
                  <c:v>122</c:v>
                </c:pt>
                <c:pt idx="11">
                  <c:v>123</c:v>
                </c:pt>
                <c:pt idx="12">
                  <c:v>121</c:v>
                </c:pt>
              </c:numCache>
            </c:numRef>
          </c:val>
          <c:extLst>
            <c:ext xmlns:c16="http://schemas.microsoft.com/office/drawing/2014/chart" uri="{C3380CC4-5D6E-409C-BE32-E72D297353CC}">
              <c16:uniqueId val="{00000045-40E0-4937-84BE-7A6B77E86D5B}"/>
            </c:ext>
          </c:extLst>
        </c:ser>
        <c:dLbls>
          <c:showLegendKey val="0"/>
          <c:showVal val="0"/>
          <c:showCatName val="0"/>
          <c:showSerName val="0"/>
          <c:showPercent val="0"/>
          <c:showBubbleSize val="0"/>
        </c:dLbls>
        <c:gapWidth val="80"/>
        <c:overlap val="100"/>
        <c:axId val="1428522336"/>
        <c:axId val="1"/>
      </c:barChart>
      <c:lineChart>
        <c:grouping val="standard"/>
        <c:varyColors val="0"/>
        <c:ser>
          <c:idx val="5"/>
          <c:order val="5"/>
          <c:spPr>
            <a:ln w="19050" cmpd="sng" algn="ctr">
              <a:solidFill>
                <a:srgbClr val="000000"/>
              </a:solidFill>
              <a:prstDash val="solid"/>
            </a:ln>
          </c:spPr>
          <c:marker>
            <c:symbol val="circle"/>
            <c:size val="5"/>
            <c:spPr>
              <a:solidFill>
                <a:srgbClr val="000000"/>
              </a:solidFill>
              <a:ln w="9525" cmpd="sng" algn="ctr">
                <a:solidFill>
                  <a:srgbClr val="000000"/>
                </a:solidFill>
                <a:prstDash val="solid"/>
              </a:ln>
            </c:spPr>
          </c:marker>
          <c:val>
            <c:numRef>
              <c:f>Sheet1!$A$6:$M$6</c:f>
              <c:numCache>
                <c:formatCode>General</c:formatCode>
                <c:ptCount val="13"/>
                <c:pt idx="0">
                  <c:v>24.68250063274921</c:v>
                </c:pt>
                <c:pt idx="1">
                  <c:v>25.528135298120265</c:v>
                </c:pt>
                <c:pt idx="2">
                  <c:v>26.436885236475423</c:v>
                </c:pt>
                <c:pt idx="3">
                  <c:v>25.120833302058081</c:v>
                </c:pt>
                <c:pt idx="4">
                  <c:v>26.559553685074384</c:v>
                </c:pt>
                <c:pt idx="5">
                  <c:v>25.880673472077227</c:v>
                </c:pt>
                <c:pt idx="6">
                  <c:v>26.448937233237885</c:v>
                </c:pt>
                <c:pt idx="7">
                  <c:v>25.025262634576212</c:v>
                </c:pt>
                <c:pt idx="8">
                  <c:v>25.215552354684146</c:v>
                </c:pt>
                <c:pt idx="9">
                  <c:v>27.224271225674574</c:v>
                </c:pt>
                <c:pt idx="10">
                  <c:v>26.909372185501368</c:v>
                </c:pt>
                <c:pt idx="11">
                  <c:v>25.331049089806999</c:v>
                </c:pt>
                <c:pt idx="12">
                  <c:v>27.6</c:v>
                </c:pt>
              </c:numCache>
            </c:numRef>
          </c:val>
          <c:smooth val="0"/>
          <c:extLst>
            <c:ext xmlns:c16="http://schemas.microsoft.com/office/drawing/2014/chart" uri="{C3380CC4-5D6E-409C-BE32-E72D297353CC}">
              <c16:uniqueId val="{00000046-40E0-4937-84BE-7A6B77E86D5B}"/>
            </c:ext>
          </c:extLst>
        </c:ser>
        <c:ser>
          <c:idx val="6"/>
          <c:order val="6"/>
          <c:spPr>
            <a:ln w="19050" cmpd="sng" algn="ctr">
              <a:solidFill>
                <a:schemeClr val="accent2"/>
              </a:solidFill>
              <a:prstDash val="solid"/>
            </a:ln>
          </c:spPr>
          <c:marker>
            <c:symbol val="circle"/>
            <c:size val="5"/>
            <c:spPr>
              <a:solidFill>
                <a:schemeClr val="accent2"/>
              </a:solidFill>
              <a:ln w="9525" cmpd="sng" algn="ctr">
                <a:solidFill>
                  <a:schemeClr val="accent2"/>
                </a:solidFill>
                <a:prstDash val="solid"/>
              </a:ln>
            </c:spPr>
          </c:marker>
          <c:val>
            <c:numRef>
              <c:f>Sheet1!$A$7:$M$7</c:f>
              <c:numCache>
                <c:formatCode>General</c:formatCode>
                <c:ptCount val="13"/>
                <c:pt idx="0">
                  <c:v>21.832536273325569</c:v>
                </c:pt>
                <c:pt idx="1">
                  <c:v>23.183354352218252</c:v>
                </c:pt>
                <c:pt idx="2">
                  <c:v>23.323465142616325</c:v>
                </c:pt>
                <c:pt idx="3">
                  <c:v>24.017079595878759</c:v>
                </c:pt>
                <c:pt idx="4">
                  <c:v>24.882583884300065</c:v>
                </c:pt>
                <c:pt idx="5">
                  <c:v>24.035564181943695</c:v>
                </c:pt>
                <c:pt idx="6">
                  <c:v>24.657968479777374</c:v>
                </c:pt>
                <c:pt idx="7">
                  <c:v>23.775666949517905</c:v>
                </c:pt>
                <c:pt idx="8">
                  <c:v>25.411901580321366</c:v>
                </c:pt>
                <c:pt idx="9">
                  <c:v>23.191045859638979</c:v>
                </c:pt>
                <c:pt idx="10">
                  <c:v>23.317914315498125</c:v>
                </c:pt>
                <c:pt idx="11">
                  <c:v>23.388607144329061</c:v>
                </c:pt>
                <c:pt idx="12">
                  <c:v>22.2</c:v>
                </c:pt>
              </c:numCache>
            </c:numRef>
          </c:val>
          <c:smooth val="0"/>
          <c:extLst>
            <c:ext xmlns:c16="http://schemas.microsoft.com/office/drawing/2014/chart" uri="{C3380CC4-5D6E-409C-BE32-E72D297353CC}">
              <c16:uniqueId val="{00000047-40E0-4937-84BE-7A6B77E86D5B}"/>
            </c:ext>
          </c:extLst>
        </c:ser>
        <c:dLbls>
          <c:showLegendKey val="0"/>
          <c:showVal val="0"/>
          <c:showCatName val="0"/>
          <c:showSerName val="0"/>
          <c:showPercent val="0"/>
          <c:showBubbleSize val="0"/>
        </c:dLbls>
        <c:marker val="1"/>
        <c:smooth val="0"/>
        <c:axId val="2"/>
        <c:axId val="3"/>
      </c:lineChart>
      <c:catAx>
        <c:axId val="142852233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500"/>
          <c:min val="0"/>
        </c:scaling>
        <c:delete val="0"/>
        <c:axPos val="l"/>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1428522336"/>
        <c:crosses val="min"/>
        <c:crossBetween val="between"/>
      </c:valAx>
      <c:catAx>
        <c:axId val="2"/>
        <c:scaling>
          <c:orientation val="minMax"/>
        </c:scaling>
        <c:delete val="1"/>
        <c:axPos val="b"/>
        <c:majorGridlines>
          <c:spPr>
            <a:ln>
              <a:noFill/>
            </a:ln>
          </c:spPr>
        </c:majorGridlines>
        <c:majorTickMark val="none"/>
        <c:minorTickMark val="none"/>
        <c:tickLblPos val="none"/>
        <c:crossAx val="3"/>
        <c:crosses val="min"/>
        <c:auto val="0"/>
        <c:lblAlgn val="ctr"/>
        <c:lblOffset val="100"/>
        <c:noMultiLvlLbl val="0"/>
      </c:catAx>
      <c:valAx>
        <c:axId val="3"/>
        <c:scaling>
          <c:orientation val="minMax"/>
          <c:max val="27.6"/>
          <c:min val="-25"/>
        </c:scaling>
        <c:delete val="0"/>
        <c:axPos val="r"/>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2"/>
        <c:crosses val="max"/>
        <c:crossBetween val="between"/>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102972605401205E-2"/>
          <c:y val="9.3834995466908433E-2"/>
          <c:w val="0.97979405478919757"/>
          <c:h val="0.85312783318223029"/>
        </c:manualLayout>
      </c:layout>
      <c:barChart>
        <c:barDir val="col"/>
        <c:grouping val="stacked"/>
        <c:varyColors val="0"/>
        <c:ser>
          <c:idx val="0"/>
          <c:order val="0"/>
          <c:spPr>
            <a:solidFill>
              <a:schemeClr val="accent1"/>
            </a:solidFill>
            <a:ln>
              <a:noFill/>
            </a:ln>
          </c:spPr>
          <c:invertIfNegative val="0"/>
          <c:val>
            <c:numRef>
              <c:f>Sheet1!$A$1:$M$1</c:f>
              <c:numCache>
                <c:formatCode>General</c:formatCode>
                <c:ptCount val="13"/>
                <c:pt idx="0">
                  <c:v>999259.47000000009</c:v>
                </c:pt>
                <c:pt idx="1">
                  <c:v>1095088.72</c:v>
                </c:pt>
                <c:pt idx="2">
                  <c:v>1039785.19</c:v>
                </c:pt>
                <c:pt idx="3">
                  <c:v>1089206.04</c:v>
                </c:pt>
                <c:pt idx="4">
                  <c:v>1246663.6000000001</c:v>
                </c:pt>
                <c:pt idx="5">
                  <c:v>1103872</c:v>
                </c:pt>
                <c:pt idx="6">
                  <c:v>1127931.31</c:v>
                </c:pt>
                <c:pt idx="7">
                  <c:v>1021389.6</c:v>
                </c:pt>
                <c:pt idx="8">
                  <c:v>944971.20000000007</c:v>
                </c:pt>
                <c:pt idx="9">
                  <c:v>1229155.2</c:v>
                </c:pt>
                <c:pt idx="10">
                  <c:v>1064202.7</c:v>
                </c:pt>
                <c:pt idx="11">
                  <c:v>1023703.1199999999</c:v>
                </c:pt>
              </c:numCache>
            </c:numRef>
          </c:val>
          <c:extLst>
            <c:ext xmlns:c16="http://schemas.microsoft.com/office/drawing/2014/chart" uri="{C3380CC4-5D6E-409C-BE32-E72D297353CC}">
              <c16:uniqueId val="{00000000-04AC-4F3D-91C0-2702B4E7B9CD}"/>
            </c:ext>
          </c:extLst>
        </c:ser>
        <c:dLbls>
          <c:showLegendKey val="0"/>
          <c:showVal val="0"/>
          <c:showCatName val="0"/>
          <c:showSerName val="0"/>
          <c:showPercent val="0"/>
          <c:showBubbleSize val="0"/>
        </c:dLbls>
        <c:gapWidth val="80"/>
        <c:overlap val="100"/>
        <c:axId val="8775935"/>
        <c:axId val="1"/>
      </c:barChart>
      <c:lineChart>
        <c:grouping val="standard"/>
        <c:varyColors val="0"/>
        <c:ser>
          <c:idx val="1"/>
          <c:order val="1"/>
          <c:spPr>
            <a:ln w="6350" cmpd="sng" algn="ctr">
              <a:solidFill>
                <a:srgbClr val="C0C0C0"/>
              </a:solidFill>
              <a:prstDash val="lgDash"/>
            </a:ln>
          </c:spPr>
          <c:marker>
            <c:symbol val="circle"/>
            <c:size val="5"/>
            <c:spPr>
              <a:solidFill>
                <a:srgbClr val="C0C0C0"/>
              </a:solidFill>
              <a:ln w="9525" cmpd="sng" algn="ctr">
                <a:solidFill>
                  <a:srgbClr val="C0C0C0"/>
                </a:solidFill>
                <a:prstDash val="solid"/>
              </a:ln>
            </c:spPr>
          </c:marker>
          <c:dPt>
            <c:idx val="0"/>
            <c:marker>
              <c:spPr>
                <a:solidFill>
                  <a:srgbClr val="DFE5EF"/>
                </a:solidFill>
                <a:ln w="9525" cmpd="sng" algn="ctr">
                  <a:solidFill>
                    <a:srgbClr val="DFE5EF"/>
                  </a:solidFill>
                  <a:prstDash val="solid"/>
                </a:ln>
              </c:spPr>
            </c:marker>
            <c:bubble3D val="0"/>
            <c:extLst>
              <c:ext xmlns:c16="http://schemas.microsoft.com/office/drawing/2014/chart" uri="{C3380CC4-5D6E-409C-BE32-E72D297353CC}">
                <c16:uniqueId val="{00000001-04AC-4F3D-91C0-2702B4E7B9CD}"/>
              </c:ext>
            </c:extLst>
          </c:dPt>
          <c:dPt>
            <c:idx val="1"/>
            <c:marker>
              <c:spPr>
                <a:solidFill>
                  <a:srgbClr val="DFE5EF"/>
                </a:solidFill>
                <a:ln w="9525" cmpd="sng" algn="ctr">
                  <a:solidFill>
                    <a:srgbClr val="DFE5EF"/>
                  </a:solidFill>
                  <a:prstDash val="solid"/>
                </a:ln>
              </c:spPr>
            </c:marker>
            <c:bubble3D val="0"/>
            <c:extLst>
              <c:ext xmlns:c16="http://schemas.microsoft.com/office/drawing/2014/chart" uri="{C3380CC4-5D6E-409C-BE32-E72D297353CC}">
                <c16:uniqueId val="{00000002-04AC-4F3D-91C0-2702B4E7B9CD}"/>
              </c:ext>
            </c:extLst>
          </c:dPt>
          <c:dPt>
            <c:idx val="2"/>
            <c:marker>
              <c:spPr>
                <a:solidFill>
                  <a:srgbClr val="DFE5EF"/>
                </a:solidFill>
                <a:ln w="9525" cmpd="sng" algn="ctr">
                  <a:solidFill>
                    <a:srgbClr val="DFE5EF"/>
                  </a:solidFill>
                  <a:prstDash val="solid"/>
                </a:ln>
              </c:spPr>
            </c:marker>
            <c:bubble3D val="0"/>
            <c:extLst>
              <c:ext xmlns:c16="http://schemas.microsoft.com/office/drawing/2014/chart" uri="{C3380CC4-5D6E-409C-BE32-E72D297353CC}">
                <c16:uniqueId val="{00000003-04AC-4F3D-91C0-2702B4E7B9CD}"/>
              </c:ext>
            </c:extLst>
          </c:dPt>
          <c:dPt>
            <c:idx val="3"/>
            <c:marker>
              <c:spPr>
                <a:solidFill>
                  <a:srgbClr val="DFE5EF"/>
                </a:solidFill>
                <a:ln w="9525" cmpd="sng" algn="ctr">
                  <a:solidFill>
                    <a:srgbClr val="DFE5EF"/>
                  </a:solidFill>
                  <a:prstDash val="solid"/>
                </a:ln>
              </c:spPr>
            </c:marker>
            <c:bubble3D val="0"/>
            <c:extLst>
              <c:ext xmlns:c16="http://schemas.microsoft.com/office/drawing/2014/chart" uri="{C3380CC4-5D6E-409C-BE32-E72D297353CC}">
                <c16:uniqueId val="{00000004-04AC-4F3D-91C0-2702B4E7B9CD}"/>
              </c:ext>
            </c:extLst>
          </c:dPt>
          <c:dPt>
            <c:idx val="4"/>
            <c:marker>
              <c:spPr>
                <a:solidFill>
                  <a:srgbClr val="DFE5EF"/>
                </a:solidFill>
                <a:ln w="9525" cmpd="sng" algn="ctr">
                  <a:solidFill>
                    <a:srgbClr val="DFE5EF"/>
                  </a:solidFill>
                  <a:prstDash val="solid"/>
                </a:ln>
              </c:spPr>
            </c:marker>
            <c:bubble3D val="0"/>
            <c:extLst>
              <c:ext xmlns:c16="http://schemas.microsoft.com/office/drawing/2014/chart" uri="{C3380CC4-5D6E-409C-BE32-E72D297353CC}">
                <c16:uniqueId val="{00000005-04AC-4F3D-91C0-2702B4E7B9CD}"/>
              </c:ext>
            </c:extLst>
          </c:dPt>
          <c:dPt>
            <c:idx val="5"/>
            <c:marker>
              <c:spPr>
                <a:solidFill>
                  <a:srgbClr val="DFE5EF"/>
                </a:solidFill>
                <a:ln w="9525" cmpd="sng" algn="ctr">
                  <a:solidFill>
                    <a:srgbClr val="DFE5EF"/>
                  </a:solidFill>
                  <a:prstDash val="solid"/>
                </a:ln>
              </c:spPr>
            </c:marker>
            <c:bubble3D val="0"/>
            <c:extLst>
              <c:ext xmlns:c16="http://schemas.microsoft.com/office/drawing/2014/chart" uri="{C3380CC4-5D6E-409C-BE32-E72D297353CC}">
                <c16:uniqueId val="{00000006-04AC-4F3D-91C0-2702B4E7B9CD}"/>
              </c:ext>
            </c:extLst>
          </c:dPt>
          <c:dPt>
            <c:idx val="6"/>
            <c:marker>
              <c:spPr>
                <a:solidFill>
                  <a:srgbClr val="DFE5EF"/>
                </a:solidFill>
                <a:ln w="9525" cmpd="sng" algn="ctr">
                  <a:solidFill>
                    <a:srgbClr val="DFE5EF"/>
                  </a:solidFill>
                  <a:prstDash val="solid"/>
                </a:ln>
              </c:spPr>
            </c:marker>
            <c:bubble3D val="0"/>
            <c:extLst>
              <c:ext xmlns:c16="http://schemas.microsoft.com/office/drawing/2014/chart" uri="{C3380CC4-5D6E-409C-BE32-E72D297353CC}">
                <c16:uniqueId val="{00000007-04AC-4F3D-91C0-2702B4E7B9CD}"/>
              </c:ext>
            </c:extLst>
          </c:dPt>
          <c:dPt>
            <c:idx val="7"/>
            <c:marker>
              <c:spPr>
                <a:solidFill>
                  <a:srgbClr val="DFE5EF"/>
                </a:solidFill>
                <a:ln w="9525" cmpd="sng" algn="ctr">
                  <a:solidFill>
                    <a:srgbClr val="DFE5EF"/>
                  </a:solidFill>
                  <a:prstDash val="solid"/>
                </a:ln>
              </c:spPr>
            </c:marker>
            <c:bubble3D val="0"/>
            <c:extLst>
              <c:ext xmlns:c16="http://schemas.microsoft.com/office/drawing/2014/chart" uri="{C3380CC4-5D6E-409C-BE32-E72D297353CC}">
                <c16:uniqueId val="{00000008-04AC-4F3D-91C0-2702B4E7B9CD}"/>
              </c:ext>
            </c:extLst>
          </c:dPt>
          <c:dPt>
            <c:idx val="8"/>
            <c:marker>
              <c:spPr>
                <a:solidFill>
                  <a:srgbClr val="DFE5EF"/>
                </a:solidFill>
                <a:ln w="9525" cmpd="sng" algn="ctr">
                  <a:solidFill>
                    <a:srgbClr val="DFE5EF"/>
                  </a:solidFill>
                  <a:prstDash val="solid"/>
                </a:ln>
              </c:spPr>
            </c:marker>
            <c:bubble3D val="0"/>
            <c:extLst>
              <c:ext xmlns:c16="http://schemas.microsoft.com/office/drawing/2014/chart" uri="{C3380CC4-5D6E-409C-BE32-E72D297353CC}">
                <c16:uniqueId val="{00000009-04AC-4F3D-91C0-2702B4E7B9CD}"/>
              </c:ext>
            </c:extLst>
          </c:dPt>
          <c:dPt>
            <c:idx val="9"/>
            <c:marker>
              <c:spPr>
                <a:solidFill>
                  <a:srgbClr val="DFE5EF"/>
                </a:solidFill>
                <a:ln w="9525" cmpd="sng" algn="ctr">
                  <a:solidFill>
                    <a:srgbClr val="DFE5EF"/>
                  </a:solidFill>
                  <a:prstDash val="solid"/>
                </a:ln>
              </c:spPr>
            </c:marker>
            <c:bubble3D val="0"/>
            <c:extLst>
              <c:ext xmlns:c16="http://schemas.microsoft.com/office/drawing/2014/chart" uri="{C3380CC4-5D6E-409C-BE32-E72D297353CC}">
                <c16:uniqueId val="{0000000A-04AC-4F3D-91C0-2702B4E7B9CD}"/>
              </c:ext>
            </c:extLst>
          </c:dPt>
          <c:dPt>
            <c:idx val="10"/>
            <c:marker>
              <c:spPr>
                <a:solidFill>
                  <a:srgbClr val="DFE5EF"/>
                </a:solidFill>
                <a:ln w="9525" cmpd="sng" algn="ctr">
                  <a:solidFill>
                    <a:srgbClr val="DFE5EF"/>
                  </a:solidFill>
                  <a:prstDash val="solid"/>
                </a:ln>
              </c:spPr>
            </c:marker>
            <c:bubble3D val="0"/>
            <c:extLst>
              <c:ext xmlns:c16="http://schemas.microsoft.com/office/drawing/2014/chart" uri="{C3380CC4-5D6E-409C-BE32-E72D297353CC}">
                <c16:uniqueId val="{0000000B-04AC-4F3D-91C0-2702B4E7B9CD}"/>
              </c:ext>
            </c:extLst>
          </c:dPt>
          <c:dPt>
            <c:idx val="11"/>
            <c:marker>
              <c:spPr>
                <a:solidFill>
                  <a:srgbClr val="DFE5EF"/>
                </a:solidFill>
                <a:ln w="9525" cmpd="sng" algn="ctr">
                  <a:solidFill>
                    <a:srgbClr val="DFE5EF"/>
                  </a:solidFill>
                  <a:prstDash val="solid"/>
                </a:ln>
              </c:spPr>
            </c:marker>
            <c:bubble3D val="0"/>
            <c:extLst>
              <c:ext xmlns:c16="http://schemas.microsoft.com/office/drawing/2014/chart" uri="{C3380CC4-5D6E-409C-BE32-E72D297353CC}">
                <c16:uniqueId val="{0000000C-04AC-4F3D-91C0-2702B4E7B9CD}"/>
              </c:ext>
            </c:extLst>
          </c:dPt>
          <c:dPt>
            <c:idx val="12"/>
            <c:marker>
              <c:symbol val="none"/>
            </c:marker>
            <c:bubble3D val="0"/>
            <c:extLst>
              <c:ext xmlns:c16="http://schemas.microsoft.com/office/drawing/2014/chart" uri="{C3380CC4-5D6E-409C-BE32-E72D297353CC}">
                <c16:uniqueId val="{0000000D-04AC-4F3D-91C0-2702B4E7B9CD}"/>
              </c:ext>
            </c:extLst>
          </c:dPt>
          <c:dLbls>
            <c:dLbl>
              <c:idx val="0"/>
              <c:layout>
                <c:manualLayout>
                  <c:x val="0"/>
                  <c:y val="-4.1251133272892114E-2"/>
                </c:manualLayout>
              </c:layout>
              <c:numFmt formatCode="#,##0&quot;%&quot;;&quot;-&quot;#,##0&quot;%&quot;"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4AC-4F3D-91C0-2702B4E7B9CD}"/>
                </c:ext>
              </c:extLst>
            </c:dLbl>
            <c:dLbl>
              <c:idx val="2"/>
              <c:layout>
                <c:manualLayout>
                  <c:x val="0"/>
                  <c:y val="-4.1251133272892114E-2"/>
                </c:manualLayout>
              </c:layout>
              <c:numFmt formatCode="#,##0&quot;%&quot;;&quot;-&quot;#,##0&quot;%&quot;"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4AC-4F3D-91C0-2702B4E7B9CD}"/>
                </c:ext>
              </c:extLst>
            </c:dLbl>
            <c:dLbl>
              <c:idx val="3"/>
              <c:layout>
                <c:manualLayout>
                  <c:x val="0"/>
                  <c:y val="-4.1251133272892114E-2"/>
                </c:manualLayout>
              </c:layout>
              <c:numFmt formatCode="#,##0&quot;%&quot;;&quot;-&quot;#,##0&quot;%&quot;"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4AC-4F3D-91C0-2702B4E7B9CD}"/>
                </c:ext>
              </c:extLst>
            </c:dLbl>
            <c:dLbl>
              <c:idx val="4"/>
              <c:layout>
                <c:manualLayout>
                  <c:x val="0"/>
                  <c:y val="-4.1251133272892114E-2"/>
                </c:manualLayout>
              </c:layout>
              <c:numFmt formatCode="#,##0&quot;%&quot;;&quot;-&quot;#,##0&quot;%&quot;"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4AC-4F3D-91C0-2702B4E7B9CD}"/>
                </c:ext>
              </c:extLst>
            </c:dLbl>
            <c:dLbl>
              <c:idx val="5"/>
              <c:layout>
                <c:manualLayout>
                  <c:x val="0"/>
                  <c:y val="-4.1251133272892114E-2"/>
                </c:manualLayout>
              </c:layout>
              <c:numFmt formatCode="#,##0&quot;%&quot;;&quot;-&quot;#,##0&quot;%&quot;"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4AC-4F3D-91C0-2702B4E7B9CD}"/>
                </c:ext>
              </c:extLst>
            </c:dLbl>
            <c:dLbl>
              <c:idx val="6"/>
              <c:layout>
                <c:manualLayout>
                  <c:x val="0"/>
                  <c:y val="-4.1251133272892114E-2"/>
                </c:manualLayout>
              </c:layout>
              <c:numFmt formatCode="#,##0&quot;%&quot;;&quot;-&quot;#,##0&quot;%&quot;"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4AC-4F3D-91C0-2702B4E7B9CD}"/>
                </c:ext>
              </c:extLst>
            </c:dLbl>
            <c:dLbl>
              <c:idx val="7"/>
              <c:layout>
                <c:manualLayout>
                  <c:x val="0"/>
                  <c:y val="-4.1251133272892114E-2"/>
                </c:manualLayout>
              </c:layout>
              <c:numFmt formatCode="#,##0&quot;%&quot;;&quot;-&quot;#,##0&quot;%&quot;"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04AC-4F3D-91C0-2702B4E7B9CD}"/>
                </c:ext>
              </c:extLst>
            </c:dLbl>
            <c:dLbl>
              <c:idx val="8"/>
              <c:layout>
                <c:manualLayout>
                  <c:x val="0"/>
                  <c:y val="-4.1251133272892114E-2"/>
                </c:manualLayout>
              </c:layout>
              <c:numFmt formatCode="#,##0&quot;%&quot;;&quot;-&quot;#,##0&quot;%&quot;"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04AC-4F3D-91C0-2702B4E7B9CD}"/>
                </c:ext>
              </c:extLst>
            </c:dLbl>
            <c:dLbl>
              <c:idx val="9"/>
              <c:layout>
                <c:manualLayout>
                  <c:x val="0"/>
                  <c:y val="-4.1251133272892114E-2"/>
                </c:manualLayout>
              </c:layout>
              <c:numFmt formatCode="#,##0&quot;%&quot;;&quot;-&quot;#,##0&quot;%&quot;"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04AC-4F3D-91C0-2702B4E7B9CD}"/>
                </c:ext>
              </c:extLst>
            </c:dLbl>
            <c:dLbl>
              <c:idx val="10"/>
              <c:layout>
                <c:manualLayout>
                  <c:x val="0"/>
                  <c:y val="-4.1251133272892114E-2"/>
                </c:manualLayout>
              </c:layout>
              <c:numFmt formatCode="#,##0&quot;%&quot;;&quot;-&quot;#,##0&quot;%&quot;"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04AC-4F3D-91C0-2702B4E7B9CD}"/>
                </c:ext>
              </c:extLst>
            </c:dLbl>
            <c:dLbl>
              <c:idx val="11"/>
              <c:layout>
                <c:manualLayout>
                  <c:x val="0"/>
                  <c:y val="-4.1251133272892114E-2"/>
                </c:manualLayout>
              </c:layout>
              <c:numFmt formatCode="#,##0&quot;%&quot;;&quot;-&quot;#,##0&quot;%&quot;"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04AC-4F3D-91C0-2702B4E7B9C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M$2</c:f>
              <c:numCache>
                <c:formatCode>General</c:formatCode>
                <c:ptCount val="13"/>
                <c:pt idx="0">
                  <c:v>30.286861032244282</c:v>
                </c:pt>
                <c:pt idx="1">
                  <c:v>20.662862942416481</c:v>
                </c:pt>
                <c:pt idx="2">
                  <c:v>20.585688930897998</c:v>
                </c:pt>
                <c:pt idx="3">
                  <c:v>21.358202572505938</c:v>
                </c:pt>
                <c:pt idx="4">
                  <c:v>22.512342828623485</c:v>
                </c:pt>
                <c:pt idx="5">
                  <c:v>22.02895321658055</c:v>
                </c:pt>
                <c:pt idx="6">
                  <c:v>22.427085155686399</c:v>
                </c:pt>
                <c:pt idx="7">
                  <c:v>22.017907868047349</c:v>
                </c:pt>
                <c:pt idx="8">
                  <c:v>23.546113496104716</c:v>
                </c:pt>
                <c:pt idx="9">
                  <c:v>22.509386190287113</c:v>
                </c:pt>
                <c:pt idx="10">
                  <c:v>21.792964171040712</c:v>
                </c:pt>
                <c:pt idx="11">
                  <c:v>21.908105278292563</c:v>
                </c:pt>
              </c:numCache>
            </c:numRef>
          </c:val>
          <c:smooth val="0"/>
          <c:extLst>
            <c:ext xmlns:c16="http://schemas.microsoft.com/office/drawing/2014/chart" uri="{C3380CC4-5D6E-409C-BE32-E72D297353CC}">
              <c16:uniqueId val="{0000000E-04AC-4F3D-91C0-2702B4E7B9CD}"/>
            </c:ext>
          </c:extLst>
        </c:ser>
        <c:dLbls>
          <c:showLegendKey val="0"/>
          <c:showVal val="0"/>
          <c:showCatName val="0"/>
          <c:showSerName val="0"/>
          <c:showPercent val="0"/>
          <c:showBubbleSize val="0"/>
        </c:dLbls>
        <c:marker val="1"/>
        <c:smooth val="0"/>
        <c:axId val="2"/>
        <c:axId val="3"/>
      </c:lineChart>
      <c:catAx>
        <c:axId val="877593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000000"/>
          <c:min val="0"/>
        </c:scaling>
        <c:delete val="0"/>
        <c:axPos val="r"/>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8775935"/>
        <c:crosses val="max"/>
        <c:crossBetween val="between"/>
      </c:valAx>
      <c:catAx>
        <c:axId val="2"/>
        <c:scaling>
          <c:orientation val="minMax"/>
        </c:scaling>
        <c:delete val="1"/>
        <c:axPos val="b"/>
        <c:majorGridlines>
          <c:spPr>
            <a:ln>
              <a:noFill/>
            </a:ln>
          </c:spPr>
        </c:majorGridlines>
        <c:majorTickMark val="none"/>
        <c:minorTickMark val="none"/>
        <c:tickLblPos val="none"/>
        <c:crossAx val="3"/>
        <c:crosses val="min"/>
        <c:auto val="0"/>
        <c:lblAlgn val="ctr"/>
        <c:lblOffset val="100"/>
        <c:noMultiLvlLbl val="0"/>
      </c:catAx>
      <c:valAx>
        <c:axId val="3"/>
        <c:scaling>
          <c:orientation val="minMax"/>
          <c:max val="30.286861032244282"/>
          <c:min val="0"/>
        </c:scaling>
        <c:delete val="0"/>
        <c:axPos val="l"/>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2"/>
        <c:crosses val="min"/>
        <c:crossBetween val="between"/>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797951052931132E-2"/>
          <c:y val="2.2241231822070145E-2"/>
          <c:w val="0.97040409789413773"/>
          <c:h val="0.95551753635585968"/>
        </c:manualLayout>
      </c:layout>
      <c:barChart>
        <c:barDir val="col"/>
        <c:grouping val="clustered"/>
        <c:varyColors val="0"/>
        <c:ser>
          <c:idx val="12"/>
          <c:order val="12"/>
          <c:invertIfNegative val="0"/>
          <c:extLst>
            <c:ext xmlns:c16="http://schemas.microsoft.com/office/drawing/2014/chart" uri="{C3380CC4-5D6E-409C-BE32-E72D297353CC}">
              <c16:uniqueId val="{0000004C-B330-4DEB-B090-E8C2D460A362}"/>
            </c:ext>
          </c:extLst>
        </c:ser>
        <c:dLbls>
          <c:showLegendKey val="0"/>
          <c:showVal val="0"/>
          <c:showCatName val="0"/>
          <c:showSerName val="0"/>
          <c:showPercent val="0"/>
          <c:showBubbleSize val="0"/>
        </c:dLbls>
        <c:gapWidth val="150"/>
        <c:axId val="2"/>
        <c:axId val="3"/>
      </c:barChart>
      <c:lineChart>
        <c:grouping val="standard"/>
        <c:varyColors val="0"/>
        <c:ser>
          <c:idx val="0"/>
          <c:order val="0"/>
          <c:spPr>
            <a:ln w="19050" cmpd="sng" algn="ctr">
              <a:solidFill>
                <a:schemeClr val="accent1"/>
              </a:solidFill>
              <a:prstDash val="solid"/>
            </a:ln>
          </c:spPr>
          <c:marker>
            <c:symbol val="circle"/>
            <c:size val="5"/>
            <c:spPr>
              <a:solidFill>
                <a:schemeClr val="accent1"/>
              </a:solidFill>
              <a:ln w="9525" cmpd="sng" algn="ctr">
                <a:solidFill>
                  <a:schemeClr val="accent1"/>
                </a:solidFill>
                <a:prstDash val="solid"/>
              </a:ln>
            </c:spPr>
          </c:marker>
          <c:dPt>
            <c:idx val="0"/>
            <c:marker>
              <c:symbol val="none"/>
            </c:marker>
            <c:bubble3D val="0"/>
            <c:extLst>
              <c:ext xmlns:c16="http://schemas.microsoft.com/office/drawing/2014/chart" uri="{C3380CC4-5D6E-409C-BE32-E72D297353CC}">
                <c16:uniqueId val="{00000000-B330-4DEB-B090-E8C2D460A362}"/>
              </c:ext>
            </c:extLst>
          </c:dPt>
          <c:dPt>
            <c:idx val="1"/>
            <c:marker>
              <c:symbol val="none"/>
            </c:marker>
            <c:bubble3D val="0"/>
            <c:extLst>
              <c:ext xmlns:c16="http://schemas.microsoft.com/office/drawing/2014/chart" uri="{C3380CC4-5D6E-409C-BE32-E72D297353CC}">
                <c16:uniqueId val="{00000001-B330-4DEB-B090-E8C2D460A362}"/>
              </c:ext>
            </c:extLst>
          </c:dPt>
          <c:dPt>
            <c:idx val="2"/>
            <c:marker>
              <c:symbol val="none"/>
            </c:marker>
            <c:bubble3D val="0"/>
            <c:extLst>
              <c:ext xmlns:c16="http://schemas.microsoft.com/office/drawing/2014/chart" uri="{C3380CC4-5D6E-409C-BE32-E72D297353CC}">
                <c16:uniqueId val="{00000002-B330-4DEB-B090-E8C2D460A362}"/>
              </c:ext>
            </c:extLst>
          </c:dPt>
          <c:dPt>
            <c:idx val="3"/>
            <c:marker>
              <c:symbol val="none"/>
            </c:marker>
            <c:bubble3D val="0"/>
            <c:extLst>
              <c:ext xmlns:c16="http://schemas.microsoft.com/office/drawing/2014/chart" uri="{C3380CC4-5D6E-409C-BE32-E72D297353CC}">
                <c16:uniqueId val="{00000003-B330-4DEB-B090-E8C2D460A362}"/>
              </c:ext>
            </c:extLst>
          </c:dPt>
          <c:val>
            <c:numRef>
              <c:f>Sheet1!$A$1:$H$1</c:f>
              <c:numCache>
                <c:formatCode>General</c:formatCode>
                <c:ptCount val="8"/>
                <c:pt idx="4">
                  <c:v>1.4000000000000001</c:v>
                </c:pt>
                <c:pt idx="5">
                  <c:v>1.2</c:v>
                </c:pt>
                <c:pt idx="6">
                  <c:v>1.3</c:v>
                </c:pt>
                <c:pt idx="7">
                  <c:v>1.3</c:v>
                </c:pt>
              </c:numCache>
            </c:numRef>
          </c:val>
          <c:smooth val="0"/>
          <c:extLst>
            <c:ext xmlns:c16="http://schemas.microsoft.com/office/drawing/2014/chart" uri="{C3380CC4-5D6E-409C-BE32-E72D297353CC}">
              <c16:uniqueId val="{00000004-B330-4DEB-B090-E8C2D460A362}"/>
            </c:ext>
          </c:extLst>
        </c:ser>
        <c:ser>
          <c:idx val="1"/>
          <c:order val="1"/>
          <c:spPr>
            <a:ln w="19050" cmpd="sng" algn="ctr">
              <a:solidFill>
                <a:srgbClr val="007770"/>
              </a:solidFill>
              <a:prstDash val="solid"/>
            </a:ln>
          </c:spPr>
          <c:marker>
            <c:symbol val="circle"/>
            <c:size val="5"/>
            <c:spPr>
              <a:solidFill>
                <a:srgbClr val="007770"/>
              </a:solidFill>
              <a:ln w="9525" cmpd="sng" algn="ctr">
                <a:solidFill>
                  <a:srgbClr val="007770"/>
                </a:solidFill>
                <a:prstDash val="solid"/>
              </a:ln>
            </c:spPr>
          </c:marker>
          <c:dPt>
            <c:idx val="0"/>
            <c:marker>
              <c:symbol val="none"/>
            </c:marker>
            <c:bubble3D val="0"/>
            <c:extLst>
              <c:ext xmlns:c16="http://schemas.microsoft.com/office/drawing/2014/chart" uri="{C3380CC4-5D6E-409C-BE32-E72D297353CC}">
                <c16:uniqueId val="{00000005-B330-4DEB-B090-E8C2D460A362}"/>
              </c:ext>
            </c:extLst>
          </c:dPt>
          <c:dPt>
            <c:idx val="1"/>
            <c:marker>
              <c:symbol val="none"/>
            </c:marker>
            <c:bubble3D val="0"/>
            <c:extLst>
              <c:ext xmlns:c16="http://schemas.microsoft.com/office/drawing/2014/chart" uri="{C3380CC4-5D6E-409C-BE32-E72D297353CC}">
                <c16:uniqueId val="{00000006-B330-4DEB-B090-E8C2D460A362}"/>
              </c:ext>
            </c:extLst>
          </c:dPt>
          <c:dPt>
            <c:idx val="2"/>
            <c:marker>
              <c:symbol val="none"/>
            </c:marker>
            <c:bubble3D val="0"/>
            <c:extLst>
              <c:ext xmlns:c16="http://schemas.microsoft.com/office/drawing/2014/chart" uri="{C3380CC4-5D6E-409C-BE32-E72D297353CC}">
                <c16:uniqueId val="{00000007-B330-4DEB-B090-E8C2D460A362}"/>
              </c:ext>
            </c:extLst>
          </c:dPt>
          <c:dPt>
            <c:idx val="3"/>
            <c:marker>
              <c:symbol val="none"/>
            </c:marker>
            <c:bubble3D val="0"/>
            <c:extLst>
              <c:ext xmlns:c16="http://schemas.microsoft.com/office/drawing/2014/chart" uri="{C3380CC4-5D6E-409C-BE32-E72D297353CC}">
                <c16:uniqueId val="{00000008-B330-4DEB-B090-E8C2D460A362}"/>
              </c:ext>
            </c:extLst>
          </c:dPt>
          <c:val>
            <c:numRef>
              <c:f>Sheet1!$A$2:$H$2</c:f>
              <c:numCache>
                <c:formatCode>General</c:formatCode>
                <c:ptCount val="8"/>
                <c:pt idx="4">
                  <c:v>2.4</c:v>
                </c:pt>
                <c:pt idx="5">
                  <c:v>2.1</c:v>
                </c:pt>
                <c:pt idx="6">
                  <c:v>2.1</c:v>
                </c:pt>
                <c:pt idx="7">
                  <c:v>2.2999999999999998</c:v>
                </c:pt>
              </c:numCache>
            </c:numRef>
          </c:val>
          <c:smooth val="0"/>
          <c:extLst>
            <c:ext xmlns:c16="http://schemas.microsoft.com/office/drawing/2014/chart" uri="{C3380CC4-5D6E-409C-BE32-E72D297353CC}">
              <c16:uniqueId val="{00000009-B330-4DEB-B090-E8C2D460A362}"/>
            </c:ext>
          </c:extLst>
        </c:ser>
        <c:ser>
          <c:idx val="2"/>
          <c:order val="2"/>
          <c:spPr>
            <a:ln w="19050" cmpd="sng" algn="ctr">
              <a:solidFill>
                <a:schemeClr val="accent2"/>
              </a:solidFill>
              <a:prstDash val="solid"/>
            </a:ln>
          </c:spPr>
          <c:marker>
            <c:symbol val="circle"/>
            <c:size val="5"/>
            <c:spPr>
              <a:solidFill>
                <a:schemeClr val="accent2"/>
              </a:solidFill>
              <a:ln w="9525" cmpd="sng" algn="ctr">
                <a:solidFill>
                  <a:schemeClr val="accent2"/>
                </a:solidFill>
                <a:prstDash val="solid"/>
              </a:ln>
            </c:spPr>
          </c:marker>
          <c:dPt>
            <c:idx val="0"/>
            <c:marker>
              <c:symbol val="none"/>
            </c:marker>
            <c:bubble3D val="0"/>
            <c:extLst>
              <c:ext xmlns:c16="http://schemas.microsoft.com/office/drawing/2014/chart" uri="{C3380CC4-5D6E-409C-BE32-E72D297353CC}">
                <c16:uniqueId val="{0000000A-B330-4DEB-B090-E8C2D460A362}"/>
              </c:ext>
            </c:extLst>
          </c:dPt>
          <c:dPt>
            <c:idx val="1"/>
            <c:marker>
              <c:symbol val="none"/>
            </c:marker>
            <c:bubble3D val="0"/>
            <c:extLst>
              <c:ext xmlns:c16="http://schemas.microsoft.com/office/drawing/2014/chart" uri="{C3380CC4-5D6E-409C-BE32-E72D297353CC}">
                <c16:uniqueId val="{0000000B-B330-4DEB-B090-E8C2D460A362}"/>
              </c:ext>
            </c:extLst>
          </c:dPt>
          <c:dPt>
            <c:idx val="2"/>
            <c:marker>
              <c:symbol val="none"/>
            </c:marker>
            <c:bubble3D val="0"/>
            <c:extLst>
              <c:ext xmlns:c16="http://schemas.microsoft.com/office/drawing/2014/chart" uri="{C3380CC4-5D6E-409C-BE32-E72D297353CC}">
                <c16:uniqueId val="{0000000C-B330-4DEB-B090-E8C2D460A362}"/>
              </c:ext>
            </c:extLst>
          </c:dPt>
          <c:dPt>
            <c:idx val="3"/>
            <c:marker>
              <c:symbol val="none"/>
            </c:marker>
            <c:bubble3D val="0"/>
            <c:extLst>
              <c:ext xmlns:c16="http://schemas.microsoft.com/office/drawing/2014/chart" uri="{C3380CC4-5D6E-409C-BE32-E72D297353CC}">
                <c16:uniqueId val="{0000000D-B330-4DEB-B090-E8C2D460A362}"/>
              </c:ext>
            </c:extLst>
          </c:dPt>
          <c:val>
            <c:numRef>
              <c:f>Sheet1!$A$3:$H$3</c:f>
              <c:numCache>
                <c:formatCode>General</c:formatCode>
                <c:ptCount val="8"/>
                <c:pt idx="4">
                  <c:v>1.3</c:v>
                </c:pt>
                <c:pt idx="5">
                  <c:v>0.70000000000000007</c:v>
                </c:pt>
                <c:pt idx="6">
                  <c:v>0.8</c:v>
                </c:pt>
                <c:pt idx="7">
                  <c:v>0.89999999999999991</c:v>
                </c:pt>
              </c:numCache>
            </c:numRef>
          </c:val>
          <c:smooth val="0"/>
          <c:extLst>
            <c:ext xmlns:c16="http://schemas.microsoft.com/office/drawing/2014/chart" uri="{C3380CC4-5D6E-409C-BE32-E72D297353CC}">
              <c16:uniqueId val="{0000000E-B330-4DEB-B090-E8C2D460A362}"/>
            </c:ext>
          </c:extLst>
        </c:ser>
        <c:ser>
          <c:idx val="3"/>
          <c:order val="3"/>
          <c:spPr>
            <a:ln w="19050" cmpd="sng" algn="ctr">
              <a:solidFill>
                <a:srgbClr val="4C6C9C"/>
              </a:solidFill>
              <a:prstDash val="solid"/>
            </a:ln>
          </c:spPr>
          <c:marker>
            <c:symbol val="circle"/>
            <c:size val="5"/>
            <c:spPr>
              <a:solidFill>
                <a:srgbClr val="4C6C9C"/>
              </a:solidFill>
              <a:ln w="9525" cmpd="sng" algn="ctr">
                <a:solidFill>
                  <a:srgbClr val="4C6C9C"/>
                </a:solidFill>
                <a:prstDash val="solid"/>
              </a:ln>
            </c:spPr>
          </c:marker>
          <c:dPt>
            <c:idx val="0"/>
            <c:marker>
              <c:symbol val="none"/>
            </c:marker>
            <c:bubble3D val="0"/>
            <c:extLst>
              <c:ext xmlns:c16="http://schemas.microsoft.com/office/drawing/2014/chart" uri="{C3380CC4-5D6E-409C-BE32-E72D297353CC}">
                <c16:uniqueId val="{0000000F-B330-4DEB-B090-E8C2D460A362}"/>
              </c:ext>
            </c:extLst>
          </c:dPt>
          <c:dPt>
            <c:idx val="1"/>
            <c:marker>
              <c:symbol val="none"/>
            </c:marker>
            <c:bubble3D val="0"/>
            <c:extLst>
              <c:ext xmlns:c16="http://schemas.microsoft.com/office/drawing/2014/chart" uri="{C3380CC4-5D6E-409C-BE32-E72D297353CC}">
                <c16:uniqueId val="{00000010-B330-4DEB-B090-E8C2D460A362}"/>
              </c:ext>
            </c:extLst>
          </c:dPt>
          <c:dPt>
            <c:idx val="2"/>
            <c:marker>
              <c:symbol val="none"/>
            </c:marker>
            <c:bubble3D val="0"/>
            <c:extLst>
              <c:ext xmlns:c16="http://schemas.microsoft.com/office/drawing/2014/chart" uri="{C3380CC4-5D6E-409C-BE32-E72D297353CC}">
                <c16:uniqueId val="{00000011-B330-4DEB-B090-E8C2D460A362}"/>
              </c:ext>
            </c:extLst>
          </c:dPt>
          <c:dPt>
            <c:idx val="3"/>
            <c:marker>
              <c:symbol val="none"/>
            </c:marker>
            <c:bubble3D val="0"/>
            <c:extLst>
              <c:ext xmlns:c16="http://schemas.microsoft.com/office/drawing/2014/chart" uri="{C3380CC4-5D6E-409C-BE32-E72D297353CC}">
                <c16:uniqueId val="{00000012-B330-4DEB-B090-E8C2D460A362}"/>
              </c:ext>
            </c:extLst>
          </c:dPt>
          <c:val>
            <c:numRef>
              <c:f>Sheet1!$A$4:$H$4</c:f>
              <c:numCache>
                <c:formatCode>General</c:formatCode>
                <c:ptCount val="8"/>
                <c:pt idx="4">
                  <c:v>0.70000000000000007</c:v>
                </c:pt>
                <c:pt idx="5">
                  <c:v>0.8</c:v>
                </c:pt>
                <c:pt idx="6">
                  <c:v>0.89999999999999991</c:v>
                </c:pt>
                <c:pt idx="7">
                  <c:v>0.89999999999999991</c:v>
                </c:pt>
              </c:numCache>
            </c:numRef>
          </c:val>
          <c:smooth val="0"/>
          <c:extLst>
            <c:ext xmlns:c16="http://schemas.microsoft.com/office/drawing/2014/chart" uri="{C3380CC4-5D6E-409C-BE32-E72D297353CC}">
              <c16:uniqueId val="{00000013-B330-4DEB-B090-E8C2D460A362}"/>
            </c:ext>
          </c:extLst>
        </c:ser>
        <c:ser>
          <c:idx val="4"/>
          <c:order val="4"/>
          <c:spPr>
            <a:ln w="19050" cmpd="sng" algn="ctr">
              <a:solidFill>
                <a:schemeClr val="accent1"/>
              </a:solidFill>
              <a:prstDash val="solid"/>
            </a:ln>
          </c:spPr>
          <c:marker>
            <c:symbol val="circle"/>
            <c:size val="5"/>
            <c:spPr>
              <a:solidFill>
                <a:schemeClr val="accent1"/>
              </a:solidFill>
              <a:ln w="9525" cmpd="sng" algn="ctr">
                <a:solidFill>
                  <a:schemeClr val="accent1"/>
                </a:solidFill>
                <a:prstDash val="solid"/>
              </a:ln>
            </c:spPr>
          </c:marker>
          <c:dPt>
            <c:idx val="4"/>
            <c:marker>
              <c:symbol val="none"/>
            </c:marker>
            <c:bubble3D val="0"/>
            <c:extLst>
              <c:ext xmlns:c16="http://schemas.microsoft.com/office/drawing/2014/chart" uri="{C3380CC4-5D6E-409C-BE32-E72D297353CC}">
                <c16:uniqueId val="{00000014-B330-4DEB-B090-E8C2D460A362}"/>
              </c:ext>
            </c:extLst>
          </c:dPt>
          <c:dPt>
            <c:idx val="5"/>
            <c:marker>
              <c:symbol val="none"/>
            </c:marker>
            <c:bubble3D val="0"/>
            <c:extLst>
              <c:ext xmlns:c16="http://schemas.microsoft.com/office/drawing/2014/chart" uri="{C3380CC4-5D6E-409C-BE32-E72D297353CC}">
                <c16:uniqueId val="{00000015-B330-4DEB-B090-E8C2D460A362}"/>
              </c:ext>
            </c:extLst>
          </c:dPt>
          <c:dPt>
            <c:idx val="6"/>
            <c:marker>
              <c:symbol val="none"/>
            </c:marker>
            <c:bubble3D val="0"/>
            <c:extLst>
              <c:ext xmlns:c16="http://schemas.microsoft.com/office/drawing/2014/chart" uri="{C3380CC4-5D6E-409C-BE32-E72D297353CC}">
                <c16:uniqueId val="{00000016-B330-4DEB-B090-E8C2D460A362}"/>
              </c:ext>
            </c:extLst>
          </c:dPt>
          <c:dPt>
            <c:idx val="7"/>
            <c:marker>
              <c:symbol val="none"/>
            </c:marker>
            <c:bubble3D val="0"/>
            <c:extLst>
              <c:ext xmlns:c16="http://schemas.microsoft.com/office/drawing/2014/chart" uri="{C3380CC4-5D6E-409C-BE32-E72D297353CC}">
                <c16:uniqueId val="{00000017-B330-4DEB-B090-E8C2D460A362}"/>
              </c:ext>
            </c:extLst>
          </c:dPt>
          <c:val>
            <c:numRef>
              <c:f>Sheet1!$A$5:$H$5</c:f>
              <c:numCache>
                <c:formatCode>General</c:formatCode>
                <c:ptCount val="8"/>
                <c:pt idx="0">
                  <c:v>1.2</c:v>
                </c:pt>
                <c:pt idx="1">
                  <c:v>1.2</c:v>
                </c:pt>
                <c:pt idx="2">
                  <c:v>1.3</c:v>
                </c:pt>
                <c:pt idx="3">
                  <c:v>1.3</c:v>
                </c:pt>
              </c:numCache>
            </c:numRef>
          </c:val>
          <c:smooth val="0"/>
          <c:extLst>
            <c:ext xmlns:c16="http://schemas.microsoft.com/office/drawing/2014/chart" uri="{C3380CC4-5D6E-409C-BE32-E72D297353CC}">
              <c16:uniqueId val="{00000018-B330-4DEB-B090-E8C2D460A362}"/>
            </c:ext>
          </c:extLst>
        </c:ser>
        <c:ser>
          <c:idx val="5"/>
          <c:order val="5"/>
          <c:spPr>
            <a:ln w="19050" cmpd="sng" algn="ctr">
              <a:solidFill>
                <a:srgbClr val="007770"/>
              </a:solidFill>
              <a:prstDash val="solid"/>
            </a:ln>
          </c:spPr>
          <c:marker>
            <c:symbol val="circle"/>
            <c:size val="5"/>
            <c:spPr>
              <a:solidFill>
                <a:srgbClr val="007770"/>
              </a:solidFill>
              <a:ln w="9525" cmpd="sng" algn="ctr">
                <a:solidFill>
                  <a:srgbClr val="007770"/>
                </a:solidFill>
                <a:prstDash val="solid"/>
              </a:ln>
            </c:spPr>
          </c:marker>
          <c:dPt>
            <c:idx val="4"/>
            <c:marker>
              <c:symbol val="none"/>
            </c:marker>
            <c:bubble3D val="0"/>
            <c:extLst>
              <c:ext xmlns:c16="http://schemas.microsoft.com/office/drawing/2014/chart" uri="{C3380CC4-5D6E-409C-BE32-E72D297353CC}">
                <c16:uniqueId val="{00000019-B330-4DEB-B090-E8C2D460A362}"/>
              </c:ext>
            </c:extLst>
          </c:dPt>
          <c:dPt>
            <c:idx val="5"/>
            <c:marker>
              <c:symbol val="none"/>
            </c:marker>
            <c:bubble3D val="0"/>
            <c:extLst>
              <c:ext xmlns:c16="http://schemas.microsoft.com/office/drawing/2014/chart" uri="{C3380CC4-5D6E-409C-BE32-E72D297353CC}">
                <c16:uniqueId val="{0000001A-B330-4DEB-B090-E8C2D460A362}"/>
              </c:ext>
            </c:extLst>
          </c:dPt>
          <c:dPt>
            <c:idx val="6"/>
            <c:marker>
              <c:symbol val="none"/>
            </c:marker>
            <c:bubble3D val="0"/>
            <c:extLst>
              <c:ext xmlns:c16="http://schemas.microsoft.com/office/drawing/2014/chart" uri="{C3380CC4-5D6E-409C-BE32-E72D297353CC}">
                <c16:uniqueId val="{0000001B-B330-4DEB-B090-E8C2D460A362}"/>
              </c:ext>
            </c:extLst>
          </c:dPt>
          <c:dPt>
            <c:idx val="7"/>
            <c:marker>
              <c:symbol val="none"/>
            </c:marker>
            <c:bubble3D val="0"/>
            <c:extLst>
              <c:ext xmlns:c16="http://schemas.microsoft.com/office/drawing/2014/chart" uri="{C3380CC4-5D6E-409C-BE32-E72D297353CC}">
                <c16:uniqueId val="{0000001C-B330-4DEB-B090-E8C2D460A362}"/>
              </c:ext>
            </c:extLst>
          </c:dPt>
          <c:val>
            <c:numRef>
              <c:f>Sheet1!$A$6:$H$6</c:f>
              <c:numCache>
                <c:formatCode>General</c:formatCode>
                <c:ptCount val="8"/>
                <c:pt idx="0">
                  <c:v>2.1999999999999997</c:v>
                </c:pt>
                <c:pt idx="1">
                  <c:v>2.1999999999999997</c:v>
                </c:pt>
                <c:pt idx="2">
                  <c:v>2.5</c:v>
                </c:pt>
                <c:pt idx="3">
                  <c:v>2.1999999999999997</c:v>
                </c:pt>
              </c:numCache>
            </c:numRef>
          </c:val>
          <c:smooth val="0"/>
          <c:extLst>
            <c:ext xmlns:c16="http://schemas.microsoft.com/office/drawing/2014/chart" uri="{C3380CC4-5D6E-409C-BE32-E72D297353CC}">
              <c16:uniqueId val="{0000001D-B330-4DEB-B090-E8C2D460A362}"/>
            </c:ext>
          </c:extLst>
        </c:ser>
        <c:ser>
          <c:idx val="6"/>
          <c:order val="6"/>
          <c:spPr>
            <a:ln w="28575" cmpd="sng" algn="ctr">
              <a:solidFill>
                <a:schemeClr val="accent2"/>
              </a:solidFill>
              <a:prstDash val="solid"/>
            </a:ln>
          </c:spPr>
          <c:marker>
            <c:symbol val="circle"/>
            <c:size val="5"/>
            <c:spPr>
              <a:solidFill>
                <a:schemeClr val="accent2"/>
              </a:solidFill>
              <a:ln w="9525" cmpd="sng" algn="ctr">
                <a:solidFill>
                  <a:schemeClr val="accent2"/>
                </a:solidFill>
                <a:prstDash val="solid"/>
              </a:ln>
            </c:spPr>
          </c:marker>
          <c:dPt>
            <c:idx val="4"/>
            <c:marker>
              <c:symbol val="none"/>
            </c:marker>
            <c:bubble3D val="0"/>
            <c:extLst>
              <c:ext xmlns:c16="http://schemas.microsoft.com/office/drawing/2014/chart" uri="{C3380CC4-5D6E-409C-BE32-E72D297353CC}">
                <c16:uniqueId val="{0000001E-B330-4DEB-B090-E8C2D460A362}"/>
              </c:ext>
            </c:extLst>
          </c:dPt>
          <c:dPt>
            <c:idx val="5"/>
            <c:marker>
              <c:symbol val="none"/>
            </c:marker>
            <c:bubble3D val="0"/>
            <c:extLst>
              <c:ext xmlns:c16="http://schemas.microsoft.com/office/drawing/2014/chart" uri="{C3380CC4-5D6E-409C-BE32-E72D297353CC}">
                <c16:uniqueId val="{0000001F-B330-4DEB-B090-E8C2D460A362}"/>
              </c:ext>
            </c:extLst>
          </c:dPt>
          <c:dPt>
            <c:idx val="6"/>
            <c:marker>
              <c:symbol val="none"/>
            </c:marker>
            <c:bubble3D val="0"/>
            <c:extLst>
              <c:ext xmlns:c16="http://schemas.microsoft.com/office/drawing/2014/chart" uri="{C3380CC4-5D6E-409C-BE32-E72D297353CC}">
                <c16:uniqueId val="{00000020-B330-4DEB-B090-E8C2D460A362}"/>
              </c:ext>
            </c:extLst>
          </c:dPt>
          <c:dPt>
            <c:idx val="7"/>
            <c:marker>
              <c:symbol val="none"/>
            </c:marker>
            <c:bubble3D val="0"/>
            <c:extLst>
              <c:ext xmlns:c16="http://schemas.microsoft.com/office/drawing/2014/chart" uri="{C3380CC4-5D6E-409C-BE32-E72D297353CC}">
                <c16:uniqueId val="{00000021-B330-4DEB-B090-E8C2D460A362}"/>
              </c:ext>
            </c:extLst>
          </c:dPt>
          <c:val>
            <c:numRef>
              <c:f>Sheet1!$A$7:$H$7</c:f>
              <c:numCache>
                <c:formatCode>General</c:formatCode>
                <c:ptCount val="8"/>
                <c:pt idx="0">
                  <c:v>0.89999999999999991</c:v>
                </c:pt>
                <c:pt idx="1">
                  <c:v>0.89999999999999991</c:v>
                </c:pt>
                <c:pt idx="2">
                  <c:v>1.2</c:v>
                </c:pt>
                <c:pt idx="3">
                  <c:v>1</c:v>
                </c:pt>
              </c:numCache>
            </c:numRef>
          </c:val>
          <c:smooth val="0"/>
          <c:extLst>
            <c:ext xmlns:c16="http://schemas.microsoft.com/office/drawing/2014/chart" uri="{C3380CC4-5D6E-409C-BE32-E72D297353CC}">
              <c16:uniqueId val="{00000022-B330-4DEB-B090-E8C2D460A362}"/>
            </c:ext>
          </c:extLst>
        </c:ser>
        <c:ser>
          <c:idx val="7"/>
          <c:order val="7"/>
          <c:spPr>
            <a:ln w="28575" cmpd="sng" algn="ctr">
              <a:solidFill>
                <a:srgbClr val="4C6C9C"/>
              </a:solidFill>
              <a:prstDash val="solid"/>
            </a:ln>
          </c:spPr>
          <c:marker>
            <c:symbol val="circle"/>
            <c:size val="5"/>
            <c:spPr>
              <a:solidFill>
                <a:srgbClr val="4C6C9C"/>
              </a:solidFill>
              <a:ln w="9525" cmpd="sng" algn="ctr">
                <a:solidFill>
                  <a:srgbClr val="4C6C9C"/>
                </a:solidFill>
                <a:prstDash val="solid"/>
              </a:ln>
            </c:spPr>
          </c:marker>
          <c:dPt>
            <c:idx val="4"/>
            <c:marker>
              <c:symbol val="none"/>
            </c:marker>
            <c:bubble3D val="0"/>
            <c:extLst>
              <c:ext xmlns:c16="http://schemas.microsoft.com/office/drawing/2014/chart" uri="{C3380CC4-5D6E-409C-BE32-E72D297353CC}">
                <c16:uniqueId val="{00000023-B330-4DEB-B090-E8C2D460A362}"/>
              </c:ext>
            </c:extLst>
          </c:dPt>
          <c:dPt>
            <c:idx val="5"/>
            <c:marker>
              <c:symbol val="none"/>
            </c:marker>
            <c:bubble3D val="0"/>
            <c:extLst>
              <c:ext xmlns:c16="http://schemas.microsoft.com/office/drawing/2014/chart" uri="{C3380CC4-5D6E-409C-BE32-E72D297353CC}">
                <c16:uniqueId val="{00000024-B330-4DEB-B090-E8C2D460A362}"/>
              </c:ext>
            </c:extLst>
          </c:dPt>
          <c:dPt>
            <c:idx val="6"/>
            <c:marker>
              <c:symbol val="none"/>
            </c:marker>
            <c:bubble3D val="0"/>
            <c:extLst>
              <c:ext xmlns:c16="http://schemas.microsoft.com/office/drawing/2014/chart" uri="{C3380CC4-5D6E-409C-BE32-E72D297353CC}">
                <c16:uniqueId val="{00000025-B330-4DEB-B090-E8C2D460A362}"/>
              </c:ext>
            </c:extLst>
          </c:dPt>
          <c:dPt>
            <c:idx val="7"/>
            <c:marker>
              <c:symbol val="none"/>
            </c:marker>
            <c:bubble3D val="0"/>
            <c:extLst>
              <c:ext xmlns:c16="http://schemas.microsoft.com/office/drawing/2014/chart" uri="{C3380CC4-5D6E-409C-BE32-E72D297353CC}">
                <c16:uniqueId val="{00000026-B330-4DEB-B090-E8C2D460A362}"/>
              </c:ext>
            </c:extLst>
          </c:dPt>
          <c:val>
            <c:numRef>
              <c:f>Sheet1!$A$8:$H$8</c:f>
              <c:numCache>
                <c:formatCode>General</c:formatCode>
                <c:ptCount val="8"/>
                <c:pt idx="0">
                  <c:v>0.89999999999999991</c:v>
                </c:pt>
                <c:pt idx="1">
                  <c:v>0.89999999999999991</c:v>
                </c:pt>
                <c:pt idx="2">
                  <c:v>0.6</c:v>
                </c:pt>
                <c:pt idx="3">
                  <c:v>0.70000000000000007</c:v>
                </c:pt>
              </c:numCache>
            </c:numRef>
          </c:val>
          <c:smooth val="0"/>
          <c:extLst>
            <c:ext xmlns:c16="http://schemas.microsoft.com/office/drawing/2014/chart" uri="{C3380CC4-5D6E-409C-BE32-E72D297353CC}">
              <c16:uniqueId val="{00000027-B330-4DEB-B090-E8C2D460A362}"/>
            </c:ext>
          </c:extLst>
        </c:ser>
        <c:ser>
          <c:idx val="8"/>
          <c:order val="8"/>
          <c:spPr>
            <a:ln w="28575" cmpd="sng" algn="ctr">
              <a:solidFill>
                <a:schemeClr val="accent3"/>
              </a:solidFill>
              <a:prstDash val="solid"/>
            </a:ln>
          </c:spPr>
          <c:marker>
            <c:symbol val="circle"/>
            <c:size val="5"/>
            <c:spPr>
              <a:solidFill>
                <a:schemeClr val="accent3"/>
              </a:solidFill>
              <a:ln w="9525" cmpd="sng" algn="ctr">
                <a:solidFill>
                  <a:schemeClr val="accent3"/>
                </a:solidFill>
                <a:prstDash val="solid"/>
              </a:ln>
            </c:spPr>
          </c:marker>
          <c:dPt>
            <c:idx val="0"/>
            <c:marker>
              <c:symbol val="none"/>
            </c:marker>
            <c:bubble3D val="0"/>
            <c:extLst>
              <c:ext xmlns:c16="http://schemas.microsoft.com/office/drawing/2014/chart" uri="{C3380CC4-5D6E-409C-BE32-E72D297353CC}">
                <c16:uniqueId val="{00000028-B330-4DEB-B090-E8C2D460A362}"/>
              </c:ext>
            </c:extLst>
          </c:dPt>
          <c:dPt>
            <c:idx val="1"/>
            <c:marker>
              <c:symbol val="none"/>
            </c:marker>
            <c:bubble3D val="0"/>
            <c:extLst>
              <c:ext xmlns:c16="http://schemas.microsoft.com/office/drawing/2014/chart" uri="{C3380CC4-5D6E-409C-BE32-E72D297353CC}">
                <c16:uniqueId val="{00000029-B330-4DEB-B090-E8C2D460A362}"/>
              </c:ext>
            </c:extLst>
          </c:dPt>
          <c:dPt>
            <c:idx val="2"/>
            <c:marker>
              <c:symbol val="none"/>
            </c:marker>
            <c:bubble3D val="0"/>
            <c:extLst>
              <c:ext xmlns:c16="http://schemas.microsoft.com/office/drawing/2014/chart" uri="{C3380CC4-5D6E-409C-BE32-E72D297353CC}">
                <c16:uniqueId val="{0000002A-B330-4DEB-B090-E8C2D460A362}"/>
              </c:ext>
            </c:extLst>
          </c:dPt>
          <c:dPt>
            <c:idx val="3"/>
            <c:marker>
              <c:symbol val="none"/>
            </c:marker>
            <c:bubble3D val="0"/>
            <c:extLst>
              <c:ext xmlns:c16="http://schemas.microsoft.com/office/drawing/2014/chart" uri="{C3380CC4-5D6E-409C-BE32-E72D297353CC}">
                <c16:uniqueId val="{0000002B-B330-4DEB-B090-E8C2D460A362}"/>
              </c:ext>
            </c:extLst>
          </c:dPt>
          <c:dPt>
            <c:idx val="4"/>
            <c:marker>
              <c:symbol val="none"/>
            </c:marker>
            <c:bubble3D val="0"/>
            <c:extLst>
              <c:ext xmlns:c16="http://schemas.microsoft.com/office/drawing/2014/chart" uri="{C3380CC4-5D6E-409C-BE32-E72D297353CC}">
                <c16:uniqueId val="{0000002C-B330-4DEB-B090-E8C2D460A362}"/>
              </c:ext>
            </c:extLst>
          </c:dPt>
          <c:dPt>
            <c:idx val="5"/>
            <c:marker>
              <c:symbol val="none"/>
            </c:marker>
            <c:bubble3D val="0"/>
            <c:extLst>
              <c:ext xmlns:c16="http://schemas.microsoft.com/office/drawing/2014/chart" uri="{C3380CC4-5D6E-409C-BE32-E72D297353CC}">
                <c16:uniqueId val="{0000002D-B330-4DEB-B090-E8C2D460A362}"/>
              </c:ext>
            </c:extLst>
          </c:dPt>
          <c:dPt>
            <c:idx val="6"/>
            <c:marker>
              <c:symbol val="none"/>
            </c:marker>
            <c:bubble3D val="0"/>
            <c:extLst>
              <c:ext xmlns:c16="http://schemas.microsoft.com/office/drawing/2014/chart" uri="{C3380CC4-5D6E-409C-BE32-E72D297353CC}">
                <c16:uniqueId val="{0000002E-B330-4DEB-B090-E8C2D460A362}"/>
              </c:ext>
            </c:extLst>
          </c:dPt>
          <c:dPt>
            <c:idx val="7"/>
            <c:marker>
              <c:symbol val="none"/>
            </c:marker>
            <c:bubble3D val="0"/>
            <c:extLst>
              <c:ext xmlns:c16="http://schemas.microsoft.com/office/drawing/2014/chart" uri="{C3380CC4-5D6E-409C-BE32-E72D297353CC}">
                <c16:uniqueId val="{0000002F-B330-4DEB-B090-E8C2D460A362}"/>
              </c:ext>
            </c:extLst>
          </c:dPt>
          <c:val>
            <c:numRef>
              <c:f>Sheet1!$A$9:$H$9</c:f>
              <c:numCache>
                <c:formatCode>General</c:formatCode>
                <c:ptCount val="8"/>
              </c:numCache>
            </c:numRef>
          </c:val>
          <c:smooth val="0"/>
          <c:extLst>
            <c:ext xmlns:c16="http://schemas.microsoft.com/office/drawing/2014/chart" uri="{C3380CC4-5D6E-409C-BE32-E72D297353CC}">
              <c16:uniqueId val="{00000030-B330-4DEB-B090-E8C2D460A362}"/>
            </c:ext>
          </c:extLst>
        </c:ser>
        <c:ser>
          <c:idx val="9"/>
          <c:order val="9"/>
          <c:spPr>
            <a:ln w="28575" cmpd="sng" algn="ctr">
              <a:solidFill>
                <a:schemeClr val="accent4"/>
              </a:solidFill>
              <a:prstDash val="solid"/>
            </a:ln>
          </c:spPr>
          <c:marker>
            <c:symbol val="circle"/>
            <c:size val="5"/>
            <c:spPr>
              <a:solidFill>
                <a:schemeClr val="accent4"/>
              </a:solidFill>
              <a:ln w="9525" cmpd="sng" algn="ctr">
                <a:solidFill>
                  <a:schemeClr val="accent4"/>
                </a:solidFill>
                <a:prstDash val="solid"/>
              </a:ln>
            </c:spPr>
          </c:marker>
          <c:dPt>
            <c:idx val="0"/>
            <c:marker>
              <c:symbol val="none"/>
            </c:marker>
            <c:bubble3D val="0"/>
            <c:extLst>
              <c:ext xmlns:c16="http://schemas.microsoft.com/office/drawing/2014/chart" uri="{C3380CC4-5D6E-409C-BE32-E72D297353CC}">
                <c16:uniqueId val="{00000031-B330-4DEB-B090-E8C2D460A362}"/>
              </c:ext>
            </c:extLst>
          </c:dPt>
          <c:dPt>
            <c:idx val="1"/>
            <c:marker>
              <c:symbol val="none"/>
            </c:marker>
            <c:bubble3D val="0"/>
            <c:extLst>
              <c:ext xmlns:c16="http://schemas.microsoft.com/office/drawing/2014/chart" uri="{C3380CC4-5D6E-409C-BE32-E72D297353CC}">
                <c16:uniqueId val="{00000032-B330-4DEB-B090-E8C2D460A362}"/>
              </c:ext>
            </c:extLst>
          </c:dPt>
          <c:dPt>
            <c:idx val="2"/>
            <c:marker>
              <c:symbol val="none"/>
            </c:marker>
            <c:bubble3D val="0"/>
            <c:extLst>
              <c:ext xmlns:c16="http://schemas.microsoft.com/office/drawing/2014/chart" uri="{C3380CC4-5D6E-409C-BE32-E72D297353CC}">
                <c16:uniqueId val="{00000033-B330-4DEB-B090-E8C2D460A362}"/>
              </c:ext>
            </c:extLst>
          </c:dPt>
          <c:dPt>
            <c:idx val="3"/>
            <c:marker>
              <c:symbol val="none"/>
            </c:marker>
            <c:bubble3D val="0"/>
            <c:extLst>
              <c:ext xmlns:c16="http://schemas.microsoft.com/office/drawing/2014/chart" uri="{C3380CC4-5D6E-409C-BE32-E72D297353CC}">
                <c16:uniqueId val="{00000034-B330-4DEB-B090-E8C2D460A362}"/>
              </c:ext>
            </c:extLst>
          </c:dPt>
          <c:dPt>
            <c:idx val="4"/>
            <c:marker>
              <c:symbol val="none"/>
            </c:marker>
            <c:bubble3D val="0"/>
            <c:extLst>
              <c:ext xmlns:c16="http://schemas.microsoft.com/office/drawing/2014/chart" uri="{C3380CC4-5D6E-409C-BE32-E72D297353CC}">
                <c16:uniqueId val="{00000035-B330-4DEB-B090-E8C2D460A362}"/>
              </c:ext>
            </c:extLst>
          </c:dPt>
          <c:dPt>
            <c:idx val="5"/>
            <c:marker>
              <c:symbol val="none"/>
            </c:marker>
            <c:bubble3D val="0"/>
            <c:extLst>
              <c:ext xmlns:c16="http://schemas.microsoft.com/office/drawing/2014/chart" uri="{C3380CC4-5D6E-409C-BE32-E72D297353CC}">
                <c16:uniqueId val="{00000036-B330-4DEB-B090-E8C2D460A362}"/>
              </c:ext>
            </c:extLst>
          </c:dPt>
          <c:dPt>
            <c:idx val="6"/>
            <c:marker>
              <c:symbol val="none"/>
            </c:marker>
            <c:bubble3D val="0"/>
            <c:extLst>
              <c:ext xmlns:c16="http://schemas.microsoft.com/office/drawing/2014/chart" uri="{C3380CC4-5D6E-409C-BE32-E72D297353CC}">
                <c16:uniqueId val="{00000037-B330-4DEB-B090-E8C2D460A362}"/>
              </c:ext>
            </c:extLst>
          </c:dPt>
          <c:dPt>
            <c:idx val="7"/>
            <c:marker>
              <c:symbol val="none"/>
            </c:marker>
            <c:bubble3D val="0"/>
            <c:extLst>
              <c:ext xmlns:c16="http://schemas.microsoft.com/office/drawing/2014/chart" uri="{C3380CC4-5D6E-409C-BE32-E72D297353CC}">
                <c16:uniqueId val="{00000038-B330-4DEB-B090-E8C2D460A362}"/>
              </c:ext>
            </c:extLst>
          </c:dPt>
          <c:val>
            <c:numRef>
              <c:f>Sheet1!$A$10:$H$10</c:f>
              <c:numCache>
                <c:formatCode>General</c:formatCode>
                <c:ptCount val="8"/>
              </c:numCache>
            </c:numRef>
          </c:val>
          <c:smooth val="0"/>
          <c:extLst>
            <c:ext xmlns:c16="http://schemas.microsoft.com/office/drawing/2014/chart" uri="{C3380CC4-5D6E-409C-BE32-E72D297353CC}">
              <c16:uniqueId val="{00000039-B330-4DEB-B090-E8C2D460A362}"/>
            </c:ext>
          </c:extLst>
        </c:ser>
        <c:ser>
          <c:idx val="10"/>
          <c:order val="10"/>
          <c:spPr>
            <a:ln w="28575" cmpd="sng" algn="ctr">
              <a:solidFill>
                <a:schemeClr val="accent5"/>
              </a:solidFill>
              <a:prstDash val="solid"/>
            </a:ln>
          </c:spPr>
          <c:marker>
            <c:symbol val="circle"/>
            <c:size val="5"/>
            <c:spPr>
              <a:solidFill>
                <a:schemeClr val="accent5"/>
              </a:solidFill>
              <a:ln w="9525" cmpd="sng" algn="ctr">
                <a:solidFill>
                  <a:schemeClr val="accent5"/>
                </a:solidFill>
                <a:prstDash val="solid"/>
              </a:ln>
            </c:spPr>
          </c:marker>
          <c:dPt>
            <c:idx val="0"/>
            <c:marker>
              <c:symbol val="none"/>
            </c:marker>
            <c:bubble3D val="0"/>
            <c:extLst>
              <c:ext xmlns:c16="http://schemas.microsoft.com/office/drawing/2014/chart" uri="{C3380CC4-5D6E-409C-BE32-E72D297353CC}">
                <c16:uniqueId val="{0000003A-B330-4DEB-B090-E8C2D460A362}"/>
              </c:ext>
            </c:extLst>
          </c:dPt>
          <c:dPt>
            <c:idx val="1"/>
            <c:marker>
              <c:symbol val="none"/>
            </c:marker>
            <c:bubble3D val="0"/>
            <c:extLst>
              <c:ext xmlns:c16="http://schemas.microsoft.com/office/drawing/2014/chart" uri="{C3380CC4-5D6E-409C-BE32-E72D297353CC}">
                <c16:uniqueId val="{0000003B-B330-4DEB-B090-E8C2D460A362}"/>
              </c:ext>
            </c:extLst>
          </c:dPt>
          <c:dPt>
            <c:idx val="2"/>
            <c:marker>
              <c:symbol val="none"/>
            </c:marker>
            <c:bubble3D val="0"/>
            <c:extLst>
              <c:ext xmlns:c16="http://schemas.microsoft.com/office/drawing/2014/chart" uri="{C3380CC4-5D6E-409C-BE32-E72D297353CC}">
                <c16:uniqueId val="{0000003C-B330-4DEB-B090-E8C2D460A362}"/>
              </c:ext>
            </c:extLst>
          </c:dPt>
          <c:dPt>
            <c:idx val="3"/>
            <c:marker>
              <c:symbol val="none"/>
            </c:marker>
            <c:bubble3D val="0"/>
            <c:extLst>
              <c:ext xmlns:c16="http://schemas.microsoft.com/office/drawing/2014/chart" uri="{C3380CC4-5D6E-409C-BE32-E72D297353CC}">
                <c16:uniqueId val="{0000003D-B330-4DEB-B090-E8C2D460A362}"/>
              </c:ext>
            </c:extLst>
          </c:dPt>
          <c:dPt>
            <c:idx val="4"/>
            <c:marker>
              <c:symbol val="none"/>
            </c:marker>
            <c:bubble3D val="0"/>
            <c:extLst>
              <c:ext xmlns:c16="http://schemas.microsoft.com/office/drawing/2014/chart" uri="{C3380CC4-5D6E-409C-BE32-E72D297353CC}">
                <c16:uniqueId val="{0000003E-B330-4DEB-B090-E8C2D460A362}"/>
              </c:ext>
            </c:extLst>
          </c:dPt>
          <c:dPt>
            <c:idx val="5"/>
            <c:marker>
              <c:symbol val="none"/>
            </c:marker>
            <c:bubble3D val="0"/>
            <c:extLst>
              <c:ext xmlns:c16="http://schemas.microsoft.com/office/drawing/2014/chart" uri="{C3380CC4-5D6E-409C-BE32-E72D297353CC}">
                <c16:uniqueId val="{0000003F-B330-4DEB-B090-E8C2D460A362}"/>
              </c:ext>
            </c:extLst>
          </c:dPt>
          <c:dPt>
            <c:idx val="6"/>
            <c:marker>
              <c:symbol val="none"/>
            </c:marker>
            <c:bubble3D val="0"/>
            <c:extLst>
              <c:ext xmlns:c16="http://schemas.microsoft.com/office/drawing/2014/chart" uri="{C3380CC4-5D6E-409C-BE32-E72D297353CC}">
                <c16:uniqueId val="{00000040-B330-4DEB-B090-E8C2D460A362}"/>
              </c:ext>
            </c:extLst>
          </c:dPt>
          <c:dPt>
            <c:idx val="7"/>
            <c:marker>
              <c:symbol val="none"/>
            </c:marker>
            <c:bubble3D val="0"/>
            <c:extLst>
              <c:ext xmlns:c16="http://schemas.microsoft.com/office/drawing/2014/chart" uri="{C3380CC4-5D6E-409C-BE32-E72D297353CC}">
                <c16:uniqueId val="{00000041-B330-4DEB-B090-E8C2D460A362}"/>
              </c:ext>
            </c:extLst>
          </c:dPt>
          <c:val>
            <c:numRef>
              <c:f>Sheet1!$A$11:$H$11</c:f>
              <c:numCache>
                <c:formatCode>General</c:formatCode>
                <c:ptCount val="8"/>
              </c:numCache>
            </c:numRef>
          </c:val>
          <c:smooth val="0"/>
          <c:extLst>
            <c:ext xmlns:c16="http://schemas.microsoft.com/office/drawing/2014/chart" uri="{C3380CC4-5D6E-409C-BE32-E72D297353CC}">
              <c16:uniqueId val="{00000042-B330-4DEB-B090-E8C2D460A362}"/>
            </c:ext>
          </c:extLst>
        </c:ser>
        <c:ser>
          <c:idx val="11"/>
          <c:order val="11"/>
          <c:spPr>
            <a:ln w="28575" cmpd="sng" algn="ctr">
              <a:solidFill>
                <a:schemeClr val="accent6"/>
              </a:solidFill>
              <a:prstDash val="solid"/>
            </a:ln>
          </c:spPr>
          <c:marker>
            <c:symbol val="circle"/>
            <c:size val="5"/>
            <c:spPr>
              <a:solidFill>
                <a:schemeClr val="accent6"/>
              </a:solidFill>
              <a:ln w="9525" cmpd="sng" algn="ctr">
                <a:solidFill>
                  <a:schemeClr val="accent6"/>
                </a:solidFill>
                <a:prstDash val="solid"/>
              </a:ln>
            </c:spPr>
          </c:marker>
          <c:dPt>
            <c:idx val="0"/>
            <c:marker>
              <c:symbol val="none"/>
            </c:marker>
            <c:bubble3D val="0"/>
            <c:extLst>
              <c:ext xmlns:c16="http://schemas.microsoft.com/office/drawing/2014/chart" uri="{C3380CC4-5D6E-409C-BE32-E72D297353CC}">
                <c16:uniqueId val="{00000043-B330-4DEB-B090-E8C2D460A362}"/>
              </c:ext>
            </c:extLst>
          </c:dPt>
          <c:dPt>
            <c:idx val="1"/>
            <c:marker>
              <c:symbol val="none"/>
            </c:marker>
            <c:bubble3D val="0"/>
            <c:extLst>
              <c:ext xmlns:c16="http://schemas.microsoft.com/office/drawing/2014/chart" uri="{C3380CC4-5D6E-409C-BE32-E72D297353CC}">
                <c16:uniqueId val="{00000044-B330-4DEB-B090-E8C2D460A362}"/>
              </c:ext>
            </c:extLst>
          </c:dPt>
          <c:dPt>
            <c:idx val="2"/>
            <c:marker>
              <c:symbol val="none"/>
            </c:marker>
            <c:bubble3D val="0"/>
            <c:extLst>
              <c:ext xmlns:c16="http://schemas.microsoft.com/office/drawing/2014/chart" uri="{C3380CC4-5D6E-409C-BE32-E72D297353CC}">
                <c16:uniqueId val="{00000045-B330-4DEB-B090-E8C2D460A362}"/>
              </c:ext>
            </c:extLst>
          </c:dPt>
          <c:dPt>
            <c:idx val="3"/>
            <c:marker>
              <c:symbol val="none"/>
            </c:marker>
            <c:bubble3D val="0"/>
            <c:extLst>
              <c:ext xmlns:c16="http://schemas.microsoft.com/office/drawing/2014/chart" uri="{C3380CC4-5D6E-409C-BE32-E72D297353CC}">
                <c16:uniqueId val="{00000046-B330-4DEB-B090-E8C2D460A362}"/>
              </c:ext>
            </c:extLst>
          </c:dPt>
          <c:dPt>
            <c:idx val="4"/>
            <c:marker>
              <c:symbol val="none"/>
            </c:marker>
            <c:bubble3D val="0"/>
            <c:extLst>
              <c:ext xmlns:c16="http://schemas.microsoft.com/office/drawing/2014/chart" uri="{C3380CC4-5D6E-409C-BE32-E72D297353CC}">
                <c16:uniqueId val="{00000047-B330-4DEB-B090-E8C2D460A362}"/>
              </c:ext>
            </c:extLst>
          </c:dPt>
          <c:dPt>
            <c:idx val="5"/>
            <c:marker>
              <c:symbol val="none"/>
            </c:marker>
            <c:bubble3D val="0"/>
            <c:extLst>
              <c:ext xmlns:c16="http://schemas.microsoft.com/office/drawing/2014/chart" uri="{C3380CC4-5D6E-409C-BE32-E72D297353CC}">
                <c16:uniqueId val="{00000048-B330-4DEB-B090-E8C2D460A362}"/>
              </c:ext>
            </c:extLst>
          </c:dPt>
          <c:dPt>
            <c:idx val="6"/>
            <c:marker>
              <c:symbol val="none"/>
            </c:marker>
            <c:bubble3D val="0"/>
            <c:extLst>
              <c:ext xmlns:c16="http://schemas.microsoft.com/office/drawing/2014/chart" uri="{C3380CC4-5D6E-409C-BE32-E72D297353CC}">
                <c16:uniqueId val="{00000049-B330-4DEB-B090-E8C2D460A362}"/>
              </c:ext>
            </c:extLst>
          </c:dPt>
          <c:dPt>
            <c:idx val="7"/>
            <c:marker>
              <c:symbol val="none"/>
            </c:marker>
            <c:bubble3D val="0"/>
            <c:extLst>
              <c:ext xmlns:c16="http://schemas.microsoft.com/office/drawing/2014/chart" uri="{C3380CC4-5D6E-409C-BE32-E72D297353CC}">
                <c16:uniqueId val="{0000004A-B330-4DEB-B090-E8C2D460A362}"/>
              </c:ext>
            </c:extLst>
          </c:dPt>
          <c:val>
            <c:numRef>
              <c:f>Sheet1!$A$12:$H$12</c:f>
              <c:numCache>
                <c:formatCode>General</c:formatCode>
                <c:ptCount val="8"/>
              </c:numCache>
            </c:numRef>
          </c:val>
          <c:smooth val="0"/>
          <c:extLst>
            <c:ext xmlns:c16="http://schemas.microsoft.com/office/drawing/2014/chart" uri="{C3380CC4-5D6E-409C-BE32-E72D297353CC}">
              <c16:uniqueId val="{0000004B-B330-4DEB-B090-E8C2D460A362}"/>
            </c:ext>
          </c:extLst>
        </c:ser>
        <c:dLbls>
          <c:showLegendKey val="0"/>
          <c:showVal val="0"/>
          <c:showCatName val="0"/>
          <c:showSerName val="0"/>
          <c:showPercent val="0"/>
          <c:showBubbleSize val="0"/>
        </c:dLbls>
        <c:marker val="1"/>
        <c:smooth val="0"/>
        <c:axId val="1428462336"/>
        <c:axId val="1"/>
      </c:lineChart>
      <c:catAx>
        <c:axId val="142846233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2"/>
          <c:min val="0"/>
        </c:scaling>
        <c:delete val="0"/>
        <c:axPos val="l"/>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1428462336"/>
        <c:crosses val="min"/>
        <c:crossBetween val="midCat"/>
      </c:valAx>
      <c:catAx>
        <c:axId val="2"/>
        <c:scaling>
          <c:orientation val="minMax"/>
        </c:scaling>
        <c:delete val="1"/>
        <c:axPos val="b"/>
        <c:majorGridlines>
          <c:spPr>
            <a:ln>
              <a:noFill/>
            </a:ln>
          </c:spPr>
        </c:majorGridlines>
        <c:majorTickMark val="none"/>
        <c:minorTickMark val="none"/>
        <c:tickLblPos val="none"/>
        <c:crossAx val="3"/>
        <c:crosses val="min"/>
        <c:auto val="0"/>
        <c:lblAlgn val="ctr"/>
        <c:lblOffset val="100"/>
        <c:noMultiLvlLbl val="0"/>
      </c:catAx>
      <c:valAx>
        <c:axId val="3"/>
        <c:scaling>
          <c:orientation val="minMax"/>
          <c:max val="0"/>
          <c:min val="-3"/>
        </c:scaling>
        <c:delete val="0"/>
        <c:axPos val="r"/>
        <c:majorGridlines>
          <c:spPr>
            <a:ln>
              <a:noFill/>
            </a:ln>
          </c:spPr>
        </c:majorGridlines>
        <c:majorTickMark val="none"/>
        <c:minorTickMark val="none"/>
        <c:tickLblPos val="none"/>
        <c:spPr>
          <a:ln w="9525" cmpd="sng" algn="ctr">
            <a:solidFill>
              <a:schemeClr val="bg1"/>
            </a:solidFill>
            <a:prstDash val="solid"/>
          </a:ln>
        </c:spPr>
        <c:crossAx val="2"/>
        <c:crosses val="max"/>
        <c:crossBetween val="midCat"/>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810276679841896E-2"/>
          <c:y val="4.9685094471658503E-2"/>
          <c:w val="0.96837944664031617"/>
          <c:h val="0.90062981105668305"/>
        </c:manualLayout>
      </c:layout>
      <c:barChart>
        <c:barDir val="col"/>
        <c:grouping val="stacked"/>
        <c:varyColors val="0"/>
        <c:ser>
          <c:idx val="0"/>
          <c:order val="0"/>
          <c:spPr>
            <a:solidFill>
              <a:srgbClr val="9DB1CF"/>
            </a:solidFill>
            <a:ln>
              <a:noFill/>
            </a:ln>
          </c:spPr>
          <c:invertIfNegative val="0"/>
          <c:dPt>
            <c:idx val="7"/>
            <c:invertIfNegative val="0"/>
            <c:bubble3D val="0"/>
            <c:spPr>
              <a:solidFill>
                <a:schemeClr val="accent2"/>
              </a:solidFill>
              <a:ln>
                <a:noFill/>
              </a:ln>
            </c:spPr>
            <c:extLst>
              <c:ext xmlns:c16="http://schemas.microsoft.com/office/drawing/2014/chart" uri="{C3380CC4-5D6E-409C-BE32-E72D297353CC}">
                <c16:uniqueId val="{00000000-01CA-4AE9-B21B-0280AD4D38DD}"/>
              </c:ext>
            </c:extLst>
          </c:dPt>
          <c:dLbls>
            <c:dLbl>
              <c:idx val="0"/>
              <c:layout>
                <c:manualLayout>
                  <c:x val="0"/>
                  <c:y val="-6.9979006298110562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1CA-4AE9-B21B-0280AD4D38DD}"/>
                </c:ext>
              </c:extLst>
            </c:dLbl>
            <c:dLbl>
              <c:idx val="1"/>
              <c:layout>
                <c:manualLayout>
                  <c:x val="0"/>
                  <c:y val="-6.9979006298110562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1CA-4AE9-B21B-0280AD4D38DD}"/>
                </c:ext>
              </c:extLst>
            </c:dLbl>
            <c:dLbl>
              <c:idx val="2"/>
              <c:layout>
                <c:manualLayout>
                  <c:x val="0"/>
                  <c:y val="-3.4989503149055281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1CA-4AE9-B21B-0280AD4D38DD}"/>
                </c:ext>
              </c:extLst>
            </c:dLbl>
            <c:dLbl>
              <c:idx val="3"/>
              <c:layout>
                <c:manualLayout>
                  <c:x val="0"/>
                  <c:y val="-6.9979006298110562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1CA-4AE9-B21B-0280AD4D38DD}"/>
                </c:ext>
              </c:extLst>
            </c:dLbl>
            <c:dLbl>
              <c:idx val="4"/>
              <c:layout>
                <c:manualLayout>
                  <c:x val="0"/>
                  <c:y val="-3.4989503149055281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1CA-4AE9-B21B-0280AD4D38DD}"/>
                </c:ext>
              </c:extLst>
            </c:dLbl>
            <c:dLbl>
              <c:idx val="5"/>
              <c:layout>
                <c:manualLayout>
                  <c:x val="0"/>
                  <c:y val="-3.4989503149055281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1CA-4AE9-B21B-0280AD4D38DD}"/>
                </c:ext>
              </c:extLst>
            </c:dLbl>
            <c:dLbl>
              <c:idx val="6"/>
              <c:layout>
                <c:manualLayout>
                  <c:x val="0"/>
                  <c:y val="-3.4989503149055281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1CA-4AE9-B21B-0280AD4D38DD}"/>
                </c:ext>
              </c:extLst>
            </c:dLbl>
            <c:dLbl>
              <c:idx val="7"/>
              <c:layout>
                <c:manualLayout>
                  <c:x val="0"/>
                  <c:y val="-3.4989503149055281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1CA-4AE9-B21B-0280AD4D38D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0">
                  <c:v>196</c:v>
                </c:pt>
                <c:pt idx="1">
                  <c:v>200</c:v>
                </c:pt>
                <c:pt idx="2">
                  <c:v>121</c:v>
                </c:pt>
                <c:pt idx="3">
                  <c:v>138</c:v>
                </c:pt>
                <c:pt idx="4">
                  <c:v>123</c:v>
                </c:pt>
                <c:pt idx="5">
                  <c:v>162</c:v>
                </c:pt>
                <c:pt idx="6">
                  <c:v>166</c:v>
                </c:pt>
                <c:pt idx="7">
                  <c:v>157</c:v>
                </c:pt>
              </c:numCache>
            </c:numRef>
          </c:val>
          <c:extLst>
            <c:ext xmlns:c16="http://schemas.microsoft.com/office/drawing/2014/chart" uri="{C3380CC4-5D6E-409C-BE32-E72D297353CC}">
              <c16:uniqueId val="{00000008-01CA-4AE9-B21B-0280AD4D38DD}"/>
            </c:ext>
          </c:extLst>
        </c:ser>
        <c:ser>
          <c:idx val="1"/>
          <c:order val="1"/>
          <c:spPr>
            <a:solidFill>
              <a:schemeClr val="accent2"/>
            </a:solidFill>
            <a:ln>
              <a:noFill/>
            </a:ln>
          </c:spPr>
          <c:invertIfNegative val="0"/>
          <c:dPt>
            <c:idx val="7"/>
            <c:invertIfNegative val="0"/>
            <c:bubble3D val="0"/>
            <c:spPr>
              <a:solidFill>
                <a:schemeClr val="accent3"/>
              </a:solidFill>
              <a:ln>
                <a:noFill/>
              </a:ln>
            </c:spPr>
            <c:extLst>
              <c:ext xmlns:c16="http://schemas.microsoft.com/office/drawing/2014/chart" uri="{C3380CC4-5D6E-409C-BE32-E72D297353CC}">
                <c16:uniqueId val="{00000009-01CA-4AE9-B21B-0280AD4D38DD}"/>
              </c:ext>
            </c:extLst>
          </c:dPt>
          <c:dLbls>
            <c:dLbl>
              <c:idx val="0"/>
              <c:layout>
                <c:manualLayout>
                  <c:x val="0"/>
                  <c:y val="-3.4989503149055281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01CA-4AE9-B21B-0280AD4D38DD}"/>
                </c:ext>
              </c:extLst>
            </c:dLbl>
            <c:dLbl>
              <c:idx val="1"/>
              <c:layout>
                <c:manualLayout>
                  <c:x val="0"/>
                  <c:y val="-3.4989503149055281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01CA-4AE9-B21B-0280AD4D38DD}"/>
                </c:ext>
              </c:extLst>
            </c:dLbl>
            <c:dLbl>
              <c:idx val="2"/>
              <c:layout>
                <c:manualLayout>
                  <c:x val="0"/>
                  <c:y val="-3.4989503149055281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01CA-4AE9-B21B-0280AD4D38DD}"/>
                </c:ext>
              </c:extLst>
            </c:dLbl>
            <c:dLbl>
              <c:idx val="3"/>
              <c:layout>
                <c:manualLayout>
                  <c:x val="0"/>
                  <c:y val="-6.9979006298110562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01CA-4AE9-B21B-0280AD4D38DD}"/>
                </c:ext>
              </c:extLst>
            </c:dLbl>
            <c:dLbl>
              <c:idx val="4"/>
              <c:layout>
                <c:manualLayout>
                  <c:x val="0"/>
                  <c:y val="-3.4989503149055281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01CA-4AE9-B21B-0280AD4D38DD}"/>
                </c:ext>
              </c:extLst>
            </c:dLbl>
            <c:dLbl>
              <c:idx val="5"/>
              <c:layout>
                <c:manualLayout>
                  <c:x val="0"/>
                  <c:y val="-3.4989503149055281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01CA-4AE9-B21B-0280AD4D38DD}"/>
                </c:ext>
              </c:extLst>
            </c:dLbl>
            <c:dLbl>
              <c:idx val="6"/>
              <c:layout>
                <c:manualLayout>
                  <c:x val="0"/>
                  <c:y val="-3.4989503149055281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01CA-4AE9-B21B-0280AD4D38DD}"/>
                </c:ext>
              </c:extLst>
            </c:dLbl>
            <c:dLbl>
              <c:idx val="7"/>
              <c:layout>
                <c:manualLayout>
                  <c:x val="0"/>
                  <c:y val="-3.4989503149055281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01CA-4AE9-B21B-0280AD4D38D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H$2</c:f>
              <c:numCache>
                <c:formatCode>General</c:formatCode>
                <c:ptCount val="8"/>
                <c:pt idx="0">
                  <c:v>194</c:v>
                </c:pt>
                <c:pt idx="1">
                  <c:v>184</c:v>
                </c:pt>
                <c:pt idx="2">
                  <c:v>247</c:v>
                </c:pt>
                <c:pt idx="3">
                  <c:v>196</c:v>
                </c:pt>
                <c:pt idx="4">
                  <c:v>239</c:v>
                </c:pt>
                <c:pt idx="5">
                  <c:v>149</c:v>
                </c:pt>
                <c:pt idx="6">
                  <c:v>154</c:v>
                </c:pt>
                <c:pt idx="7">
                  <c:v>209</c:v>
                </c:pt>
              </c:numCache>
            </c:numRef>
          </c:val>
          <c:extLst>
            <c:ext xmlns:c16="http://schemas.microsoft.com/office/drawing/2014/chart" uri="{C3380CC4-5D6E-409C-BE32-E72D297353CC}">
              <c16:uniqueId val="{00000011-01CA-4AE9-B21B-0280AD4D38DD}"/>
            </c:ext>
          </c:extLst>
        </c:ser>
        <c:ser>
          <c:idx val="2"/>
          <c:order val="2"/>
          <c:spPr>
            <a:solidFill>
              <a:schemeClr val="accent3"/>
            </a:solidFill>
            <a:ln>
              <a:noFill/>
            </a:ln>
          </c:spPr>
          <c:invertIfNegative val="0"/>
          <c:dPt>
            <c:idx val="7"/>
            <c:invertIfNegative val="0"/>
            <c:bubble3D val="0"/>
            <c:spPr>
              <a:solidFill>
                <a:srgbClr val="009B7A"/>
              </a:solidFill>
              <a:ln>
                <a:noFill/>
              </a:ln>
            </c:spPr>
            <c:extLst>
              <c:ext xmlns:c16="http://schemas.microsoft.com/office/drawing/2014/chart" uri="{C3380CC4-5D6E-409C-BE32-E72D297353CC}">
                <c16:uniqueId val="{00000012-01CA-4AE9-B21B-0280AD4D38DD}"/>
              </c:ext>
            </c:extLst>
          </c:dPt>
          <c:dLbls>
            <c:dLbl>
              <c:idx val="0"/>
              <c:layout>
                <c:manualLayout>
                  <c:x val="0"/>
                  <c:y val="-3.4989503149055281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01CA-4AE9-B21B-0280AD4D38DD}"/>
                </c:ext>
              </c:extLst>
            </c:dLbl>
            <c:dLbl>
              <c:idx val="1"/>
              <c:layout>
                <c:manualLayout>
                  <c:x val="0"/>
                  <c:y val="-3.4989503149055281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01CA-4AE9-B21B-0280AD4D38DD}"/>
                </c:ext>
              </c:extLst>
            </c:dLbl>
            <c:dLbl>
              <c:idx val="2"/>
              <c:layout>
                <c:manualLayout>
                  <c:x val="0"/>
                  <c:y val="-3.4989503149055281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01CA-4AE9-B21B-0280AD4D38DD}"/>
                </c:ext>
              </c:extLst>
            </c:dLbl>
            <c:dLbl>
              <c:idx val="3"/>
              <c:layout>
                <c:manualLayout>
                  <c:x val="0"/>
                  <c:y val="-3.4989503149055281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01CA-4AE9-B21B-0280AD4D38DD}"/>
                </c:ext>
              </c:extLst>
            </c:dLbl>
            <c:dLbl>
              <c:idx val="4"/>
              <c:layout>
                <c:manualLayout>
                  <c:x val="0"/>
                  <c:y val="-3.4989503149055281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01CA-4AE9-B21B-0280AD4D38DD}"/>
                </c:ext>
              </c:extLst>
            </c:dLbl>
            <c:dLbl>
              <c:idx val="5"/>
              <c:layout>
                <c:manualLayout>
                  <c:x val="0"/>
                  <c:y val="-3.4989503149055281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01CA-4AE9-B21B-0280AD4D38DD}"/>
                </c:ext>
              </c:extLst>
            </c:dLbl>
            <c:dLbl>
              <c:idx val="6"/>
              <c:layout>
                <c:manualLayout>
                  <c:x val="0"/>
                  <c:y val="-3.4989503149055281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01CA-4AE9-B21B-0280AD4D38DD}"/>
                </c:ext>
              </c:extLst>
            </c:dLbl>
            <c:dLbl>
              <c:idx val="7"/>
              <c:layout>
                <c:manualLayout>
                  <c:x val="0"/>
                  <c:y val="-3.4989503149055281E-4"/>
                </c:manualLayout>
              </c:layout>
              <c:numFmt formatCode="#,##0;&quot;-&quot;#,##0" sourceLinked="0"/>
              <c:spPr>
                <a:noFill/>
                <a:ln>
                  <a:noFill/>
                </a:ln>
              </c:spPr>
              <c:txPr>
                <a:bodyPr wrap="none"/>
                <a:lstStyle/>
                <a:p>
                  <a:pPr>
                    <a:defRPr sz="1000" kern="1200">
                      <a:solidFill>
                        <a:schemeClr val="bg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01CA-4AE9-B21B-0280AD4D38D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H$3</c:f>
              <c:numCache>
                <c:formatCode>General</c:formatCode>
                <c:ptCount val="8"/>
                <c:pt idx="0">
                  <c:v>208</c:v>
                </c:pt>
                <c:pt idx="1">
                  <c:v>208</c:v>
                </c:pt>
                <c:pt idx="2">
                  <c:v>225</c:v>
                </c:pt>
                <c:pt idx="3">
                  <c:v>196</c:v>
                </c:pt>
                <c:pt idx="4">
                  <c:v>197</c:v>
                </c:pt>
                <c:pt idx="5">
                  <c:v>207</c:v>
                </c:pt>
                <c:pt idx="6">
                  <c:v>201</c:v>
                </c:pt>
                <c:pt idx="7">
                  <c:v>211</c:v>
                </c:pt>
              </c:numCache>
            </c:numRef>
          </c:val>
          <c:extLst>
            <c:ext xmlns:c16="http://schemas.microsoft.com/office/drawing/2014/chart" uri="{C3380CC4-5D6E-409C-BE32-E72D297353CC}">
              <c16:uniqueId val="{0000001A-01CA-4AE9-B21B-0280AD4D38DD}"/>
            </c:ext>
          </c:extLst>
        </c:ser>
        <c:ser>
          <c:idx val="3"/>
          <c:order val="3"/>
          <c:spPr>
            <a:solidFill>
              <a:srgbClr val="009B7A"/>
            </a:solidFill>
            <a:ln>
              <a:noFill/>
            </a:ln>
          </c:spPr>
          <c:invertIfNegative val="0"/>
          <c:dPt>
            <c:idx val="7"/>
            <c:invertIfNegative val="0"/>
            <c:bubble3D val="0"/>
            <c:spPr>
              <a:solidFill>
                <a:schemeClr val="accent1"/>
              </a:solidFill>
              <a:ln>
                <a:noFill/>
              </a:ln>
            </c:spPr>
            <c:extLst>
              <c:ext xmlns:c16="http://schemas.microsoft.com/office/drawing/2014/chart" uri="{C3380CC4-5D6E-409C-BE32-E72D297353CC}">
                <c16:uniqueId val="{0000001B-01CA-4AE9-B21B-0280AD4D38DD}"/>
              </c:ext>
            </c:extLst>
          </c:dPt>
          <c:dLbls>
            <c:dLbl>
              <c:idx val="0"/>
              <c:layout>
                <c:manualLayout>
                  <c:x val="0"/>
                  <c:y val="-3.4989503149055281E-4"/>
                </c:manualLayout>
              </c:layout>
              <c:numFmt formatCode="#,##0;&quot;-&quot;#,##0" sourceLinked="0"/>
              <c:spPr>
                <a:noFill/>
                <a:ln>
                  <a:noFill/>
                </a:ln>
              </c:spPr>
              <c:txPr>
                <a:bodyPr wrap="none"/>
                <a:lstStyle/>
                <a:p>
                  <a:pPr>
                    <a:defRPr sz="1000" kern="1200">
                      <a:solidFill>
                        <a:schemeClr val="bg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01CA-4AE9-B21B-0280AD4D38DD}"/>
                </c:ext>
              </c:extLst>
            </c:dLbl>
            <c:dLbl>
              <c:idx val="1"/>
              <c:layout>
                <c:manualLayout>
                  <c:x val="0"/>
                  <c:y val="-3.4989503149055281E-4"/>
                </c:manualLayout>
              </c:layout>
              <c:numFmt formatCode="#,##0;&quot;-&quot;#,##0" sourceLinked="0"/>
              <c:spPr>
                <a:noFill/>
                <a:ln>
                  <a:noFill/>
                </a:ln>
              </c:spPr>
              <c:txPr>
                <a:bodyPr wrap="none"/>
                <a:lstStyle/>
                <a:p>
                  <a:pPr>
                    <a:defRPr sz="1000" kern="1200">
                      <a:solidFill>
                        <a:schemeClr val="bg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01CA-4AE9-B21B-0280AD4D38DD}"/>
                </c:ext>
              </c:extLst>
            </c:dLbl>
            <c:dLbl>
              <c:idx val="2"/>
              <c:layout>
                <c:manualLayout>
                  <c:x val="0"/>
                  <c:y val="-3.4989503149055281E-4"/>
                </c:manualLayout>
              </c:layout>
              <c:numFmt formatCode="#,##0;&quot;-&quot;#,##0" sourceLinked="0"/>
              <c:spPr>
                <a:noFill/>
                <a:ln>
                  <a:noFill/>
                </a:ln>
              </c:spPr>
              <c:txPr>
                <a:bodyPr wrap="none"/>
                <a:lstStyle/>
                <a:p>
                  <a:pPr>
                    <a:defRPr sz="1000" kern="1200">
                      <a:solidFill>
                        <a:schemeClr val="bg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01CA-4AE9-B21B-0280AD4D38DD}"/>
                </c:ext>
              </c:extLst>
            </c:dLbl>
            <c:dLbl>
              <c:idx val="3"/>
              <c:layout>
                <c:manualLayout>
                  <c:x val="0"/>
                  <c:y val="-3.4989503149055281E-4"/>
                </c:manualLayout>
              </c:layout>
              <c:numFmt formatCode="#,##0;&quot;-&quot;#,##0" sourceLinked="0"/>
              <c:spPr>
                <a:noFill/>
                <a:ln>
                  <a:noFill/>
                </a:ln>
              </c:spPr>
              <c:txPr>
                <a:bodyPr wrap="none"/>
                <a:lstStyle/>
                <a:p>
                  <a:pPr>
                    <a:defRPr sz="1000" kern="1200">
                      <a:solidFill>
                        <a:schemeClr val="bg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01CA-4AE9-B21B-0280AD4D38DD}"/>
                </c:ext>
              </c:extLst>
            </c:dLbl>
            <c:dLbl>
              <c:idx val="4"/>
              <c:layout>
                <c:manualLayout>
                  <c:x val="0"/>
                  <c:y val="-3.4989503149055281E-4"/>
                </c:manualLayout>
              </c:layout>
              <c:numFmt formatCode="#,##0;&quot;-&quot;#,##0" sourceLinked="0"/>
              <c:spPr>
                <a:noFill/>
                <a:ln>
                  <a:noFill/>
                </a:ln>
              </c:spPr>
              <c:txPr>
                <a:bodyPr wrap="none"/>
                <a:lstStyle/>
                <a:p>
                  <a:pPr>
                    <a:defRPr sz="1000" kern="1200">
                      <a:solidFill>
                        <a:schemeClr val="bg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01CA-4AE9-B21B-0280AD4D38DD}"/>
                </c:ext>
              </c:extLst>
            </c:dLbl>
            <c:dLbl>
              <c:idx val="5"/>
              <c:layout>
                <c:manualLayout>
                  <c:x val="0"/>
                  <c:y val="-3.4989503149055281E-4"/>
                </c:manualLayout>
              </c:layout>
              <c:numFmt formatCode="#,##0;&quot;-&quot;#,##0" sourceLinked="0"/>
              <c:spPr>
                <a:noFill/>
                <a:ln>
                  <a:noFill/>
                </a:ln>
              </c:spPr>
              <c:txPr>
                <a:bodyPr wrap="none"/>
                <a:lstStyle/>
                <a:p>
                  <a:pPr>
                    <a:defRPr sz="1000" kern="1200">
                      <a:solidFill>
                        <a:schemeClr val="bg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01CA-4AE9-B21B-0280AD4D38DD}"/>
                </c:ext>
              </c:extLst>
            </c:dLbl>
            <c:dLbl>
              <c:idx val="6"/>
              <c:layout>
                <c:manualLayout>
                  <c:x val="0"/>
                  <c:y val="-3.4989503149055281E-4"/>
                </c:manualLayout>
              </c:layout>
              <c:numFmt formatCode="#,##0;&quot;-&quot;#,##0" sourceLinked="0"/>
              <c:spPr>
                <a:noFill/>
                <a:ln>
                  <a:noFill/>
                </a:ln>
              </c:spPr>
              <c:txPr>
                <a:bodyPr wrap="none"/>
                <a:lstStyle/>
                <a:p>
                  <a:pPr>
                    <a:defRPr sz="1000" kern="1200">
                      <a:solidFill>
                        <a:schemeClr val="bg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01CA-4AE9-B21B-0280AD4D38DD}"/>
                </c:ext>
              </c:extLst>
            </c:dLbl>
            <c:dLbl>
              <c:idx val="7"/>
              <c:layout>
                <c:manualLayout>
                  <c:x val="0"/>
                  <c:y val="-6.9979006298110562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01CA-4AE9-B21B-0280AD4D38D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H$4</c:f>
              <c:numCache>
                <c:formatCode>General</c:formatCode>
                <c:ptCount val="8"/>
                <c:pt idx="0">
                  <c:v>281</c:v>
                </c:pt>
                <c:pt idx="1">
                  <c:v>270</c:v>
                </c:pt>
                <c:pt idx="2">
                  <c:v>264</c:v>
                </c:pt>
                <c:pt idx="3">
                  <c:v>228</c:v>
                </c:pt>
                <c:pt idx="4">
                  <c:v>244</c:v>
                </c:pt>
                <c:pt idx="5">
                  <c:v>218</c:v>
                </c:pt>
                <c:pt idx="6">
                  <c:v>211</c:v>
                </c:pt>
                <c:pt idx="7">
                  <c:v>245</c:v>
                </c:pt>
              </c:numCache>
            </c:numRef>
          </c:val>
          <c:extLst>
            <c:ext xmlns:c16="http://schemas.microsoft.com/office/drawing/2014/chart" uri="{C3380CC4-5D6E-409C-BE32-E72D297353CC}">
              <c16:uniqueId val="{00000023-01CA-4AE9-B21B-0280AD4D38DD}"/>
            </c:ext>
          </c:extLst>
        </c:ser>
        <c:ser>
          <c:idx val="4"/>
          <c:order val="4"/>
          <c:spPr>
            <a:solidFill>
              <a:schemeClr val="accent1"/>
            </a:solidFill>
            <a:ln>
              <a:noFill/>
            </a:ln>
          </c:spPr>
          <c:invertIfNegative val="0"/>
          <c:dLbls>
            <c:dLbl>
              <c:idx val="0"/>
              <c:layout>
                <c:manualLayout>
                  <c:x val="0"/>
                  <c:y val="-3.4989503149055281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01CA-4AE9-B21B-0280AD4D38DD}"/>
                </c:ext>
              </c:extLst>
            </c:dLbl>
            <c:dLbl>
              <c:idx val="1"/>
              <c:layout>
                <c:manualLayout>
                  <c:x val="0"/>
                  <c:y val="-3.4989503149055281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01CA-4AE9-B21B-0280AD4D38DD}"/>
                </c:ext>
              </c:extLst>
            </c:dLbl>
            <c:dLbl>
              <c:idx val="2"/>
              <c:layout>
                <c:manualLayout>
                  <c:x val="0"/>
                  <c:y val="-3.4989503149055281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01CA-4AE9-B21B-0280AD4D38DD}"/>
                </c:ext>
              </c:extLst>
            </c:dLbl>
            <c:dLbl>
              <c:idx val="3"/>
              <c:layout>
                <c:manualLayout>
                  <c:x val="0"/>
                  <c:y val="-3.4989503149055281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01CA-4AE9-B21B-0280AD4D38DD}"/>
                </c:ext>
              </c:extLst>
            </c:dLbl>
            <c:dLbl>
              <c:idx val="4"/>
              <c:layout>
                <c:manualLayout>
                  <c:x val="0"/>
                  <c:y val="-6.9979006298110562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01CA-4AE9-B21B-0280AD4D38DD}"/>
                </c:ext>
              </c:extLst>
            </c:dLbl>
            <c:dLbl>
              <c:idx val="5"/>
              <c:layout>
                <c:manualLayout>
                  <c:x val="0"/>
                  <c:y val="-3.4989503149055281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01CA-4AE9-B21B-0280AD4D38DD}"/>
                </c:ext>
              </c:extLst>
            </c:dLbl>
            <c:dLbl>
              <c:idx val="6"/>
              <c:layout>
                <c:manualLayout>
                  <c:x val="0"/>
                  <c:y val="-3.4989503149055281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01CA-4AE9-B21B-0280AD4D38D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H$5</c:f>
              <c:numCache>
                <c:formatCode>General</c:formatCode>
                <c:ptCount val="8"/>
                <c:pt idx="0">
                  <c:v>272</c:v>
                </c:pt>
                <c:pt idx="1">
                  <c:v>256</c:v>
                </c:pt>
                <c:pt idx="2">
                  <c:v>251</c:v>
                </c:pt>
                <c:pt idx="3">
                  <c:v>250</c:v>
                </c:pt>
                <c:pt idx="4">
                  <c:v>257</c:v>
                </c:pt>
                <c:pt idx="5">
                  <c:v>248</c:v>
                </c:pt>
                <c:pt idx="6">
                  <c:v>242</c:v>
                </c:pt>
              </c:numCache>
            </c:numRef>
          </c:val>
          <c:extLst>
            <c:ext xmlns:c16="http://schemas.microsoft.com/office/drawing/2014/chart" uri="{C3380CC4-5D6E-409C-BE32-E72D297353CC}">
              <c16:uniqueId val="{0000002B-01CA-4AE9-B21B-0280AD4D38DD}"/>
            </c:ext>
          </c:extLst>
        </c:ser>
        <c:dLbls>
          <c:showLegendKey val="0"/>
          <c:showVal val="0"/>
          <c:showCatName val="0"/>
          <c:showSerName val="0"/>
          <c:showPercent val="0"/>
          <c:showBubbleSize val="0"/>
        </c:dLbls>
        <c:gapWidth val="80"/>
        <c:overlap val="100"/>
        <c:axId val="1355985120"/>
        <c:axId val="1"/>
      </c:barChart>
      <c:barChart>
        <c:barDir val="col"/>
        <c:grouping val="clustered"/>
        <c:varyColors val="0"/>
        <c:ser>
          <c:idx val="5"/>
          <c:order val="5"/>
          <c:invertIfNegative val="0"/>
          <c:extLst>
            <c:ext xmlns:c16="http://schemas.microsoft.com/office/drawing/2014/chart" uri="{C3380CC4-5D6E-409C-BE32-E72D297353CC}">
              <c16:uniqueId val="{0000002C-01CA-4AE9-B21B-0280AD4D38DD}"/>
            </c:ext>
          </c:extLst>
        </c:ser>
        <c:dLbls>
          <c:showLegendKey val="0"/>
          <c:showVal val="0"/>
          <c:showCatName val="0"/>
          <c:showSerName val="0"/>
          <c:showPercent val="0"/>
          <c:showBubbleSize val="0"/>
        </c:dLbls>
        <c:gapWidth val="150"/>
        <c:axId val="2"/>
        <c:axId val="3"/>
      </c:barChart>
      <c:catAx>
        <c:axId val="135598512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700"/>
          <c:min val="0"/>
        </c:scaling>
        <c:delete val="0"/>
        <c:axPos val="l"/>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1355985120"/>
        <c:crosses val="min"/>
        <c:crossBetween val="between"/>
      </c:valAx>
      <c:catAx>
        <c:axId val="2"/>
        <c:scaling>
          <c:orientation val="minMax"/>
        </c:scaling>
        <c:delete val="1"/>
        <c:axPos val="b"/>
        <c:majorGridlines>
          <c:spPr>
            <a:ln>
              <a:noFill/>
            </a:ln>
          </c:spPr>
        </c:majorGridlines>
        <c:majorTickMark val="none"/>
        <c:minorTickMark val="none"/>
        <c:tickLblPos val="none"/>
        <c:crossAx val="3"/>
        <c:crosses val="min"/>
        <c:auto val="0"/>
        <c:lblAlgn val="ctr"/>
        <c:lblOffset val="100"/>
        <c:noMultiLvlLbl val="0"/>
      </c:catAx>
      <c:valAx>
        <c:axId val="3"/>
        <c:scaling>
          <c:orientation val="minMax"/>
          <c:max val="0"/>
          <c:min val="-11"/>
        </c:scaling>
        <c:delete val="0"/>
        <c:axPos val="r"/>
        <c:majorGridlines>
          <c:spPr>
            <a:ln>
              <a:noFill/>
            </a:ln>
          </c:spPr>
        </c:majorGridlines>
        <c:majorTickMark val="none"/>
        <c:minorTickMark val="none"/>
        <c:tickLblPos val="none"/>
        <c:spPr>
          <a:ln w="9525" cmpd="sng" algn="ctr">
            <a:solidFill>
              <a:schemeClr val="bg1"/>
            </a:solidFill>
            <a:prstDash val="solid"/>
          </a:ln>
        </c:spPr>
        <c:crossAx val="2"/>
        <c:crosses val="max"/>
        <c:crossBetween val="between"/>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321154979375369E-2"/>
          <c:y val="2.1018593371059015E-2"/>
          <c:w val="0.96935769004124928"/>
          <c:h val="0.95796281325788202"/>
        </c:manualLayout>
      </c:layout>
      <c:barChart>
        <c:barDir val="col"/>
        <c:grouping val="clustered"/>
        <c:varyColors val="0"/>
        <c:ser>
          <c:idx val="12"/>
          <c:order val="12"/>
          <c:invertIfNegative val="0"/>
          <c:extLst>
            <c:ext xmlns:c16="http://schemas.microsoft.com/office/drawing/2014/chart" uri="{C3380CC4-5D6E-409C-BE32-E72D297353CC}">
              <c16:uniqueId val="{0000004C-F409-41D3-A8A9-12FBDE7803AA}"/>
            </c:ext>
          </c:extLst>
        </c:ser>
        <c:dLbls>
          <c:showLegendKey val="0"/>
          <c:showVal val="0"/>
          <c:showCatName val="0"/>
          <c:showSerName val="0"/>
          <c:showPercent val="0"/>
          <c:showBubbleSize val="0"/>
        </c:dLbls>
        <c:gapWidth val="150"/>
        <c:axId val="2"/>
        <c:axId val="3"/>
      </c:barChart>
      <c:lineChart>
        <c:grouping val="standard"/>
        <c:varyColors val="0"/>
        <c:ser>
          <c:idx val="0"/>
          <c:order val="0"/>
          <c:spPr>
            <a:ln w="19050" cmpd="sng" algn="ctr">
              <a:solidFill>
                <a:schemeClr val="accent1"/>
              </a:solidFill>
              <a:prstDash val="solid"/>
            </a:ln>
          </c:spPr>
          <c:marker>
            <c:symbol val="circle"/>
            <c:size val="5"/>
            <c:spPr>
              <a:solidFill>
                <a:schemeClr val="accent1"/>
              </a:solidFill>
              <a:ln w="9525" cmpd="sng" algn="ctr">
                <a:solidFill>
                  <a:schemeClr val="accent1"/>
                </a:solidFill>
                <a:prstDash val="solid"/>
              </a:ln>
            </c:spPr>
          </c:marker>
          <c:dPt>
            <c:idx val="0"/>
            <c:marker>
              <c:symbol val="none"/>
            </c:marker>
            <c:bubble3D val="0"/>
            <c:extLst>
              <c:ext xmlns:c16="http://schemas.microsoft.com/office/drawing/2014/chart" uri="{C3380CC4-5D6E-409C-BE32-E72D297353CC}">
                <c16:uniqueId val="{00000000-F409-41D3-A8A9-12FBDE7803AA}"/>
              </c:ext>
            </c:extLst>
          </c:dPt>
          <c:dPt>
            <c:idx val="1"/>
            <c:marker>
              <c:symbol val="none"/>
            </c:marker>
            <c:bubble3D val="0"/>
            <c:extLst>
              <c:ext xmlns:c16="http://schemas.microsoft.com/office/drawing/2014/chart" uri="{C3380CC4-5D6E-409C-BE32-E72D297353CC}">
                <c16:uniqueId val="{00000001-F409-41D3-A8A9-12FBDE7803AA}"/>
              </c:ext>
            </c:extLst>
          </c:dPt>
          <c:dPt>
            <c:idx val="2"/>
            <c:marker>
              <c:symbol val="none"/>
            </c:marker>
            <c:bubble3D val="0"/>
            <c:extLst>
              <c:ext xmlns:c16="http://schemas.microsoft.com/office/drawing/2014/chart" uri="{C3380CC4-5D6E-409C-BE32-E72D297353CC}">
                <c16:uniqueId val="{00000002-F409-41D3-A8A9-12FBDE7803AA}"/>
              </c:ext>
            </c:extLst>
          </c:dPt>
          <c:dPt>
            <c:idx val="3"/>
            <c:marker>
              <c:symbol val="none"/>
            </c:marker>
            <c:bubble3D val="0"/>
            <c:extLst>
              <c:ext xmlns:c16="http://schemas.microsoft.com/office/drawing/2014/chart" uri="{C3380CC4-5D6E-409C-BE32-E72D297353CC}">
                <c16:uniqueId val="{00000003-F409-41D3-A8A9-12FBDE7803AA}"/>
              </c:ext>
            </c:extLst>
          </c:dPt>
          <c:val>
            <c:numRef>
              <c:f>Sheet1!$A$1:$H$1</c:f>
              <c:numCache>
                <c:formatCode>General</c:formatCode>
                <c:ptCount val="8"/>
                <c:pt idx="4">
                  <c:v>45.1</c:v>
                </c:pt>
                <c:pt idx="5">
                  <c:v>51.300000000000004</c:v>
                </c:pt>
                <c:pt idx="6">
                  <c:v>48.6</c:v>
                </c:pt>
                <c:pt idx="7">
                  <c:v>49.3</c:v>
                </c:pt>
              </c:numCache>
            </c:numRef>
          </c:val>
          <c:smooth val="0"/>
          <c:extLst>
            <c:ext xmlns:c16="http://schemas.microsoft.com/office/drawing/2014/chart" uri="{C3380CC4-5D6E-409C-BE32-E72D297353CC}">
              <c16:uniqueId val="{00000004-F409-41D3-A8A9-12FBDE7803AA}"/>
            </c:ext>
          </c:extLst>
        </c:ser>
        <c:ser>
          <c:idx val="1"/>
          <c:order val="1"/>
          <c:spPr>
            <a:ln w="19050" cmpd="sng" algn="ctr">
              <a:solidFill>
                <a:srgbClr val="007770"/>
              </a:solidFill>
              <a:prstDash val="solid"/>
            </a:ln>
          </c:spPr>
          <c:marker>
            <c:symbol val="circle"/>
            <c:size val="5"/>
            <c:spPr>
              <a:solidFill>
                <a:srgbClr val="007770"/>
              </a:solidFill>
              <a:ln w="9525" cmpd="sng" algn="ctr">
                <a:solidFill>
                  <a:srgbClr val="007770"/>
                </a:solidFill>
                <a:prstDash val="solid"/>
              </a:ln>
            </c:spPr>
          </c:marker>
          <c:dPt>
            <c:idx val="0"/>
            <c:marker>
              <c:symbol val="none"/>
            </c:marker>
            <c:bubble3D val="0"/>
            <c:extLst>
              <c:ext xmlns:c16="http://schemas.microsoft.com/office/drawing/2014/chart" uri="{C3380CC4-5D6E-409C-BE32-E72D297353CC}">
                <c16:uniqueId val="{00000005-F409-41D3-A8A9-12FBDE7803AA}"/>
              </c:ext>
            </c:extLst>
          </c:dPt>
          <c:dPt>
            <c:idx val="1"/>
            <c:marker>
              <c:symbol val="none"/>
            </c:marker>
            <c:bubble3D val="0"/>
            <c:extLst>
              <c:ext xmlns:c16="http://schemas.microsoft.com/office/drawing/2014/chart" uri="{C3380CC4-5D6E-409C-BE32-E72D297353CC}">
                <c16:uniqueId val="{00000006-F409-41D3-A8A9-12FBDE7803AA}"/>
              </c:ext>
            </c:extLst>
          </c:dPt>
          <c:dPt>
            <c:idx val="2"/>
            <c:marker>
              <c:symbol val="none"/>
            </c:marker>
            <c:bubble3D val="0"/>
            <c:extLst>
              <c:ext xmlns:c16="http://schemas.microsoft.com/office/drawing/2014/chart" uri="{C3380CC4-5D6E-409C-BE32-E72D297353CC}">
                <c16:uniqueId val="{00000007-F409-41D3-A8A9-12FBDE7803AA}"/>
              </c:ext>
            </c:extLst>
          </c:dPt>
          <c:dPt>
            <c:idx val="3"/>
            <c:marker>
              <c:symbol val="none"/>
            </c:marker>
            <c:bubble3D val="0"/>
            <c:extLst>
              <c:ext xmlns:c16="http://schemas.microsoft.com/office/drawing/2014/chart" uri="{C3380CC4-5D6E-409C-BE32-E72D297353CC}">
                <c16:uniqueId val="{00000008-F409-41D3-A8A9-12FBDE7803AA}"/>
              </c:ext>
            </c:extLst>
          </c:dPt>
          <c:val>
            <c:numRef>
              <c:f>Sheet1!$A$2:$H$2</c:f>
              <c:numCache>
                <c:formatCode>General</c:formatCode>
                <c:ptCount val="8"/>
                <c:pt idx="4">
                  <c:v>16.400000000000002</c:v>
                </c:pt>
                <c:pt idx="5">
                  <c:v>17.599999999999998</c:v>
                </c:pt>
                <c:pt idx="6">
                  <c:v>17.5</c:v>
                </c:pt>
                <c:pt idx="7">
                  <c:v>16.8</c:v>
                </c:pt>
              </c:numCache>
            </c:numRef>
          </c:val>
          <c:smooth val="0"/>
          <c:extLst>
            <c:ext xmlns:c16="http://schemas.microsoft.com/office/drawing/2014/chart" uri="{C3380CC4-5D6E-409C-BE32-E72D297353CC}">
              <c16:uniqueId val="{00000009-F409-41D3-A8A9-12FBDE7803AA}"/>
            </c:ext>
          </c:extLst>
        </c:ser>
        <c:ser>
          <c:idx val="2"/>
          <c:order val="2"/>
          <c:spPr>
            <a:ln w="19050" cmpd="sng" algn="ctr">
              <a:solidFill>
                <a:schemeClr val="accent2"/>
              </a:solidFill>
              <a:prstDash val="solid"/>
            </a:ln>
          </c:spPr>
          <c:marker>
            <c:symbol val="circle"/>
            <c:size val="5"/>
            <c:spPr>
              <a:solidFill>
                <a:schemeClr val="accent2"/>
              </a:solidFill>
              <a:ln w="9525" cmpd="sng" algn="ctr">
                <a:solidFill>
                  <a:schemeClr val="accent2"/>
                </a:solidFill>
                <a:prstDash val="solid"/>
              </a:ln>
            </c:spPr>
          </c:marker>
          <c:dPt>
            <c:idx val="0"/>
            <c:marker>
              <c:symbol val="none"/>
            </c:marker>
            <c:bubble3D val="0"/>
            <c:extLst>
              <c:ext xmlns:c16="http://schemas.microsoft.com/office/drawing/2014/chart" uri="{C3380CC4-5D6E-409C-BE32-E72D297353CC}">
                <c16:uniqueId val="{0000000A-F409-41D3-A8A9-12FBDE7803AA}"/>
              </c:ext>
            </c:extLst>
          </c:dPt>
          <c:dPt>
            <c:idx val="1"/>
            <c:marker>
              <c:symbol val="none"/>
            </c:marker>
            <c:bubble3D val="0"/>
            <c:extLst>
              <c:ext xmlns:c16="http://schemas.microsoft.com/office/drawing/2014/chart" uri="{C3380CC4-5D6E-409C-BE32-E72D297353CC}">
                <c16:uniqueId val="{0000000B-F409-41D3-A8A9-12FBDE7803AA}"/>
              </c:ext>
            </c:extLst>
          </c:dPt>
          <c:dPt>
            <c:idx val="2"/>
            <c:marker>
              <c:symbol val="none"/>
            </c:marker>
            <c:bubble3D val="0"/>
            <c:extLst>
              <c:ext xmlns:c16="http://schemas.microsoft.com/office/drawing/2014/chart" uri="{C3380CC4-5D6E-409C-BE32-E72D297353CC}">
                <c16:uniqueId val="{0000000C-F409-41D3-A8A9-12FBDE7803AA}"/>
              </c:ext>
            </c:extLst>
          </c:dPt>
          <c:dPt>
            <c:idx val="3"/>
            <c:marker>
              <c:symbol val="none"/>
            </c:marker>
            <c:bubble3D val="0"/>
            <c:extLst>
              <c:ext xmlns:c16="http://schemas.microsoft.com/office/drawing/2014/chart" uri="{C3380CC4-5D6E-409C-BE32-E72D297353CC}">
                <c16:uniqueId val="{0000000D-F409-41D3-A8A9-12FBDE7803AA}"/>
              </c:ext>
            </c:extLst>
          </c:dPt>
          <c:val>
            <c:numRef>
              <c:f>Sheet1!$A$3:$H$3</c:f>
              <c:numCache>
                <c:formatCode>General</c:formatCode>
                <c:ptCount val="8"/>
                <c:pt idx="4">
                  <c:v>17.299999999999997</c:v>
                </c:pt>
                <c:pt idx="5">
                  <c:v>22.400000000000002</c:v>
                </c:pt>
                <c:pt idx="6">
                  <c:v>20.599999999999998</c:v>
                </c:pt>
                <c:pt idx="7">
                  <c:v>20.3</c:v>
                </c:pt>
              </c:numCache>
            </c:numRef>
          </c:val>
          <c:smooth val="0"/>
          <c:extLst>
            <c:ext xmlns:c16="http://schemas.microsoft.com/office/drawing/2014/chart" uri="{C3380CC4-5D6E-409C-BE32-E72D297353CC}">
              <c16:uniqueId val="{0000000E-F409-41D3-A8A9-12FBDE7803AA}"/>
            </c:ext>
          </c:extLst>
        </c:ser>
        <c:ser>
          <c:idx val="3"/>
          <c:order val="3"/>
          <c:spPr>
            <a:ln w="19050" cmpd="sng" algn="ctr">
              <a:solidFill>
                <a:srgbClr val="4C6C9C"/>
              </a:solidFill>
              <a:prstDash val="solid"/>
            </a:ln>
          </c:spPr>
          <c:marker>
            <c:symbol val="circle"/>
            <c:size val="5"/>
            <c:spPr>
              <a:solidFill>
                <a:srgbClr val="4C6C9C"/>
              </a:solidFill>
              <a:ln w="9525" cmpd="sng" algn="ctr">
                <a:solidFill>
                  <a:srgbClr val="4C6C9C"/>
                </a:solidFill>
                <a:prstDash val="solid"/>
              </a:ln>
            </c:spPr>
          </c:marker>
          <c:dPt>
            <c:idx val="0"/>
            <c:marker>
              <c:symbol val="none"/>
            </c:marker>
            <c:bubble3D val="0"/>
            <c:extLst>
              <c:ext xmlns:c16="http://schemas.microsoft.com/office/drawing/2014/chart" uri="{C3380CC4-5D6E-409C-BE32-E72D297353CC}">
                <c16:uniqueId val="{0000000F-F409-41D3-A8A9-12FBDE7803AA}"/>
              </c:ext>
            </c:extLst>
          </c:dPt>
          <c:dPt>
            <c:idx val="1"/>
            <c:marker>
              <c:symbol val="none"/>
            </c:marker>
            <c:bubble3D val="0"/>
            <c:extLst>
              <c:ext xmlns:c16="http://schemas.microsoft.com/office/drawing/2014/chart" uri="{C3380CC4-5D6E-409C-BE32-E72D297353CC}">
                <c16:uniqueId val="{00000010-F409-41D3-A8A9-12FBDE7803AA}"/>
              </c:ext>
            </c:extLst>
          </c:dPt>
          <c:dPt>
            <c:idx val="2"/>
            <c:marker>
              <c:symbol val="none"/>
            </c:marker>
            <c:bubble3D val="0"/>
            <c:extLst>
              <c:ext xmlns:c16="http://schemas.microsoft.com/office/drawing/2014/chart" uri="{C3380CC4-5D6E-409C-BE32-E72D297353CC}">
                <c16:uniqueId val="{00000011-F409-41D3-A8A9-12FBDE7803AA}"/>
              </c:ext>
            </c:extLst>
          </c:dPt>
          <c:dPt>
            <c:idx val="3"/>
            <c:marker>
              <c:symbol val="none"/>
            </c:marker>
            <c:bubble3D val="0"/>
            <c:extLst>
              <c:ext xmlns:c16="http://schemas.microsoft.com/office/drawing/2014/chart" uri="{C3380CC4-5D6E-409C-BE32-E72D297353CC}">
                <c16:uniqueId val="{00000012-F409-41D3-A8A9-12FBDE7803AA}"/>
              </c:ext>
            </c:extLst>
          </c:dPt>
          <c:val>
            <c:numRef>
              <c:f>Sheet1!$A$4:$H$4</c:f>
              <c:numCache>
                <c:formatCode>General</c:formatCode>
                <c:ptCount val="8"/>
                <c:pt idx="4">
                  <c:v>28.1</c:v>
                </c:pt>
                <c:pt idx="5">
                  <c:v>32</c:v>
                </c:pt>
                <c:pt idx="6">
                  <c:v>31.900000000000002</c:v>
                </c:pt>
                <c:pt idx="7">
                  <c:v>30.5</c:v>
                </c:pt>
              </c:numCache>
            </c:numRef>
          </c:val>
          <c:smooth val="0"/>
          <c:extLst>
            <c:ext xmlns:c16="http://schemas.microsoft.com/office/drawing/2014/chart" uri="{C3380CC4-5D6E-409C-BE32-E72D297353CC}">
              <c16:uniqueId val="{00000013-F409-41D3-A8A9-12FBDE7803AA}"/>
            </c:ext>
          </c:extLst>
        </c:ser>
        <c:ser>
          <c:idx val="4"/>
          <c:order val="4"/>
          <c:spPr>
            <a:ln w="19050" cmpd="sng" algn="ctr">
              <a:solidFill>
                <a:schemeClr val="accent1"/>
              </a:solidFill>
              <a:prstDash val="solid"/>
            </a:ln>
          </c:spPr>
          <c:marker>
            <c:symbol val="circle"/>
            <c:size val="5"/>
            <c:spPr>
              <a:solidFill>
                <a:schemeClr val="accent1"/>
              </a:solidFill>
              <a:ln w="9525" cmpd="sng" algn="ctr">
                <a:solidFill>
                  <a:schemeClr val="accent1"/>
                </a:solidFill>
                <a:prstDash val="solid"/>
              </a:ln>
            </c:spPr>
          </c:marker>
          <c:dPt>
            <c:idx val="4"/>
            <c:marker>
              <c:symbol val="none"/>
            </c:marker>
            <c:bubble3D val="0"/>
            <c:extLst>
              <c:ext xmlns:c16="http://schemas.microsoft.com/office/drawing/2014/chart" uri="{C3380CC4-5D6E-409C-BE32-E72D297353CC}">
                <c16:uniqueId val="{00000014-F409-41D3-A8A9-12FBDE7803AA}"/>
              </c:ext>
            </c:extLst>
          </c:dPt>
          <c:dPt>
            <c:idx val="5"/>
            <c:marker>
              <c:symbol val="none"/>
            </c:marker>
            <c:bubble3D val="0"/>
            <c:extLst>
              <c:ext xmlns:c16="http://schemas.microsoft.com/office/drawing/2014/chart" uri="{C3380CC4-5D6E-409C-BE32-E72D297353CC}">
                <c16:uniqueId val="{00000015-F409-41D3-A8A9-12FBDE7803AA}"/>
              </c:ext>
            </c:extLst>
          </c:dPt>
          <c:dPt>
            <c:idx val="6"/>
            <c:marker>
              <c:symbol val="none"/>
            </c:marker>
            <c:bubble3D val="0"/>
            <c:extLst>
              <c:ext xmlns:c16="http://schemas.microsoft.com/office/drawing/2014/chart" uri="{C3380CC4-5D6E-409C-BE32-E72D297353CC}">
                <c16:uniqueId val="{00000016-F409-41D3-A8A9-12FBDE7803AA}"/>
              </c:ext>
            </c:extLst>
          </c:dPt>
          <c:dPt>
            <c:idx val="7"/>
            <c:marker>
              <c:symbol val="none"/>
            </c:marker>
            <c:bubble3D val="0"/>
            <c:extLst>
              <c:ext xmlns:c16="http://schemas.microsoft.com/office/drawing/2014/chart" uri="{C3380CC4-5D6E-409C-BE32-E72D297353CC}">
                <c16:uniqueId val="{00000017-F409-41D3-A8A9-12FBDE7803AA}"/>
              </c:ext>
            </c:extLst>
          </c:dPt>
          <c:val>
            <c:numRef>
              <c:f>Sheet1!$A$5:$H$5</c:f>
              <c:numCache>
                <c:formatCode>General</c:formatCode>
                <c:ptCount val="8"/>
                <c:pt idx="0">
                  <c:v>47.099999999999994</c:v>
                </c:pt>
                <c:pt idx="1">
                  <c:v>47.8</c:v>
                </c:pt>
                <c:pt idx="2">
                  <c:v>49</c:v>
                </c:pt>
                <c:pt idx="3">
                  <c:v>48.199999999999996</c:v>
                </c:pt>
              </c:numCache>
            </c:numRef>
          </c:val>
          <c:smooth val="0"/>
          <c:extLst>
            <c:ext xmlns:c16="http://schemas.microsoft.com/office/drawing/2014/chart" uri="{C3380CC4-5D6E-409C-BE32-E72D297353CC}">
              <c16:uniqueId val="{00000018-F409-41D3-A8A9-12FBDE7803AA}"/>
            </c:ext>
          </c:extLst>
        </c:ser>
        <c:ser>
          <c:idx val="5"/>
          <c:order val="5"/>
          <c:spPr>
            <a:ln w="19050" cmpd="sng" algn="ctr">
              <a:solidFill>
                <a:srgbClr val="007770"/>
              </a:solidFill>
              <a:prstDash val="solid"/>
            </a:ln>
          </c:spPr>
          <c:marker>
            <c:symbol val="circle"/>
            <c:size val="5"/>
            <c:spPr>
              <a:solidFill>
                <a:srgbClr val="007770"/>
              </a:solidFill>
              <a:ln w="9525" cmpd="sng" algn="ctr">
                <a:solidFill>
                  <a:srgbClr val="007770"/>
                </a:solidFill>
                <a:prstDash val="solid"/>
              </a:ln>
            </c:spPr>
          </c:marker>
          <c:dPt>
            <c:idx val="4"/>
            <c:marker>
              <c:symbol val="none"/>
            </c:marker>
            <c:bubble3D val="0"/>
            <c:extLst>
              <c:ext xmlns:c16="http://schemas.microsoft.com/office/drawing/2014/chart" uri="{C3380CC4-5D6E-409C-BE32-E72D297353CC}">
                <c16:uniqueId val="{00000019-F409-41D3-A8A9-12FBDE7803AA}"/>
              </c:ext>
            </c:extLst>
          </c:dPt>
          <c:dPt>
            <c:idx val="5"/>
            <c:marker>
              <c:symbol val="none"/>
            </c:marker>
            <c:bubble3D val="0"/>
            <c:extLst>
              <c:ext xmlns:c16="http://schemas.microsoft.com/office/drawing/2014/chart" uri="{C3380CC4-5D6E-409C-BE32-E72D297353CC}">
                <c16:uniqueId val="{0000001A-F409-41D3-A8A9-12FBDE7803AA}"/>
              </c:ext>
            </c:extLst>
          </c:dPt>
          <c:dPt>
            <c:idx val="6"/>
            <c:marker>
              <c:symbol val="none"/>
            </c:marker>
            <c:bubble3D val="0"/>
            <c:extLst>
              <c:ext xmlns:c16="http://schemas.microsoft.com/office/drawing/2014/chart" uri="{C3380CC4-5D6E-409C-BE32-E72D297353CC}">
                <c16:uniqueId val="{0000001B-F409-41D3-A8A9-12FBDE7803AA}"/>
              </c:ext>
            </c:extLst>
          </c:dPt>
          <c:dPt>
            <c:idx val="7"/>
            <c:marker>
              <c:symbol val="none"/>
            </c:marker>
            <c:bubble3D val="0"/>
            <c:extLst>
              <c:ext xmlns:c16="http://schemas.microsoft.com/office/drawing/2014/chart" uri="{C3380CC4-5D6E-409C-BE32-E72D297353CC}">
                <c16:uniqueId val="{0000001C-F409-41D3-A8A9-12FBDE7803AA}"/>
              </c:ext>
            </c:extLst>
          </c:dPt>
          <c:val>
            <c:numRef>
              <c:f>Sheet1!$A$6:$H$6</c:f>
              <c:numCache>
                <c:formatCode>General</c:formatCode>
                <c:ptCount val="8"/>
                <c:pt idx="0">
                  <c:v>17.599999999999998</c:v>
                </c:pt>
                <c:pt idx="1">
                  <c:v>16.600000000000001</c:v>
                </c:pt>
                <c:pt idx="2">
                  <c:v>15.299999999999999</c:v>
                </c:pt>
                <c:pt idx="3">
                  <c:v>17.5</c:v>
                </c:pt>
              </c:numCache>
            </c:numRef>
          </c:val>
          <c:smooth val="0"/>
          <c:extLst>
            <c:ext xmlns:c16="http://schemas.microsoft.com/office/drawing/2014/chart" uri="{C3380CC4-5D6E-409C-BE32-E72D297353CC}">
              <c16:uniqueId val="{0000001D-F409-41D3-A8A9-12FBDE7803AA}"/>
            </c:ext>
          </c:extLst>
        </c:ser>
        <c:ser>
          <c:idx val="6"/>
          <c:order val="6"/>
          <c:spPr>
            <a:ln w="28575" cmpd="sng" algn="ctr">
              <a:solidFill>
                <a:schemeClr val="accent2"/>
              </a:solidFill>
              <a:prstDash val="solid"/>
            </a:ln>
          </c:spPr>
          <c:marker>
            <c:symbol val="circle"/>
            <c:size val="5"/>
            <c:spPr>
              <a:solidFill>
                <a:schemeClr val="accent2"/>
              </a:solidFill>
              <a:ln w="9525" cmpd="sng" algn="ctr">
                <a:solidFill>
                  <a:schemeClr val="accent2"/>
                </a:solidFill>
                <a:prstDash val="solid"/>
              </a:ln>
            </c:spPr>
          </c:marker>
          <c:dPt>
            <c:idx val="4"/>
            <c:marker>
              <c:symbol val="none"/>
            </c:marker>
            <c:bubble3D val="0"/>
            <c:extLst>
              <c:ext xmlns:c16="http://schemas.microsoft.com/office/drawing/2014/chart" uri="{C3380CC4-5D6E-409C-BE32-E72D297353CC}">
                <c16:uniqueId val="{0000001E-F409-41D3-A8A9-12FBDE7803AA}"/>
              </c:ext>
            </c:extLst>
          </c:dPt>
          <c:dPt>
            <c:idx val="5"/>
            <c:marker>
              <c:symbol val="none"/>
            </c:marker>
            <c:bubble3D val="0"/>
            <c:extLst>
              <c:ext xmlns:c16="http://schemas.microsoft.com/office/drawing/2014/chart" uri="{C3380CC4-5D6E-409C-BE32-E72D297353CC}">
                <c16:uniqueId val="{0000001F-F409-41D3-A8A9-12FBDE7803AA}"/>
              </c:ext>
            </c:extLst>
          </c:dPt>
          <c:dPt>
            <c:idx val="6"/>
            <c:marker>
              <c:symbol val="none"/>
            </c:marker>
            <c:bubble3D val="0"/>
            <c:extLst>
              <c:ext xmlns:c16="http://schemas.microsoft.com/office/drawing/2014/chart" uri="{C3380CC4-5D6E-409C-BE32-E72D297353CC}">
                <c16:uniqueId val="{00000020-F409-41D3-A8A9-12FBDE7803AA}"/>
              </c:ext>
            </c:extLst>
          </c:dPt>
          <c:dPt>
            <c:idx val="7"/>
            <c:marker>
              <c:symbol val="none"/>
            </c:marker>
            <c:bubble3D val="0"/>
            <c:extLst>
              <c:ext xmlns:c16="http://schemas.microsoft.com/office/drawing/2014/chart" uri="{C3380CC4-5D6E-409C-BE32-E72D297353CC}">
                <c16:uniqueId val="{00000021-F409-41D3-A8A9-12FBDE7803AA}"/>
              </c:ext>
            </c:extLst>
          </c:dPt>
          <c:val>
            <c:numRef>
              <c:f>Sheet1!$A$7:$H$7</c:f>
              <c:numCache>
                <c:formatCode>General</c:formatCode>
                <c:ptCount val="8"/>
                <c:pt idx="0">
                  <c:v>20.100000000000001</c:v>
                </c:pt>
                <c:pt idx="1">
                  <c:v>18.7</c:v>
                </c:pt>
                <c:pt idx="2">
                  <c:v>16.900000000000002</c:v>
                </c:pt>
                <c:pt idx="3">
                  <c:v>19</c:v>
                </c:pt>
              </c:numCache>
            </c:numRef>
          </c:val>
          <c:smooth val="0"/>
          <c:extLst>
            <c:ext xmlns:c16="http://schemas.microsoft.com/office/drawing/2014/chart" uri="{C3380CC4-5D6E-409C-BE32-E72D297353CC}">
              <c16:uniqueId val="{00000022-F409-41D3-A8A9-12FBDE7803AA}"/>
            </c:ext>
          </c:extLst>
        </c:ser>
        <c:ser>
          <c:idx val="7"/>
          <c:order val="7"/>
          <c:spPr>
            <a:ln w="28575" cmpd="sng" algn="ctr">
              <a:solidFill>
                <a:srgbClr val="4C6C9C"/>
              </a:solidFill>
              <a:prstDash val="solid"/>
            </a:ln>
          </c:spPr>
          <c:marker>
            <c:symbol val="circle"/>
            <c:size val="5"/>
            <c:spPr>
              <a:solidFill>
                <a:srgbClr val="4C6C9C"/>
              </a:solidFill>
              <a:ln w="9525" cmpd="sng" algn="ctr">
                <a:solidFill>
                  <a:srgbClr val="4C6C9C"/>
                </a:solidFill>
                <a:prstDash val="solid"/>
              </a:ln>
            </c:spPr>
          </c:marker>
          <c:dPt>
            <c:idx val="4"/>
            <c:marker>
              <c:symbol val="none"/>
            </c:marker>
            <c:bubble3D val="0"/>
            <c:extLst>
              <c:ext xmlns:c16="http://schemas.microsoft.com/office/drawing/2014/chart" uri="{C3380CC4-5D6E-409C-BE32-E72D297353CC}">
                <c16:uniqueId val="{00000023-F409-41D3-A8A9-12FBDE7803AA}"/>
              </c:ext>
            </c:extLst>
          </c:dPt>
          <c:dPt>
            <c:idx val="5"/>
            <c:marker>
              <c:symbol val="none"/>
            </c:marker>
            <c:bubble3D val="0"/>
            <c:extLst>
              <c:ext xmlns:c16="http://schemas.microsoft.com/office/drawing/2014/chart" uri="{C3380CC4-5D6E-409C-BE32-E72D297353CC}">
                <c16:uniqueId val="{00000024-F409-41D3-A8A9-12FBDE7803AA}"/>
              </c:ext>
            </c:extLst>
          </c:dPt>
          <c:dPt>
            <c:idx val="6"/>
            <c:marker>
              <c:symbol val="none"/>
            </c:marker>
            <c:bubble3D val="0"/>
            <c:extLst>
              <c:ext xmlns:c16="http://schemas.microsoft.com/office/drawing/2014/chart" uri="{C3380CC4-5D6E-409C-BE32-E72D297353CC}">
                <c16:uniqueId val="{00000025-F409-41D3-A8A9-12FBDE7803AA}"/>
              </c:ext>
            </c:extLst>
          </c:dPt>
          <c:dPt>
            <c:idx val="7"/>
            <c:marker>
              <c:symbol val="none"/>
            </c:marker>
            <c:bubble3D val="0"/>
            <c:extLst>
              <c:ext xmlns:c16="http://schemas.microsoft.com/office/drawing/2014/chart" uri="{C3380CC4-5D6E-409C-BE32-E72D297353CC}">
                <c16:uniqueId val="{00000026-F409-41D3-A8A9-12FBDE7803AA}"/>
              </c:ext>
            </c:extLst>
          </c:dPt>
          <c:val>
            <c:numRef>
              <c:f>Sheet1!$A$8:$H$8</c:f>
              <c:numCache>
                <c:formatCode>General</c:formatCode>
                <c:ptCount val="8"/>
                <c:pt idx="0">
                  <c:v>30.5</c:v>
                </c:pt>
                <c:pt idx="1">
                  <c:v>32.300000000000004</c:v>
                </c:pt>
                <c:pt idx="2">
                  <c:v>34.200000000000003</c:v>
                </c:pt>
                <c:pt idx="3">
                  <c:v>33.1</c:v>
                </c:pt>
              </c:numCache>
            </c:numRef>
          </c:val>
          <c:smooth val="0"/>
          <c:extLst>
            <c:ext xmlns:c16="http://schemas.microsoft.com/office/drawing/2014/chart" uri="{C3380CC4-5D6E-409C-BE32-E72D297353CC}">
              <c16:uniqueId val="{00000027-F409-41D3-A8A9-12FBDE7803AA}"/>
            </c:ext>
          </c:extLst>
        </c:ser>
        <c:ser>
          <c:idx val="8"/>
          <c:order val="8"/>
          <c:spPr>
            <a:ln w="28575" cmpd="sng" algn="ctr">
              <a:solidFill>
                <a:schemeClr val="accent3"/>
              </a:solidFill>
              <a:prstDash val="solid"/>
            </a:ln>
          </c:spPr>
          <c:marker>
            <c:symbol val="circle"/>
            <c:size val="5"/>
            <c:spPr>
              <a:solidFill>
                <a:schemeClr val="accent3"/>
              </a:solidFill>
              <a:ln w="9525" cmpd="sng" algn="ctr">
                <a:solidFill>
                  <a:schemeClr val="accent3"/>
                </a:solidFill>
                <a:prstDash val="solid"/>
              </a:ln>
            </c:spPr>
          </c:marker>
          <c:dPt>
            <c:idx val="0"/>
            <c:marker>
              <c:symbol val="none"/>
            </c:marker>
            <c:bubble3D val="0"/>
            <c:extLst>
              <c:ext xmlns:c16="http://schemas.microsoft.com/office/drawing/2014/chart" uri="{C3380CC4-5D6E-409C-BE32-E72D297353CC}">
                <c16:uniqueId val="{00000028-F409-41D3-A8A9-12FBDE7803AA}"/>
              </c:ext>
            </c:extLst>
          </c:dPt>
          <c:dPt>
            <c:idx val="1"/>
            <c:marker>
              <c:symbol val="none"/>
            </c:marker>
            <c:bubble3D val="0"/>
            <c:extLst>
              <c:ext xmlns:c16="http://schemas.microsoft.com/office/drawing/2014/chart" uri="{C3380CC4-5D6E-409C-BE32-E72D297353CC}">
                <c16:uniqueId val="{00000029-F409-41D3-A8A9-12FBDE7803AA}"/>
              </c:ext>
            </c:extLst>
          </c:dPt>
          <c:dPt>
            <c:idx val="2"/>
            <c:marker>
              <c:symbol val="none"/>
            </c:marker>
            <c:bubble3D val="0"/>
            <c:extLst>
              <c:ext xmlns:c16="http://schemas.microsoft.com/office/drawing/2014/chart" uri="{C3380CC4-5D6E-409C-BE32-E72D297353CC}">
                <c16:uniqueId val="{0000002A-F409-41D3-A8A9-12FBDE7803AA}"/>
              </c:ext>
            </c:extLst>
          </c:dPt>
          <c:dPt>
            <c:idx val="3"/>
            <c:marker>
              <c:symbol val="none"/>
            </c:marker>
            <c:bubble3D val="0"/>
            <c:extLst>
              <c:ext xmlns:c16="http://schemas.microsoft.com/office/drawing/2014/chart" uri="{C3380CC4-5D6E-409C-BE32-E72D297353CC}">
                <c16:uniqueId val="{0000002B-F409-41D3-A8A9-12FBDE7803AA}"/>
              </c:ext>
            </c:extLst>
          </c:dPt>
          <c:dPt>
            <c:idx val="4"/>
            <c:marker>
              <c:symbol val="none"/>
            </c:marker>
            <c:bubble3D val="0"/>
            <c:extLst>
              <c:ext xmlns:c16="http://schemas.microsoft.com/office/drawing/2014/chart" uri="{C3380CC4-5D6E-409C-BE32-E72D297353CC}">
                <c16:uniqueId val="{0000002C-F409-41D3-A8A9-12FBDE7803AA}"/>
              </c:ext>
            </c:extLst>
          </c:dPt>
          <c:dPt>
            <c:idx val="5"/>
            <c:marker>
              <c:symbol val="none"/>
            </c:marker>
            <c:bubble3D val="0"/>
            <c:extLst>
              <c:ext xmlns:c16="http://schemas.microsoft.com/office/drawing/2014/chart" uri="{C3380CC4-5D6E-409C-BE32-E72D297353CC}">
                <c16:uniqueId val="{0000002D-F409-41D3-A8A9-12FBDE7803AA}"/>
              </c:ext>
            </c:extLst>
          </c:dPt>
          <c:dPt>
            <c:idx val="6"/>
            <c:marker>
              <c:symbol val="none"/>
            </c:marker>
            <c:bubble3D val="0"/>
            <c:extLst>
              <c:ext xmlns:c16="http://schemas.microsoft.com/office/drawing/2014/chart" uri="{C3380CC4-5D6E-409C-BE32-E72D297353CC}">
                <c16:uniqueId val="{0000002E-F409-41D3-A8A9-12FBDE7803AA}"/>
              </c:ext>
            </c:extLst>
          </c:dPt>
          <c:dPt>
            <c:idx val="7"/>
            <c:marker>
              <c:symbol val="none"/>
            </c:marker>
            <c:bubble3D val="0"/>
            <c:extLst>
              <c:ext xmlns:c16="http://schemas.microsoft.com/office/drawing/2014/chart" uri="{C3380CC4-5D6E-409C-BE32-E72D297353CC}">
                <c16:uniqueId val="{0000002F-F409-41D3-A8A9-12FBDE7803AA}"/>
              </c:ext>
            </c:extLst>
          </c:dPt>
          <c:val>
            <c:numRef>
              <c:f>Sheet1!$A$9:$H$9</c:f>
              <c:numCache>
                <c:formatCode>General</c:formatCode>
                <c:ptCount val="8"/>
              </c:numCache>
            </c:numRef>
          </c:val>
          <c:smooth val="0"/>
          <c:extLst>
            <c:ext xmlns:c16="http://schemas.microsoft.com/office/drawing/2014/chart" uri="{C3380CC4-5D6E-409C-BE32-E72D297353CC}">
              <c16:uniqueId val="{00000030-F409-41D3-A8A9-12FBDE7803AA}"/>
            </c:ext>
          </c:extLst>
        </c:ser>
        <c:ser>
          <c:idx val="9"/>
          <c:order val="9"/>
          <c:spPr>
            <a:ln w="28575" cmpd="sng" algn="ctr">
              <a:solidFill>
                <a:schemeClr val="accent4"/>
              </a:solidFill>
              <a:prstDash val="solid"/>
            </a:ln>
          </c:spPr>
          <c:marker>
            <c:symbol val="circle"/>
            <c:size val="5"/>
            <c:spPr>
              <a:solidFill>
                <a:schemeClr val="accent4"/>
              </a:solidFill>
              <a:ln w="9525" cmpd="sng" algn="ctr">
                <a:solidFill>
                  <a:schemeClr val="accent4"/>
                </a:solidFill>
                <a:prstDash val="solid"/>
              </a:ln>
            </c:spPr>
          </c:marker>
          <c:dPt>
            <c:idx val="0"/>
            <c:marker>
              <c:symbol val="none"/>
            </c:marker>
            <c:bubble3D val="0"/>
            <c:extLst>
              <c:ext xmlns:c16="http://schemas.microsoft.com/office/drawing/2014/chart" uri="{C3380CC4-5D6E-409C-BE32-E72D297353CC}">
                <c16:uniqueId val="{00000031-F409-41D3-A8A9-12FBDE7803AA}"/>
              </c:ext>
            </c:extLst>
          </c:dPt>
          <c:dPt>
            <c:idx val="1"/>
            <c:marker>
              <c:symbol val="none"/>
            </c:marker>
            <c:bubble3D val="0"/>
            <c:extLst>
              <c:ext xmlns:c16="http://schemas.microsoft.com/office/drawing/2014/chart" uri="{C3380CC4-5D6E-409C-BE32-E72D297353CC}">
                <c16:uniqueId val="{00000032-F409-41D3-A8A9-12FBDE7803AA}"/>
              </c:ext>
            </c:extLst>
          </c:dPt>
          <c:dPt>
            <c:idx val="2"/>
            <c:marker>
              <c:symbol val="none"/>
            </c:marker>
            <c:bubble3D val="0"/>
            <c:extLst>
              <c:ext xmlns:c16="http://schemas.microsoft.com/office/drawing/2014/chart" uri="{C3380CC4-5D6E-409C-BE32-E72D297353CC}">
                <c16:uniqueId val="{00000033-F409-41D3-A8A9-12FBDE7803AA}"/>
              </c:ext>
            </c:extLst>
          </c:dPt>
          <c:dPt>
            <c:idx val="3"/>
            <c:marker>
              <c:symbol val="none"/>
            </c:marker>
            <c:bubble3D val="0"/>
            <c:extLst>
              <c:ext xmlns:c16="http://schemas.microsoft.com/office/drawing/2014/chart" uri="{C3380CC4-5D6E-409C-BE32-E72D297353CC}">
                <c16:uniqueId val="{00000034-F409-41D3-A8A9-12FBDE7803AA}"/>
              </c:ext>
            </c:extLst>
          </c:dPt>
          <c:dPt>
            <c:idx val="4"/>
            <c:marker>
              <c:symbol val="none"/>
            </c:marker>
            <c:bubble3D val="0"/>
            <c:extLst>
              <c:ext xmlns:c16="http://schemas.microsoft.com/office/drawing/2014/chart" uri="{C3380CC4-5D6E-409C-BE32-E72D297353CC}">
                <c16:uniqueId val="{00000035-F409-41D3-A8A9-12FBDE7803AA}"/>
              </c:ext>
            </c:extLst>
          </c:dPt>
          <c:dPt>
            <c:idx val="5"/>
            <c:marker>
              <c:symbol val="none"/>
            </c:marker>
            <c:bubble3D val="0"/>
            <c:extLst>
              <c:ext xmlns:c16="http://schemas.microsoft.com/office/drawing/2014/chart" uri="{C3380CC4-5D6E-409C-BE32-E72D297353CC}">
                <c16:uniqueId val="{00000036-F409-41D3-A8A9-12FBDE7803AA}"/>
              </c:ext>
            </c:extLst>
          </c:dPt>
          <c:dPt>
            <c:idx val="6"/>
            <c:marker>
              <c:symbol val="none"/>
            </c:marker>
            <c:bubble3D val="0"/>
            <c:extLst>
              <c:ext xmlns:c16="http://schemas.microsoft.com/office/drawing/2014/chart" uri="{C3380CC4-5D6E-409C-BE32-E72D297353CC}">
                <c16:uniqueId val="{00000037-F409-41D3-A8A9-12FBDE7803AA}"/>
              </c:ext>
            </c:extLst>
          </c:dPt>
          <c:dPt>
            <c:idx val="7"/>
            <c:marker>
              <c:symbol val="none"/>
            </c:marker>
            <c:bubble3D val="0"/>
            <c:extLst>
              <c:ext xmlns:c16="http://schemas.microsoft.com/office/drawing/2014/chart" uri="{C3380CC4-5D6E-409C-BE32-E72D297353CC}">
                <c16:uniqueId val="{00000038-F409-41D3-A8A9-12FBDE7803AA}"/>
              </c:ext>
            </c:extLst>
          </c:dPt>
          <c:val>
            <c:numRef>
              <c:f>Sheet1!$A$10:$H$10</c:f>
              <c:numCache>
                <c:formatCode>General</c:formatCode>
                <c:ptCount val="8"/>
              </c:numCache>
            </c:numRef>
          </c:val>
          <c:smooth val="0"/>
          <c:extLst>
            <c:ext xmlns:c16="http://schemas.microsoft.com/office/drawing/2014/chart" uri="{C3380CC4-5D6E-409C-BE32-E72D297353CC}">
              <c16:uniqueId val="{00000039-F409-41D3-A8A9-12FBDE7803AA}"/>
            </c:ext>
          </c:extLst>
        </c:ser>
        <c:ser>
          <c:idx val="10"/>
          <c:order val="10"/>
          <c:spPr>
            <a:ln w="28575" cmpd="sng" algn="ctr">
              <a:solidFill>
                <a:schemeClr val="accent5"/>
              </a:solidFill>
              <a:prstDash val="solid"/>
            </a:ln>
          </c:spPr>
          <c:marker>
            <c:symbol val="circle"/>
            <c:size val="5"/>
            <c:spPr>
              <a:solidFill>
                <a:schemeClr val="accent5"/>
              </a:solidFill>
              <a:ln w="9525" cmpd="sng" algn="ctr">
                <a:solidFill>
                  <a:schemeClr val="accent5"/>
                </a:solidFill>
                <a:prstDash val="solid"/>
              </a:ln>
            </c:spPr>
          </c:marker>
          <c:dPt>
            <c:idx val="0"/>
            <c:marker>
              <c:symbol val="none"/>
            </c:marker>
            <c:bubble3D val="0"/>
            <c:extLst>
              <c:ext xmlns:c16="http://schemas.microsoft.com/office/drawing/2014/chart" uri="{C3380CC4-5D6E-409C-BE32-E72D297353CC}">
                <c16:uniqueId val="{0000003A-F409-41D3-A8A9-12FBDE7803AA}"/>
              </c:ext>
            </c:extLst>
          </c:dPt>
          <c:dPt>
            <c:idx val="1"/>
            <c:marker>
              <c:symbol val="none"/>
            </c:marker>
            <c:bubble3D val="0"/>
            <c:extLst>
              <c:ext xmlns:c16="http://schemas.microsoft.com/office/drawing/2014/chart" uri="{C3380CC4-5D6E-409C-BE32-E72D297353CC}">
                <c16:uniqueId val="{0000003B-F409-41D3-A8A9-12FBDE7803AA}"/>
              </c:ext>
            </c:extLst>
          </c:dPt>
          <c:dPt>
            <c:idx val="2"/>
            <c:marker>
              <c:symbol val="none"/>
            </c:marker>
            <c:bubble3D val="0"/>
            <c:extLst>
              <c:ext xmlns:c16="http://schemas.microsoft.com/office/drawing/2014/chart" uri="{C3380CC4-5D6E-409C-BE32-E72D297353CC}">
                <c16:uniqueId val="{0000003C-F409-41D3-A8A9-12FBDE7803AA}"/>
              </c:ext>
            </c:extLst>
          </c:dPt>
          <c:dPt>
            <c:idx val="3"/>
            <c:marker>
              <c:symbol val="none"/>
            </c:marker>
            <c:bubble3D val="0"/>
            <c:extLst>
              <c:ext xmlns:c16="http://schemas.microsoft.com/office/drawing/2014/chart" uri="{C3380CC4-5D6E-409C-BE32-E72D297353CC}">
                <c16:uniqueId val="{0000003D-F409-41D3-A8A9-12FBDE7803AA}"/>
              </c:ext>
            </c:extLst>
          </c:dPt>
          <c:dPt>
            <c:idx val="4"/>
            <c:marker>
              <c:symbol val="none"/>
            </c:marker>
            <c:bubble3D val="0"/>
            <c:extLst>
              <c:ext xmlns:c16="http://schemas.microsoft.com/office/drawing/2014/chart" uri="{C3380CC4-5D6E-409C-BE32-E72D297353CC}">
                <c16:uniqueId val="{0000003E-F409-41D3-A8A9-12FBDE7803AA}"/>
              </c:ext>
            </c:extLst>
          </c:dPt>
          <c:dPt>
            <c:idx val="5"/>
            <c:marker>
              <c:symbol val="none"/>
            </c:marker>
            <c:bubble3D val="0"/>
            <c:extLst>
              <c:ext xmlns:c16="http://schemas.microsoft.com/office/drawing/2014/chart" uri="{C3380CC4-5D6E-409C-BE32-E72D297353CC}">
                <c16:uniqueId val="{0000003F-F409-41D3-A8A9-12FBDE7803AA}"/>
              </c:ext>
            </c:extLst>
          </c:dPt>
          <c:dPt>
            <c:idx val="6"/>
            <c:marker>
              <c:symbol val="none"/>
            </c:marker>
            <c:bubble3D val="0"/>
            <c:extLst>
              <c:ext xmlns:c16="http://schemas.microsoft.com/office/drawing/2014/chart" uri="{C3380CC4-5D6E-409C-BE32-E72D297353CC}">
                <c16:uniqueId val="{00000040-F409-41D3-A8A9-12FBDE7803AA}"/>
              </c:ext>
            </c:extLst>
          </c:dPt>
          <c:dPt>
            <c:idx val="7"/>
            <c:marker>
              <c:symbol val="none"/>
            </c:marker>
            <c:bubble3D val="0"/>
            <c:extLst>
              <c:ext xmlns:c16="http://schemas.microsoft.com/office/drawing/2014/chart" uri="{C3380CC4-5D6E-409C-BE32-E72D297353CC}">
                <c16:uniqueId val="{00000041-F409-41D3-A8A9-12FBDE7803AA}"/>
              </c:ext>
            </c:extLst>
          </c:dPt>
          <c:val>
            <c:numRef>
              <c:f>Sheet1!$A$11:$H$11</c:f>
              <c:numCache>
                <c:formatCode>General</c:formatCode>
                <c:ptCount val="8"/>
              </c:numCache>
            </c:numRef>
          </c:val>
          <c:smooth val="0"/>
          <c:extLst>
            <c:ext xmlns:c16="http://schemas.microsoft.com/office/drawing/2014/chart" uri="{C3380CC4-5D6E-409C-BE32-E72D297353CC}">
              <c16:uniqueId val="{00000042-F409-41D3-A8A9-12FBDE7803AA}"/>
            </c:ext>
          </c:extLst>
        </c:ser>
        <c:ser>
          <c:idx val="11"/>
          <c:order val="11"/>
          <c:spPr>
            <a:ln w="28575" cmpd="sng" algn="ctr">
              <a:solidFill>
                <a:schemeClr val="accent6"/>
              </a:solidFill>
              <a:prstDash val="solid"/>
            </a:ln>
          </c:spPr>
          <c:marker>
            <c:symbol val="circle"/>
            <c:size val="5"/>
            <c:spPr>
              <a:solidFill>
                <a:schemeClr val="accent6"/>
              </a:solidFill>
              <a:ln w="9525" cmpd="sng" algn="ctr">
                <a:solidFill>
                  <a:schemeClr val="accent6"/>
                </a:solidFill>
                <a:prstDash val="solid"/>
              </a:ln>
            </c:spPr>
          </c:marker>
          <c:dPt>
            <c:idx val="0"/>
            <c:marker>
              <c:symbol val="none"/>
            </c:marker>
            <c:bubble3D val="0"/>
            <c:extLst>
              <c:ext xmlns:c16="http://schemas.microsoft.com/office/drawing/2014/chart" uri="{C3380CC4-5D6E-409C-BE32-E72D297353CC}">
                <c16:uniqueId val="{00000043-F409-41D3-A8A9-12FBDE7803AA}"/>
              </c:ext>
            </c:extLst>
          </c:dPt>
          <c:dPt>
            <c:idx val="1"/>
            <c:marker>
              <c:symbol val="none"/>
            </c:marker>
            <c:bubble3D val="0"/>
            <c:extLst>
              <c:ext xmlns:c16="http://schemas.microsoft.com/office/drawing/2014/chart" uri="{C3380CC4-5D6E-409C-BE32-E72D297353CC}">
                <c16:uniqueId val="{00000044-F409-41D3-A8A9-12FBDE7803AA}"/>
              </c:ext>
            </c:extLst>
          </c:dPt>
          <c:dPt>
            <c:idx val="2"/>
            <c:marker>
              <c:symbol val="none"/>
            </c:marker>
            <c:bubble3D val="0"/>
            <c:extLst>
              <c:ext xmlns:c16="http://schemas.microsoft.com/office/drawing/2014/chart" uri="{C3380CC4-5D6E-409C-BE32-E72D297353CC}">
                <c16:uniqueId val="{00000045-F409-41D3-A8A9-12FBDE7803AA}"/>
              </c:ext>
            </c:extLst>
          </c:dPt>
          <c:dPt>
            <c:idx val="3"/>
            <c:marker>
              <c:symbol val="none"/>
            </c:marker>
            <c:bubble3D val="0"/>
            <c:extLst>
              <c:ext xmlns:c16="http://schemas.microsoft.com/office/drawing/2014/chart" uri="{C3380CC4-5D6E-409C-BE32-E72D297353CC}">
                <c16:uniqueId val="{00000046-F409-41D3-A8A9-12FBDE7803AA}"/>
              </c:ext>
            </c:extLst>
          </c:dPt>
          <c:dPt>
            <c:idx val="4"/>
            <c:marker>
              <c:symbol val="none"/>
            </c:marker>
            <c:bubble3D val="0"/>
            <c:extLst>
              <c:ext xmlns:c16="http://schemas.microsoft.com/office/drawing/2014/chart" uri="{C3380CC4-5D6E-409C-BE32-E72D297353CC}">
                <c16:uniqueId val="{00000047-F409-41D3-A8A9-12FBDE7803AA}"/>
              </c:ext>
            </c:extLst>
          </c:dPt>
          <c:dPt>
            <c:idx val="5"/>
            <c:marker>
              <c:symbol val="none"/>
            </c:marker>
            <c:bubble3D val="0"/>
            <c:extLst>
              <c:ext xmlns:c16="http://schemas.microsoft.com/office/drawing/2014/chart" uri="{C3380CC4-5D6E-409C-BE32-E72D297353CC}">
                <c16:uniqueId val="{00000048-F409-41D3-A8A9-12FBDE7803AA}"/>
              </c:ext>
            </c:extLst>
          </c:dPt>
          <c:dPt>
            <c:idx val="6"/>
            <c:marker>
              <c:symbol val="none"/>
            </c:marker>
            <c:bubble3D val="0"/>
            <c:extLst>
              <c:ext xmlns:c16="http://schemas.microsoft.com/office/drawing/2014/chart" uri="{C3380CC4-5D6E-409C-BE32-E72D297353CC}">
                <c16:uniqueId val="{00000049-F409-41D3-A8A9-12FBDE7803AA}"/>
              </c:ext>
            </c:extLst>
          </c:dPt>
          <c:dPt>
            <c:idx val="7"/>
            <c:marker>
              <c:symbol val="none"/>
            </c:marker>
            <c:bubble3D val="0"/>
            <c:extLst>
              <c:ext xmlns:c16="http://schemas.microsoft.com/office/drawing/2014/chart" uri="{C3380CC4-5D6E-409C-BE32-E72D297353CC}">
                <c16:uniqueId val="{0000004A-F409-41D3-A8A9-12FBDE7803AA}"/>
              </c:ext>
            </c:extLst>
          </c:dPt>
          <c:val>
            <c:numRef>
              <c:f>Sheet1!$A$12:$H$12</c:f>
              <c:numCache>
                <c:formatCode>General</c:formatCode>
                <c:ptCount val="8"/>
              </c:numCache>
            </c:numRef>
          </c:val>
          <c:smooth val="0"/>
          <c:extLst>
            <c:ext xmlns:c16="http://schemas.microsoft.com/office/drawing/2014/chart" uri="{C3380CC4-5D6E-409C-BE32-E72D297353CC}">
              <c16:uniqueId val="{0000004B-F409-41D3-A8A9-12FBDE7803AA}"/>
            </c:ext>
          </c:extLst>
        </c:ser>
        <c:dLbls>
          <c:showLegendKey val="0"/>
          <c:showVal val="0"/>
          <c:showCatName val="0"/>
          <c:showSerName val="0"/>
          <c:showPercent val="0"/>
          <c:showBubbleSize val="0"/>
        </c:dLbls>
        <c:marker val="1"/>
        <c:smooth val="0"/>
        <c:axId val="1428503616"/>
        <c:axId val="1"/>
      </c:lineChart>
      <c:catAx>
        <c:axId val="142850361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5"/>
          <c:min val="0"/>
        </c:scaling>
        <c:delete val="0"/>
        <c:axPos val="l"/>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1428503616"/>
        <c:crosses val="min"/>
        <c:crossBetween val="midCat"/>
      </c:valAx>
      <c:catAx>
        <c:axId val="2"/>
        <c:scaling>
          <c:orientation val="minMax"/>
        </c:scaling>
        <c:delete val="1"/>
        <c:axPos val="b"/>
        <c:majorGridlines>
          <c:spPr>
            <a:ln>
              <a:noFill/>
            </a:ln>
          </c:spPr>
        </c:majorGridlines>
        <c:majorTickMark val="none"/>
        <c:minorTickMark val="none"/>
        <c:tickLblPos val="none"/>
        <c:crossAx val="3"/>
        <c:crosses val="min"/>
        <c:auto val="0"/>
        <c:lblAlgn val="ctr"/>
        <c:lblOffset val="100"/>
        <c:noMultiLvlLbl val="0"/>
      </c:catAx>
      <c:valAx>
        <c:axId val="3"/>
        <c:scaling>
          <c:orientation val="minMax"/>
          <c:max val="0"/>
          <c:min val="-3"/>
        </c:scaling>
        <c:delete val="0"/>
        <c:axPos val="r"/>
        <c:majorGridlines>
          <c:spPr>
            <a:ln>
              <a:noFill/>
            </a:ln>
          </c:spPr>
        </c:majorGridlines>
        <c:majorTickMark val="none"/>
        <c:minorTickMark val="none"/>
        <c:tickLblPos val="none"/>
        <c:spPr>
          <a:ln w="9525" cmpd="sng" algn="ctr">
            <a:solidFill>
              <a:schemeClr val="bg1"/>
            </a:solidFill>
            <a:prstDash val="solid"/>
          </a:ln>
        </c:spPr>
        <c:crossAx val="2"/>
        <c:crosses val="max"/>
        <c:crossBetween val="midCat"/>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492229622581667E-2"/>
          <c:y val="5.5295950155763239E-2"/>
          <c:w val="0.96701554075483664"/>
          <c:h val="0.88940809968847356"/>
        </c:manualLayout>
      </c:layout>
      <c:barChart>
        <c:barDir val="col"/>
        <c:grouping val="stacked"/>
        <c:varyColors val="0"/>
        <c:ser>
          <c:idx val="0"/>
          <c:order val="0"/>
          <c:spPr>
            <a:solidFill>
              <a:srgbClr val="9DB1CF"/>
            </a:solidFill>
            <a:ln>
              <a:noFill/>
            </a:ln>
          </c:spPr>
          <c:invertIfNegative val="0"/>
          <c:dPt>
            <c:idx val="7"/>
            <c:invertIfNegative val="0"/>
            <c:bubble3D val="0"/>
            <c:spPr>
              <a:solidFill>
                <a:schemeClr val="accent2"/>
              </a:solidFill>
              <a:ln>
                <a:noFill/>
              </a:ln>
            </c:spPr>
            <c:extLst>
              <c:ext xmlns:c16="http://schemas.microsoft.com/office/drawing/2014/chart" uri="{C3380CC4-5D6E-409C-BE32-E72D297353CC}">
                <c16:uniqueId val="{00000000-DF39-4452-A2F8-242C7F698B22}"/>
              </c:ext>
            </c:extLst>
          </c:dPt>
          <c:dLbls>
            <c:dLbl>
              <c:idx val="0"/>
              <c:layout>
                <c:manualLayout>
                  <c:x val="0"/>
                  <c:y val="-7.7881619937694702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F39-4452-A2F8-242C7F698B22}"/>
                </c:ext>
              </c:extLst>
            </c:dLbl>
            <c:dLbl>
              <c:idx val="1"/>
              <c:layout>
                <c:manualLayout>
                  <c:x val="0"/>
                  <c:y val="-3.8940809968847351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F39-4452-A2F8-242C7F698B22}"/>
                </c:ext>
              </c:extLst>
            </c:dLbl>
            <c:dLbl>
              <c:idx val="2"/>
              <c:layout>
                <c:manualLayout>
                  <c:x val="0"/>
                  <c:y val="-3.8940809968847351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F39-4452-A2F8-242C7F698B22}"/>
                </c:ext>
              </c:extLst>
            </c:dLbl>
            <c:dLbl>
              <c:idx val="3"/>
              <c:layout>
                <c:manualLayout>
                  <c:x val="0"/>
                  <c:y val="-7.7881619937694702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F39-4452-A2F8-242C7F698B22}"/>
                </c:ext>
              </c:extLst>
            </c:dLbl>
            <c:dLbl>
              <c:idx val="4"/>
              <c:layout>
                <c:manualLayout>
                  <c:x val="0"/>
                  <c:y val="-3.8940809968847351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F39-4452-A2F8-242C7F698B22}"/>
                </c:ext>
              </c:extLst>
            </c:dLbl>
            <c:dLbl>
              <c:idx val="5"/>
              <c:layout>
                <c:manualLayout>
                  <c:x val="0"/>
                  <c:y val="-7.7881619937694702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F39-4452-A2F8-242C7F698B22}"/>
                </c:ext>
              </c:extLst>
            </c:dLbl>
            <c:dLbl>
              <c:idx val="6"/>
              <c:layout>
                <c:manualLayout>
                  <c:x val="0"/>
                  <c:y val="-7.7881619937694702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F39-4452-A2F8-242C7F698B22}"/>
                </c:ext>
              </c:extLst>
            </c:dLbl>
            <c:dLbl>
              <c:idx val="7"/>
              <c:layout>
                <c:manualLayout>
                  <c:x val="0"/>
                  <c:y val="-7.7881619937694702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F39-4452-A2F8-242C7F698B2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0">
                  <c:v>60</c:v>
                </c:pt>
                <c:pt idx="1">
                  <c:v>65</c:v>
                </c:pt>
                <c:pt idx="2">
                  <c:v>42</c:v>
                </c:pt>
                <c:pt idx="3">
                  <c:v>46</c:v>
                </c:pt>
                <c:pt idx="4">
                  <c:v>35</c:v>
                </c:pt>
                <c:pt idx="5">
                  <c:v>52</c:v>
                </c:pt>
                <c:pt idx="6">
                  <c:v>53</c:v>
                </c:pt>
                <c:pt idx="7">
                  <c:v>32</c:v>
                </c:pt>
              </c:numCache>
            </c:numRef>
          </c:val>
          <c:extLst>
            <c:ext xmlns:c16="http://schemas.microsoft.com/office/drawing/2014/chart" uri="{C3380CC4-5D6E-409C-BE32-E72D297353CC}">
              <c16:uniqueId val="{00000008-DF39-4452-A2F8-242C7F698B22}"/>
            </c:ext>
          </c:extLst>
        </c:ser>
        <c:ser>
          <c:idx val="1"/>
          <c:order val="1"/>
          <c:spPr>
            <a:solidFill>
              <a:schemeClr val="accent2"/>
            </a:solidFill>
            <a:ln>
              <a:noFill/>
            </a:ln>
          </c:spPr>
          <c:invertIfNegative val="0"/>
          <c:dPt>
            <c:idx val="7"/>
            <c:invertIfNegative val="0"/>
            <c:bubble3D val="0"/>
            <c:spPr>
              <a:solidFill>
                <a:schemeClr val="accent3"/>
              </a:solidFill>
              <a:ln>
                <a:noFill/>
              </a:ln>
            </c:spPr>
            <c:extLst>
              <c:ext xmlns:c16="http://schemas.microsoft.com/office/drawing/2014/chart" uri="{C3380CC4-5D6E-409C-BE32-E72D297353CC}">
                <c16:uniqueId val="{00000009-DF39-4452-A2F8-242C7F698B22}"/>
              </c:ext>
            </c:extLst>
          </c:dPt>
          <c:dLbls>
            <c:dLbl>
              <c:idx val="0"/>
              <c:layout>
                <c:manualLayout>
                  <c:x val="0"/>
                  <c:y val="-3.8940809968847351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DF39-4452-A2F8-242C7F698B22}"/>
                </c:ext>
              </c:extLst>
            </c:dLbl>
            <c:dLbl>
              <c:idx val="1"/>
              <c:layout>
                <c:manualLayout>
                  <c:x val="0"/>
                  <c:y val="-3.8940809968847351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DF39-4452-A2F8-242C7F698B22}"/>
                </c:ext>
              </c:extLst>
            </c:dLbl>
            <c:dLbl>
              <c:idx val="2"/>
              <c:layout>
                <c:manualLayout>
                  <c:x val="0"/>
                  <c:y val="-3.8940809968847351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DF39-4452-A2F8-242C7F698B22}"/>
                </c:ext>
              </c:extLst>
            </c:dLbl>
            <c:dLbl>
              <c:idx val="3"/>
              <c:layout>
                <c:manualLayout>
                  <c:x val="0"/>
                  <c:y val="-7.7881619937694702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DF39-4452-A2F8-242C7F698B22}"/>
                </c:ext>
              </c:extLst>
            </c:dLbl>
            <c:dLbl>
              <c:idx val="4"/>
              <c:layout>
                <c:manualLayout>
                  <c:x val="0"/>
                  <c:y val="-3.8940809968847351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DF39-4452-A2F8-242C7F698B22}"/>
                </c:ext>
              </c:extLst>
            </c:dLbl>
            <c:dLbl>
              <c:idx val="5"/>
              <c:layout>
                <c:manualLayout>
                  <c:x val="0"/>
                  <c:y val="-3.8940809968847351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DF39-4452-A2F8-242C7F698B22}"/>
                </c:ext>
              </c:extLst>
            </c:dLbl>
            <c:dLbl>
              <c:idx val="6"/>
              <c:layout>
                <c:manualLayout>
                  <c:x val="0"/>
                  <c:y val="-3.8940809968847351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DF39-4452-A2F8-242C7F698B22}"/>
                </c:ext>
              </c:extLst>
            </c:dLbl>
            <c:dLbl>
              <c:idx val="7"/>
              <c:layout>
                <c:manualLayout>
                  <c:x val="0"/>
                  <c:y val="-7.7881619937694702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DF39-4452-A2F8-242C7F698B2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H$2</c:f>
              <c:numCache>
                <c:formatCode>General</c:formatCode>
                <c:ptCount val="8"/>
                <c:pt idx="0">
                  <c:v>39</c:v>
                </c:pt>
                <c:pt idx="1">
                  <c:v>34</c:v>
                </c:pt>
                <c:pt idx="2">
                  <c:v>42</c:v>
                </c:pt>
                <c:pt idx="3">
                  <c:v>37</c:v>
                </c:pt>
                <c:pt idx="4">
                  <c:v>41</c:v>
                </c:pt>
                <c:pt idx="5">
                  <c:v>33</c:v>
                </c:pt>
                <c:pt idx="6">
                  <c:v>32</c:v>
                </c:pt>
                <c:pt idx="7">
                  <c:v>24</c:v>
                </c:pt>
              </c:numCache>
            </c:numRef>
          </c:val>
          <c:extLst>
            <c:ext xmlns:c16="http://schemas.microsoft.com/office/drawing/2014/chart" uri="{C3380CC4-5D6E-409C-BE32-E72D297353CC}">
              <c16:uniqueId val="{00000011-DF39-4452-A2F8-242C7F698B22}"/>
            </c:ext>
          </c:extLst>
        </c:ser>
        <c:ser>
          <c:idx val="2"/>
          <c:order val="2"/>
          <c:spPr>
            <a:solidFill>
              <a:schemeClr val="accent3"/>
            </a:solidFill>
            <a:ln>
              <a:noFill/>
            </a:ln>
          </c:spPr>
          <c:invertIfNegative val="0"/>
          <c:dPt>
            <c:idx val="7"/>
            <c:invertIfNegative val="0"/>
            <c:bubble3D val="0"/>
            <c:spPr>
              <a:solidFill>
                <a:srgbClr val="009B7A"/>
              </a:solidFill>
              <a:ln>
                <a:noFill/>
              </a:ln>
            </c:spPr>
            <c:extLst>
              <c:ext xmlns:c16="http://schemas.microsoft.com/office/drawing/2014/chart" uri="{C3380CC4-5D6E-409C-BE32-E72D297353CC}">
                <c16:uniqueId val="{00000012-DF39-4452-A2F8-242C7F698B22}"/>
              </c:ext>
            </c:extLst>
          </c:dPt>
          <c:dLbls>
            <c:dLbl>
              <c:idx val="0"/>
              <c:layout>
                <c:manualLayout>
                  <c:x val="0"/>
                  <c:y val="-3.8940809968847351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DF39-4452-A2F8-242C7F698B22}"/>
                </c:ext>
              </c:extLst>
            </c:dLbl>
            <c:dLbl>
              <c:idx val="1"/>
              <c:layout>
                <c:manualLayout>
                  <c:x val="0"/>
                  <c:y val="-3.8940809968847351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DF39-4452-A2F8-242C7F698B22}"/>
                </c:ext>
              </c:extLst>
            </c:dLbl>
            <c:dLbl>
              <c:idx val="2"/>
              <c:layout>
                <c:manualLayout>
                  <c:x val="0"/>
                  <c:y val="-7.7881619937694702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DF39-4452-A2F8-242C7F698B22}"/>
                </c:ext>
              </c:extLst>
            </c:dLbl>
            <c:dLbl>
              <c:idx val="3"/>
              <c:layout>
                <c:manualLayout>
                  <c:x val="0"/>
                  <c:y val="-7.7881619937694702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DF39-4452-A2F8-242C7F698B22}"/>
                </c:ext>
              </c:extLst>
            </c:dLbl>
            <c:dLbl>
              <c:idx val="4"/>
              <c:layout>
                <c:manualLayout>
                  <c:x val="0"/>
                  <c:y val="-7.7881619937694702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DF39-4452-A2F8-242C7F698B22}"/>
                </c:ext>
              </c:extLst>
            </c:dLbl>
            <c:dLbl>
              <c:idx val="5"/>
              <c:layout>
                <c:manualLayout>
                  <c:x val="0"/>
                  <c:y val="-3.8940809968847351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DF39-4452-A2F8-242C7F698B22}"/>
                </c:ext>
              </c:extLst>
            </c:dLbl>
            <c:dLbl>
              <c:idx val="6"/>
              <c:layout>
                <c:manualLayout>
                  <c:x val="0"/>
                  <c:y val="-3.8940809968847351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DF39-4452-A2F8-242C7F698B22}"/>
                </c:ext>
              </c:extLst>
            </c:dLbl>
            <c:dLbl>
              <c:idx val="7"/>
              <c:layout>
                <c:manualLayout>
                  <c:x val="0"/>
                  <c:y val="-3.8940809968847351E-4"/>
                </c:manualLayout>
              </c:layout>
              <c:numFmt formatCode="#,##0;&quot;-&quot;#,##0" sourceLinked="0"/>
              <c:spPr>
                <a:noFill/>
                <a:ln>
                  <a:noFill/>
                </a:ln>
              </c:spPr>
              <c:txPr>
                <a:bodyPr wrap="none"/>
                <a:lstStyle/>
                <a:p>
                  <a:pPr>
                    <a:defRPr sz="1000" kern="1200">
                      <a:solidFill>
                        <a:schemeClr val="bg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DF39-4452-A2F8-242C7F698B2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H$3</c:f>
              <c:numCache>
                <c:formatCode>General</c:formatCode>
                <c:ptCount val="8"/>
                <c:pt idx="0">
                  <c:v>28</c:v>
                </c:pt>
                <c:pt idx="1">
                  <c:v>27</c:v>
                </c:pt>
                <c:pt idx="2">
                  <c:v>24</c:v>
                </c:pt>
                <c:pt idx="3">
                  <c:v>25</c:v>
                </c:pt>
                <c:pt idx="4">
                  <c:v>24</c:v>
                </c:pt>
                <c:pt idx="5">
                  <c:v>31</c:v>
                </c:pt>
                <c:pt idx="6">
                  <c:v>25</c:v>
                </c:pt>
                <c:pt idx="7">
                  <c:v>46</c:v>
                </c:pt>
              </c:numCache>
            </c:numRef>
          </c:val>
          <c:extLst>
            <c:ext xmlns:c16="http://schemas.microsoft.com/office/drawing/2014/chart" uri="{C3380CC4-5D6E-409C-BE32-E72D297353CC}">
              <c16:uniqueId val="{0000001A-DF39-4452-A2F8-242C7F698B22}"/>
            </c:ext>
          </c:extLst>
        </c:ser>
        <c:ser>
          <c:idx val="3"/>
          <c:order val="3"/>
          <c:spPr>
            <a:solidFill>
              <a:srgbClr val="009B7A"/>
            </a:solidFill>
            <a:ln>
              <a:noFill/>
            </a:ln>
          </c:spPr>
          <c:invertIfNegative val="0"/>
          <c:dPt>
            <c:idx val="7"/>
            <c:invertIfNegative val="0"/>
            <c:bubble3D val="0"/>
            <c:spPr>
              <a:solidFill>
                <a:schemeClr val="accent1"/>
              </a:solidFill>
              <a:ln>
                <a:noFill/>
              </a:ln>
            </c:spPr>
            <c:extLst>
              <c:ext xmlns:c16="http://schemas.microsoft.com/office/drawing/2014/chart" uri="{C3380CC4-5D6E-409C-BE32-E72D297353CC}">
                <c16:uniqueId val="{0000001B-DF39-4452-A2F8-242C7F698B22}"/>
              </c:ext>
            </c:extLst>
          </c:dPt>
          <c:dLbls>
            <c:dLbl>
              <c:idx val="0"/>
              <c:layout>
                <c:manualLayout>
                  <c:x val="0"/>
                  <c:y val="-3.8940809968847351E-4"/>
                </c:manualLayout>
              </c:layout>
              <c:numFmt formatCode="#,##0;&quot;-&quot;#,##0" sourceLinked="0"/>
              <c:spPr>
                <a:noFill/>
                <a:ln>
                  <a:noFill/>
                </a:ln>
              </c:spPr>
              <c:txPr>
                <a:bodyPr wrap="none"/>
                <a:lstStyle/>
                <a:p>
                  <a:pPr>
                    <a:defRPr sz="1000" kern="1200">
                      <a:solidFill>
                        <a:schemeClr val="bg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DF39-4452-A2F8-242C7F698B22}"/>
                </c:ext>
              </c:extLst>
            </c:dLbl>
            <c:dLbl>
              <c:idx val="1"/>
              <c:layout>
                <c:manualLayout>
                  <c:x val="0"/>
                  <c:y val="-3.8940809968847351E-4"/>
                </c:manualLayout>
              </c:layout>
              <c:numFmt formatCode="#,##0;&quot;-&quot;#,##0" sourceLinked="0"/>
              <c:spPr>
                <a:noFill/>
                <a:ln>
                  <a:noFill/>
                </a:ln>
              </c:spPr>
              <c:txPr>
                <a:bodyPr wrap="none"/>
                <a:lstStyle/>
                <a:p>
                  <a:pPr>
                    <a:defRPr sz="1000" kern="1200">
                      <a:solidFill>
                        <a:schemeClr val="bg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DF39-4452-A2F8-242C7F698B22}"/>
                </c:ext>
              </c:extLst>
            </c:dLbl>
            <c:dLbl>
              <c:idx val="2"/>
              <c:layout>
                <c:manualLayout>
                  <c:x val="0"/>
                  <c:y val="-7.7881619937694702E-4"/>
                </c:manualLayout>
              </c:layout>
              <c:numFmt formatCode="#,##0;&quot;-&quot;#,##0" sourceLinked="0"/>
              <c:spPr>
                <a:noFill/>
                <a:ln>
                  <a:noFill/>
                </a:ln>
              </c:spPr>
              <c:txPr>
                <a:bodyPr wrap="none"/>
                <a:lstStyle/>
                <a:p>
                  <a:pPr>
                    <a:defRPr sz="1000" kern="1200">
                      <a:solidFill>
                        <a:schemeClr val="bg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DF39-4452-A2F8-242C7F698B22}"/>
                </c:ext>
              </c:extLst>
            </c:dLbl>
            <c:dLbl>
              <c:idx val="3"/>
              <c:layout>
                <c:manualLayout>
                  <c:x val="0"/>
                  <c:y val="-3.8940809968847351E-4"/>
                </c:manualLayout>
              </c:layout>
              <c:numFmt formatCode="#,##0;&quot;-&quot;#,##0" sourceLinked="0"/>
              <c:spPr>
                <a:noFill/>
                <a:ln>
                  <a:noFill/>
                </a:ln>
              </c:spPr>
              <c:txPr>
                <a:bodyPr wrap="none"/>
                <a:lstStyle/>
                <a:p>
                  <a:pPr>
                    <a:defRPr sz="1000" kern="1200">
                      <a:solidFill>
                        <a:schemeClr val="bg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DF39-4452-A2F8-242C7F698B22}"/>
                </c:ext>
              </c:extLst>
            </c:dLbl>
            <c:dLbl>
              <c:idx val="4"/>
              <c:layout>
                <c:manualLayout>
                  <c:x val="0"/>
                  <c:y val="-3.8940809968847351E-4"/>
                </c:manualLayout>
              </c:layout>
              <c:numFmt formatCode="#,##0;&quot;-&quot;#,##0" sourceLinked="0"/>
              <c:spPr>
                <a:noFill/>
                <a:ln>
                  <a:noFill/>
                </a:ln>
              </c:spPr>
              <c:txPr>
                <a:bodyPr wrap="none"/>
                <a:lstStyle/>
                <a:p>
                  <a:pPr>
                    <a:defRPr sz="1000" kern="1200">
                      <a:solidFill>
                        <a:schemeClr val="bg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DF39-4452-A2F8-242C7F698B22}"/>
                </c:ext>
              </c:extLst>
            </c:dLbl>
            <c:dLbl>
              <c:idx val="5"/>
              <c:layout>
                <c:manualLayout>
                  <c:x val="0"/>
                  <c:y val="-3.8940809968847351E-4"/>
                </c:manualLayout>
              </c:layout>
              <c:numFmt formatCode="#,##0;&quot;-&quot;#,##0" sourceLinked="0"/>
              <c:spPr>
                <a:noFill/>
                <a:ln>
                  <a:noFill/>
                </a:ln>
              </c:spPr>
              <c:txPr>
                <a:bodyPr wrap="none"/>
                <a:lstStyle/>
                <a:p>
                  <a:pPr>
                    <a:defRPr sz="1000" kern="1200">
                      <a:solidFill>
                        <a:schemeClr val="bg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DF39-4452-A2F8-242C7F698B22}"/>
                </c:ext>
              </c:extLst>
            </c:dLbl>
            <c:dLbl>
              <c:idx val="6"/>
              <c:layout>
                <c:manualLayout>
                  <c:x val="0"/>
                  <c:y val="-3.8940809968847351E-4"/>
                </c:manualLayout>
              </c:layout>
              <c:numFmt formatCode="#,##0;&quot;-&quot;#,##0" sourceLinked="0"/>
              <c:spPr>
                <a:noFill/>
                <a:ln>
                  <a:noFill/>
                </a:ln>
              </c:spPr>
              <c:txPr>
                <a:bodyPr wrap="none"/>
                <a:lstStyle/>
                <a:p>
                  <a:pPr>
                    <a:defRPr sz="1000" kern="1200">
                      <a:solidFill>
                        <a:schemeClr val="bg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DF39-4452-A2F8-242C7F698B22}"/>
                </c:ext>
              </c:extLst>
            </c:dLbl>
            <c:dLbl>
              <c:idx val="7"/>
              <c:layout>
                <c:manualLayout>
                  <c:x val="0"/>
                  <c:y val="-3.8940809968847351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DF39-4452-A2F8-242C7F698B2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H$4</c:f>
              <c:numCache>
                <c:formatCode>General</c:formatCode>
                <c:ptCount val="8"/>
                <c:pt idx="0">
                  <c:v>59</c:v>
                </c:pt>
                <c:pt idx="1">
                  <c:v>53</c:v>
                </c:pt>
                <c:pt idx="2">
                  <c:v>51</c:v>
                </c:pt>
                <c:pt idx="3">
                  <c:v>49</c:v>
                </c:pt>
                <c:pt idx="4">
                  <c:v>48</c:v>
                </c:pt>
                <c:pt idx="5">
                  <c:v>44</c:v>
                </c:pt>
                <c:pt idx="6">
                  <c:v>47</c:v>
                </c:pt>
                <c:pt idx="7">
                  <c:v>121</c:v>
                </c:pt>
              </c:numCache>
            </c:numRef>
          </c:val>
          <c:extLst>
            <c:ext xmlns:c16="http://schemas.microsoft.com/office/drawing/2014/chart" uri="{C3380CC4-5D6E-409C-BE32-E72D297353CC}">
              <c16:uniqueId val="{00000023-DF39-4452-A2F8-242C7F698B22}"/>
            </c:ext>
          </c:extLst>
        </c:ser>
        <c:ser>
          <c:idx val="4"/>
          <c:order val="4"/>
          <c:spPr>
            <a:solidFill>
              <a:schemeClr val="accent1"/>
            </a:solidFill>
            <a:ln>
              <a:noFill/>
            </a:ln>
          </c:spPr>
          <c:invertIfNegative val="0"/>
          <c:dLbls>
            <c:dLbl>
              <c:idx val="0"/>
              <c:layout>
                <c:manualLayout>
                  <c:x val="0"/>
                  <c:y val="-7.7881619937694702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DF39-4452-A2F8-242C7F698B22}"/>
                </c:ext>
              </c:extLst>
            </c:dLbl>
            <c:dLbl>
              <c:idx val="1"/>
              <c:layout>
                <c:manualLayout>
                  <c:x val="0"/>
                  <c:y val="-7.7881619937694702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DF39-4452-A2F8-242C7F698B22}"/>
                </c:ext>
              </c:extLst>
            </c:dLbl>
            <c:dLbl>
              <c:idx val="2"/>
              <c:layout>
                <c:manualLayout>
                  <c:x val="0"/>
                  <c:y val="-3.8940809968847351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DF39-4452-A2F8-242C7F698B22}"/>
                </c:ext>
              </c:extLst>
            </c:dLbl>
            <c:dLbl>
              <c:idx val="3"/>
              <c:layout>
                <c:manualLayout>
                  <c:x val="0"/>
                  <c:y val="-3.8940809968847351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DF39-4452-A2F8-242C7F698B22}"/>
                </c:ext>
              </c:extLst>
            </c:dLbl>
            <c:dLbl>
              <c:idx val="4"/>
              <c:layout>
                <c:manualLayout>
                  <c:x val="0"/>
                  <c:y val="-3.8940809968847351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DF39-4452-A2F8-242C7F698B22}"/>
                </c:ext>
              </c:extLst>
            </c:dLbl>
            <c:dLbl>
              <c:idx val="5"/>
              <c:layout>
                <c:manualLayout>
                  <c:x val="0"/>
                  <c:y val="-7.7881619937694702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DF39-4452-A2F8-242C7F698B22}"/>
                </c:ext>
              </c:extLst>
            </c:dLbl>
            <c:dLbl>
              <c:idx val="6"/>
              <c:layout>
                <c:manualLayout>
                  <c:x val="0"/>
                  <c:y val="-3.8940809968847351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DF39-4452-A2F8-242C7F698B2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H$5</c:f>
              <c:numCache>
                <c:formatCode>General</c:formatCode>
                <c:ptCount val="8"/>
                <c:pt idx="0">
                  <c:v>128</c:v>
                </c:pt>
                <c:pt idx="1">
                  <c:v>122</c:v>
                </c:pt>
                <c:pt idx="2">
                  <c:v>123</c:v>
                </c:pt>
                <c:pt idx="3">
                  <c:v>121</c:v>
                </c:pt>
                <c:pt idx="4">
                  <c:v>116</c:v>
                </c:pt>
                <c:pt idx="5">
                  <c:v>127</c:v>
                </c:pt>
                <c:pt idx="6">
                  <c:v>118</c:v>
                </c:pt>
              </c:numCache>
            </c:numRef>
          </c:val>
          <c:extLst>
            <c:ext xmlns:c16="http://schemas.microsoft.com/office/drawing/2014/chart" uri="{C3380CC4-5D6E-409C-BE32-E72D297353CC}">
              <c16:uniqueId val="{0000002B-DF39-4452-A2F8-242C7F698B22}"/>
            </c:ext>
          </c:extLst>
        </c:ser>
        <c:dLbls>
          <c:showLegendKey val="0"/>
          <c:showVal val="0"/>
          <c:showCatName val="0"/>
          <c:showSerName val="0"/>
          <c:showPercent val="0"/>
          <c:showBubbleSize val="0"/>
        </c:dLbls>
        <c:gapWidth val="80"/>
        <c:overlap val="100"/>
        <c:axId val="1428506496"/>
        <c:axId val="1"/>
      </c:barChart>
      <c:barChart>
        <c:barDir val="col"/>
        <c:grouping val="clustered"/>
        <c:varyColors val="0"/>
        <c:ser>
          <c:idx val="5"/>
          <c:order val="5"/>
          <c:invertIfNegative val="0"/>
          <c:extLst>
            <c:ext xmlns:c16="http://schemas.microsoft.com/office/drawing/2014/chart" uri="{C3380CC4-5D6E-409C-BE32-E72D297353CC}">
              <c16:uniqueId val="{0000002C-DF39-4452-A2F8-242C7F698B22}"/>
            </c:ext>
          </c:extLst>
        </c:ser>
        <c:dLbls>
          <c:showLegendKey val="0"/>
          <c:showVal val="0"/>
          <c:showCatName val="0"/>
          <c:showSerName val="0"/>
          <c:showPercent val="0"/>
          <c:showBubbleSize val="0"/>
        </c:dLbls>
        <c:gapWidth val="150"/>
        <c:axId val="2"/>
        <c:axId val="3"/>
      </c:barChart>
      <c:catAx>
        <c:axId val="142850649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00"/>
          <c:min val="0"/>
        </c:scaling>
        <c:delete val="0"/>
        <c:axPos val="l"/>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1428506496"/>
        <c:crosses val="min"/>
        <c:crossBetween val="between"/>
      </c:valAx>
      <c:catAx>
        <c:axId val="2"/>
        <c:scaling>
          <c:orientation val="minMax"/>
        </c:scaling>
        <c:delete val="1"/>
        <c:axPos val="b"/>
        <c:majorGridlines>
          <c:spPr>
            <a:ln>
              <a:noFill/>
            </a:ln>
          </c:spPr>
        </c:majorGridlines>
        <c:majorTickMark val="none"/>
        <c:minorTickMark val="none"/>
        <c:tickLblPos val="none"/>
        <c:crossAx val="3"/>
        <c:crosses val="min"/>
        <c:auto val="0"/>
        <c:lblAlgn val="ctr"/>
        <c:lblOffset val="100"/>
        <c:noMultiLvlLbl val="0"/>
      </c:catAx>
      <c:valAx>
        <c:axId val="3"/>
        <c:scaling>
          <c:orientation val="minMax"/>
          <c:max val="0"/>
          <c:min val="-11"/>
        </c:scaling>
        <c:delete val="0"/>
        <c:axPos val="r"/>
        <c:majorGridlines>
          <c:spPr>
            <a:ln>
              <a:noFill/>
            </a:ln>
          </c:spPr>
        </c:majorGridlines>
        <c:majorTickMark val="none"/>
        <c:minorTickMark val="none"/>
        <c:tickLblPos val="none"/>
        <c:spPr>
          <a:ln w="9525" cmpd="sng" algn="ctr">
            <a:solidFill>
              <a:schemeClr val="bg1"/>
            </a:solidFill>
            <a:prstDash val="solid"/>
          </a:ln>
        </c:spPr>
        <c:crossAx val="2"/>
        <c:crosses val="max"/>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Eng Visits BUD</c:v>
                </c:pt>
              </c:strCache>
            </c:strRef>
          </c:tx>
          <c:spPr>
            <a:solidFill>
              <a:schemeClr val="accent1"/>
            </a:solidFill>
            <a:ln>
              <a:noFill/>
            </a:ln>
            <a:effectLst/>
          </c:spPr>
          <c:invertIfNegative val="0"/>
          <c:dLbls>
            <c:dLbl>
              <c:idx val="0"/>
              <c:tx>
                <c:rich>
                  <a:bodyPr/>
                  <a:lstStyle/>
                  <a:p>
                    <a:fld id="{BFBFB52D-513D-451E-B742-2E5455B750DF}" type="VALUE">
                      <a:rPr lang="en-US" sz="900"/>
                      <a:pPr/>
                      <a:t>[VALUE]</a:t>
                    </a:fld>
                    <a:endParaRPr 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BA97-4843-9704-03BB8196D358}"/>
                </c:ext>
              </c:extLst>
            </c:dLbl>
            <c:dLbl>
              <c:idx val="1"/>
              <c:tx>
                <c:rich>
                  <a:bodyPr/>
                  <a:lstStyle/>
                  <a:p>
                    <a:fld id="{F48A63BE-B182-4996-856B-6D780A795464}" type="VALUE">
                      <a:rPr lang="en-US" sz="1000"/>
                      <a:pPr/>
                      <a:t>[VALUE]</a:t>
                    </a:fld>
                    <a:endParaRPr 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BA97-4843-9704-03BB8196D358}"/>
                </c:ext>
              </c:extLst>
            </c:dLbl>
            <c:dLbl>
              <c:idx val="2"/>
              <c:tx>
                <c:rich>
                  <a:bodyPr/>
                  <a:lstStyle/>
                  <a:p>
                    <a:fld id="{28557D39-AF3B-44D1-869B-6B905FEA0A59}" type="VALUE">
                      <a:rPr lang="en-US" sz="900"/>
                      <a:pPr/>
                      <a:t>[VALUE]</a:t>
                    </a:fld>
                    <a:endParaRPr 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BA97-4843-9704-03BB8196D358}"/>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mmm\-yy</c:formatCode>
                <c:ptCount val="4"/>
                <c:pt idx="0">
                  <c:v>45292</c:v>
                </c:pt>
                <c:pt idx="1">
                  <c:v>45323</c:v>
                </c:pt>
                <c:pt idx="2">
                  <c:v>45352</c:v>
                </c:pt>
                <c:pt idx="3">
                  <c:v>45383</c:v>
                </c:pt>
              </c:numCache>
            </c:numRef>
          </c:cat>
          <c:val>
            <c:numRef>
              <c:f>Sheet1!$B$2:$B$5</c:f>
              <c:numCache>
                <c:formatCode>#,##0</c:formatCode>
                <c:ptCount val="4"/>
                <c:pt idx="0">
                  <c:v>1269</c:v>
                </c:pt>
                <c:pt idx="1">
                  <c:v>1116</c:v>
                </c:pt>
                <c:pt idx="2">
                  <c:v>1140</c:v>
                </c:pt>
                <c:pt idx="3">
                  <c:v>1104</c:v>
                </c:pt>
              </c:numCache>
            </c:numRef>
          </c:val>
          <c:extLst>
            <c:ext xmlns:c16="http://schemas.microsoft.com/office/drawing/2014/chart" uri="{C3380CC4-5D6E-409C-BE32-E72D297353CC}">
              <c16:uniqueId val="{00000003-BA97-4843-9704-03BB8196D358}"/>
            </c:ext>
          </c:extLst>
        </c:ser>
        <c:ser>
          <c:idx val="1"/>
          <c:order val="1"/>
          <c:tx>
            <c:strRef>
              <c:f>Sheet1!$C$1</c:f>
              <c:strCache>
                <c:ptCount val="1"/>
                <c:pt idx="0">
                  <c:v>Eng Visits ACT</c:v>
                </c:pt>
              </c:strCache>
            </c:strRef>
          </c:tx>
          <c:spPr>
            <a:solidFill>
              <a:schemeClr val="accent2"/>
            </a:solidFill>
            <a:ln>
              <a:noFill/>
            </a:ln>
            <a:effectLst/>
          </c:spPr>
          <c:invertIfNegative val="0"/>
          <c:dLbls>
            <c:dLbl>
              <c:idx val="1"/>
              <c:tx>
                <c:rich>
                  <a:bodyPr/>
                  <a:lstStyle/>
                  <a:p>
                    <a:fld id="{8BDA2799-3EF2-4765-8BDB-52E51DB8C816}" type="VALUE">
                      <a:rPr lang="en-US" sz="900"/>
                      <a:pPr/>
                      <a:t>[VALUE]</a:t>
                    </a:fld>
                    <a:endParaRPr 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BA97-4843-9704-03BB8196D358}"/>
                </c:ext>
              </c:extLst>
            </c:dLbl>
            <c:dLbl>
              <c:idx val="2"/>
              <c:tx>
                <c:rich>
                  <a:bodyPr/>
                  <a:lstStyle/>
                  <a:p>
                    <a:fld id="{E79F85B3-0EC9-4633-9066-F1F0665E933D}" type="VALUE">
                      <a:rPr lang="en-US" sz="900"/>
                      <a:pPr/>
                      <a:t>[VALUE]</a:t>
                    </a:fld>
                    <a:endParaRPr 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BA97-4843-9704-03BB8196D358}"/>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mmm\-yy</c:formatCode>
                <c:ptCount val="4"/>
                <c:pt idx="0">
                  <c:v>45292</c:v>
                </c:pt>
                <c:pt idx="1">
                  <c:v>45323</c:v>
                </c:pt>
                <c:pt idx="2">
                  <c:v>45352</c:v>
                </c:pt>
                <c:pt idx="3">
                  <c:v>45383</c:v>
                </c:pt>
              </c:numCache>
            </c:numRef>
          </c:cat>
          <c:val>
            <c:numRef>
              <c:f>Sheet1!$C$2:$C$5</c:f>
              <c:numCache>
                <c:formatCode>#,##0</c:formatCode>
                <c:ptCount val="4"/>
                <c:pt idx="0">
                  <c:v>1269</c:v>
                </c:pt>
                <c:pt idx="1">
                  <c:v>1116</c:v>
                </c:pt>
                <c:pt idx="2">
                  <c:v>1305</c:v>
                </c:pt>
                <c:pt idx="3">
                  <c:v>1109</c:v>
                </c:pt>
              </c:numCache>
            </c:numRef>
          </c:val>
          <c:extLst>
            <c:ext xmlns:c16="http://schemas.microsoft.com/office/drawing/2014/chart" uri="{C3380CC4-5D6E-409C-BE32-E72D297353CC}">
              <c16:uniqueId val="{00000007-BA97-4843-9704-03BB8196D358}"/>
            </c:ext>
          </c:extLst>
        </c:ser>
        <c:dLbls>
          <c:showLegendKey val="0"/>
          <c:showVal val="0"/>
          <c:showCatName val="0"/>
          <c:showSerName val="0"/>
          <c:showPercent val="0"/>
          <c:showBubbleSize val="0"/>
        </c:dLbls>
        <c:gapWidth val="80"/>
        <c:axId val="1841378032"/>
        <c:axId val="388443616"/>
      </c:barChart>
      <c:dateAx>
        <c:axId val="1841378032"/>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88443616"/>
        <c:crosses val="autoZero"/>
        <c:auto val="1"/>
        <c:lblOffset val="100"/>
        <c:baseTimeUnit val="months"/>
      </c:dateAx>
      <c:valAx>
        <c:axId val="388443616"/>
        <c:scaling>
          <c:orientation val="minMax"/>
          <c:min val="0"/>
        </c:scaling>
        <c:delete val="1"/>
        <c:axPos val="l"/>
        <c:numFmt formatCode="#,##0" sourceLinked="1"/>
        <c:majorTickMark val="none"/>
        <c:minorTickMark val="none"/>
        <c:tickLblPos val="nextTo"/>
        <c:crossAx val="184137803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7415512877772813E-3"/>
          <c:y val="8.7018544935805991E-2"/>
          <c:w val="0.98451689742444548"/>
          <c:h val="0.86233951497860195"/>
        </c:manualLayout>
      </c:layout>
      <c:barChart>
        <c:barDir val="col"/>
        <c:grouping val="stacked"/>
        <c:varyColors val="0"/>
        <c:ser>
          <c:idx val="0"/>
          <c:order val="0"/>
          <c:spPr>
            <a:solidFill>
              <a:srgbClr val="4C6C9C"/>
            </a:solidFill>
            <a:ln>
              <a:noFill/>
            </a:ln>
          </c:spPr>
          <c:invertIfNegative val="0"/>
          <c:dLbls>
            <c:dLbl>
              <c:idx val="0"/>
              <c:layout>
                <c:manualLayout>
                  <c:x val="0"/>
                  <c:y val="-1.4265335235378032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EA2-42D1-ABF2-D14197B49E37}"/>
                </c:ext>
              </c:extLst>
            </c:dLbl>
            <c:dLbl>
              <c:idx val="1"/>
              <c:layout>
                <c:manualLayout>
                  <c:x val="0"/>
                  <c:y val="-1.0699001426533524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EA2-42D1-ABF2-D14197B49E37}"/>
                </c:ext>
              </c:extLst>
            </c:dLbl>
            <c:dLbl>
              <c:idx val="2"/>
              <c:layout>
                <c:manualLayout>
                  <c:x val="0"/>
                  <c:y val="-1.0699001426533524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EA2-42D1-ABF2-D14197B49E37}"/>
                </c:ext>
              </c:extLst>
            </c:dLbl>
            <c:dLbl>
              <c:idx val="3"/>
              <c:layout>
                <c:manualLayout>
                  <c:x val="0"/>
                  <c:y val="-1.0699001426533524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EA2-42D1-ABF2-D14197B49E37}"/>
                </c:ext>
              </c:extLst>
            </c:dLbl>
            <c:dLbl>
              <c:idx val="4"/>
              <c:layout>
                <c:manualLayout>
                  <c:x val="0"/>
                  <c:y val="-1.4265335235378032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EA2-42D1-ABF2-D14197B49E37}"/>
                </c:ext>
              </c:extLst>
            </c:dLbl>
            <c:dLbl>
              <c:idx val="5"/>
              <c:layout>
                <c:manualLayout>
                  <c:x val="0"/>
                  <c:y val="-1.0699001426533524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EA2-42D1-ABF2-D14197B49E37}"/>
                </c:ext>
              </c:extLst>
            </c:dLbl>
            <c:dLbl>
              <c:idx val="6"/>
              <c:layout>
                <c:manualLayout>
                  <c:x val="0"/>
                  <c:y val="-1.0699001426533524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EA2-42D1-ABF2-D14197B49E37}"/>
                </c:ext>
              </c:extLst>
            </c:dLbl>
            <c:dLbl>
              <c:idx val="7"/>
              <c:layout>
                <c:manualLayout>
                  <c:x val="0"/>
                  <c:y val="-1.4265335235378032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EA2-42D1-ABF2-D14197B49E37}"/>
                </c:ext>
              </c:extLst>
            </c:dLbl>
            <c:dLbl>
              <c:idx val="8"/>
              <c:layout>
                <c:manualLayout>
                  <c:x val="0"/>
                  <c:y val="-1.0699001426533524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EA2-42D1-ABF2-D14197B49E37}"/>
                </c:ext>
              </c:extLst>
            </c:dLbl>
            <c:dLbl>
              <c:idx val="9"/>
              <c:layout>
                <c:manualLayout>
                  <c:x val="0"/>
                  <c:y val="-1.0699001426533524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EA2-42D1-ABF2-D14197B49E37}"/>
                </c:ext>
              </c:extLst>
            </c:dLbl>
            <c:dLbl>
              <c:idx val="10"/>
              <c:layout>
                <c:manualLayout>
                  <c:x val="0"/>
                  <c:y val="-1.0699001426533524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6EA2-42D1-ABF2-D14197B49E37}"/>
                </c:ext>
              </c:extLst>
            </c:dLbl>
            <c:dLbl>
              <c:idx val="11"/>
              <c:layout>
                <c:manualLayout>
                  <c:x val="0"/>
                  <c:y val="-1.0699001426533524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6EA2-42D1-ABF2-D14197B49E37}"/>
                </c:ext>
              </c:extLst>
            </c:dLbl>
            <c:dLbl>
              <c:idx val="12"/>
              <c:layout>
                <c:manualLayout>
                  <c:x val="0"/>
                  <c:y val="-1.0699001426533524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6EA2-42D1-ABF2-D14197B49E3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M$1</c:f>
              <c:numCache>
                <c:formatCode>General</c:formatCode>
                <c:ptCount val="13"/>
                <c:pt idx="0">
                  <c:v>8405</c:v>
                </c:pt>
                <c:pt idx="1">
                  <c:v>9037</c:v>
                </c:pt>
                <c:pt idx="2">
                  <c:v>7284</c:v>
                </c:pt>
                <c:pt idx="3">
                  <c:v>8879</c:v>
                </c:pt>
                <c:pt idx="4">
                  <c:v>14482</c:v>
                </c:pt>
                <c:pt idx="5">
                  <c:v>17416</c:v>
                </c:pt>
                <c:pt idx="6">
                  <c:v>16099</c:v>
                </c:pt>
                <c:pt idx="7">
                  <c:v>14959</c:v>
                </c:pt>
                <c:pt idx="8">
                  <c:v>23204</c:v>
                </c:pt>
                <c:pt idx="9">
                  <c:v>17956</c:v>
                </c:pt>
                <c:pt idx="10">
                  <c:v>16359</c:v>
                </c:pt>
                <c:pt idx="11">
                  <c:v>17596</c:v>
                </c:pt>
                <c:pt idx="12">
                  <c:v>15874.585088962865</c:v>
                </c:pt>
              </c:numCache>
            </c:numRef>
          </c:val>
          <c:extLst>
            <c:ext xmlns:c16="http://schemas.microsoft.com/office/drawing/2014/chart" uri="{C3380CC4-5D6E-409C-BE32-E72D297353CC}">
              <c16:uniqueId val="{0000000D-6EA2-42D1-ABF2-D14197B49E37}"/>
            </c:ext>
          </c:extLst>
        </c:ser>
        <c:ser>
          <c:idx val="1"/>
          <c:order val="1"/>
          <c:spPr>
            <a:solidFill>
              <a:schemeClr val="accent2"/>
            </a:solidFill>
            <a:ln>
              <a:noFill/>
            </a:ln>
          </c:spPr>
          <c:invertIfNegative val="0"/>
          <c:dLbls>
            <c:dLbl>
              <c:idx val="0"/>
              <c:layout>
                <c:manualLayout>
                  <c:x val="0"/>
                  <c:y val="-1.4265335235378032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6EA2-42D1-ABF2-D14197B49E37}"/>
                </c:ext>
              </c:extLst>
            </c:dLbl>
            <c:dLbl>
              <c:idx val="1"/>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6EA2-42D1-ABF2-D14197B49E37}"/>
                </c:ext>
              </c:extLst>
            </c:dLbl>
            <c:dLbl>
              <c:idx val="2"/>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6EA2-42D1-ABF2-D14197B49E37}"/>
                </c:ext>
              </c:extLst>
            </c:dLbl>
            <c:dLbl>
              <c:idx val="3"/>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6EA2-42D1-ABF2-D14197B49E37}"/>
                </c:ext>
              </c:extLst>
            </c:dLbl>
            <c:dLbl>
              <c:idx val="4"/>
              <c:layout>
                <c:manualLayout>
                  <c:x val="0"/>
                  <c:y val="-1.4265335235378032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6EA2-42D1-ABF2-D14197B49E37}"/>
                </c:ext>
              </c:extLst>
            </c:dLbl>
            <c:dLbl>
              <c:idx val="5"/>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6EA2-42D1-ABF2-D14197B49E37}"/>
                </c:ext>
              </c:extLst>
            </c:dLbl>
            <c:dLbl>
              <c:idx val="6"/>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6EA2-42D1-ABF2-D14197B49E37}"/>
                </c:ext>
              </c:extLst>
            </c:dLbl>
            <c:dLbl>
              <c:idx val="7"/>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6EA2-42D1-ABF2-D14197B49E37}"/>
                </c:ext>
              </c:extLst>
            </c:dLbl>
            <c:dLbl>
              <c:idx val="8"/>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6EA2-42D1-ABF2-D14197B49E37}"/>
                </c:ext>
              </c:extLst>
            </c:dLbl>
            <c:dLbl>
              <c:idx val="9"/>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6EA2-42D1-ABF2-D14197B49E37}"/>
                </c:ext>
              </c:extLst>
            </c:dLbl>
            <c:dLbl>
              <c:idx val="10"/>
              <c:layout>
                <c:manualLayout>
                  <c:x val="0"/>
                  <c:y val="-1.4265335235378032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6EA2-42D1-ABF2-D14197B49E37}"/>
                </c:ext>
              </c:extLst>
            </c:dLbl>
            <c:dLbl>
              <c:idx val="11"/>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6EA2-42D1-ABF2-D14197B49E37}"/>
                </c:ext>
              </c:extLst>
            </c:dLbl>
            <c:dLbl>
              <c:idx val="12"/>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6EA2-42D1-ABF2-D14197B49E3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M$2</c:f>
              <c:numCache>
                <c:formatCode>General</c:formatCode>
                <c:ptCount val="13"/>
                <c:pt idx="0">
                  <c:v>46660</c:v>
                </c:pt>
                <c:pt idx="1">
                  <c:v>48386</c:v>
                </c:pt>
                <c:pt idx="2">
                  <c:v>39723</c:v>
                </c:pt>
                <c:pt idx="3">
                  <c:v>47124</c:v>
                </c:pt>
                <c:pt idx="4">
                  <c:v>58900</c:v>
                </c:pt>
                <c:pt idx="5">
                  <c:v>48553</c:v>
                </c:pt>
                <c:pt idx="6">
                  <c:v>41310</c:v>
                </c:pt>
                <c:pt idx="7">
                  <c:v>38794</c:v>
                </c:pt>
                <c:pt idx="8">
                  <c:v>36491</c:v>
                </c:pt>
                <c:pt idx="9">
                  <c:v>31934</c:v>
                </c:pt>
                <c:pt idx="10">
                  <c:v>46547</c:v>
                </c:pt>
                <c:pt idx="11">
                  <c:v>42491</c:v>
                </c:pt>
                <c:pt idx="12">
                  <c:v>43733.757743141905</c:v>
                </c:pt>
              </c:numCache>
            </c:numRef>
          </c:val>
          <c:extLst>
            <c:ext xmlns:c16="http://schemas.microsoft.com/office/drawing/2014/chart" uri="{C3380CC4-5D6E-409C-BE32-E72D297353CC}">
              <c16:uniqueId val="{0000001B-6EA2-42D1-ABF2-D14197B49E37}"/>
            </c:ext>
          </c:extLst>
        </c:ser>
        <c:ser>
          <c:idx val="2"/>
          <c:order val="2"/>
          <c:spPr>
            <a:solidFill>
              <a:schemeClr val="accent3"/>
            </a:solidFill>
            <a:ln>
              <a:noFill/>
            </a:ln>
          </c:spPr>
          <c:invertIfNegative val="0"/>
          <c:val>
            <c:numRef>
              <c:f>Sheet1!$A$3:$M$3</c:f>
              <c:numCache>
                <c:formatCode>General</c:formatCode>
                <c:ptCount val="13"/>
                <c:pt idx="0">
                  <c:v>1832</c:v>
                </c:pt>
                <c:pt idx="1">
                  <c:v>1938</c:v>
                </c:pt>
                <c:pt idx="2">
                  <c:v>2012</c:v>
                </c:pt>
                <c:pt idx="3">
                  <c:v>2190</c:v>
                </c:pt>
                <c:pt idx="4">
                  <c:v>2670</c:v>
                </c:pt>
                <c:pt idx="5">
                  <c:v>2345</c:v>
                </c:pt>
                <c:pt idx="6">
                  <c:v>2125</c:v>
                </c:pt>
                <c:pt idx="7">
                  <c:v>2092</c:v>
                </c:pt>
                <c:pt idx="8">
                  <c:v>1589</c:v>
                </c:pt>
                <c:pt idx="9">
                  <c:v>1352</c:v>
                </c:pt>
                <c:pt idx="10">
                  <c:v>1592</c:v>
                </c:pt>
                <c:pt idx="11">
                  <c:v>2164</c:v>
                </c:pt>
                <c:pt idx="12">
                  <c:v>1875.5738503932953</c:v>
                </c:pt>
              </c:numCache>
            </c:numRef>
          </c:val>
          <c:extLst>
            <c:ext xmlns:c16="http://schemas.microsoft.com/office/drawing/2014/chart" uri="{C3380CC4-5D6E-409C-BE32-E72D297353CC}">
              <c16:uniqueId val="{0000001C-6EA2-42D1-ABF2-D14197B49E37}"/>
            </c:ext>
          </c:extLst>
        </c:ser>
        <c:ser>
          <c:idx val="3"/>
          <c:order val="3"/>
          <c:spPr>
            <a:solidFill>
              <a:schemeClr val="accent4"/>
            </a:solidFill>
            <a:ln>
              <a:noFill/>
            </a:ln>
          </c:spPr>
          <c:invertIfNegative val="0"/>
          <c:dLbls>
            <c:dLbl>
              <c:idx val="0"/>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6EA2-42D1-ABF2-D14197B49E37}"/>
                </c:ext>
              </c:extLst>
            </c:dLbl>
            <c:dLbl>
              <c:idx val="1"/>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6EA2-42D1-ABF2-D14197B49E37}"/>
                </c:ext>
              </c:extLst>
            </c:dLbl>
            <c:dLbl>
              <c:idx val="2"/>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6EA2-42D1-ABF2-D14197B49E37}"/>
                </c:ext>
              </c:extLst>
            </c:dLbl>
            <c:dLbl>
              <c:idx val="3"/>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6EA2-42D1-ABF2-D14197B49E37}"/>
                </c:ext>
              </c:extLst>
            </c:dLbl>
            <c:dLbl>
              <c:idx val="4"/>
              <c:layout>
                <c:manualLayout>
                  <c:x val="0"/>
                  <c:y val="-1.4265335235378032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6EA2-42D1-ABF2-D14197B49E37}"/>
                </c:ext>
              </c:extLst>
            </c:dLbl>
            <c:dLbl>
              <c:idx val="5"/>
              <c:layout>
                <c:manualLayout>
                  <c:x val="0"/>
                  <c:y val="-1.4265335235378032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6EA2-42D1-ABF2-D14197B49E37}"/>
                </c:ext>
              </c:extLst>
            </c:dLbl>
            <c:dLbl>
              <c:idx val="6"/>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6EA2-42D1-ABF2-D14197B49E37}"/>
                </c:ext>
              </c:extLst>
            </c:dLbl>
            <c:dLbl>
              <c:idx val="7"/>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6EA2-42D1-ABF2-D14197B49E37}"/>
                </c:ext>
              </c:extLst>
            </c:dLbl>
            <c:dLbl>
              <c:idx val="8"/>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6EA2-42D1-ABF2-D14197B49E37}"/>
                </c:ext>
              </c:extLst>
            </c:dLbl>
            <c:dLbl>
              <c:idx val="9"/>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6EA2-42D1-ABF2-D14197B49E37}"/>
                </c:ext>
              </c:extLst>
            </c:dLbl>
            <c:dLbl>
              <c:idx val="10"/>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6EA2-42D1-ABF2-D14197B49E37}"/>
                </c:ext>
              </c:extLst>
            </c:dLbl>
            <c:dLbl>
              <c:idx val="11"/>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6EA2-42D1-ABF2-D14197B49E37}"/>
                </c:ext>
              </c:extLst>
            </c:dLbl>
            <c:dLbl>
              <c:idx val="12"/>
              <c:layout>
                <c:manualLayout>
                  <c:x val="0"/>
                  <c:y val="-1.4265335235378032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6EA2-42D1-ABF2-D14197B49E3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M$4</c:f>
              <c:numCache>
                <c:formatCode>General</c:formatCode>
                <c:ptCount val="13"/>
                <c:pt idx="0">
                  <c:v>6365</c:v>
                </c:pt>
                <c:pt idx="1">
                  <c:v>7203</c:v>
                </c:pt>
                <c:pt idx="2">
                  <c:v>6487</c:v>
                </c:pt>
                <c:pt idx="3">
                  <c:v>5693</c:v>
                </c:pt>
                <c:pt idx="4">
                  <c:v>8420</c:v>
                </c:pt>
                <c:pt idx="5">
                  <c:v>9170</c:v>
                </c:pt>
                <c:pt idx="6">
                  <c:v>8312</c:v>
                </c:pt>
                <c:pt idx="7">
                  <c:v>8569</c:v>
                </c:pt>
                <c:pt idx="8">
                  <c:v>9966</c:v>
                </c:pt>
                <c:pt idx="9">
                  <c:v>7966</c:v>
                </c:pt>
                <c:pt idx="10">
                  <c:v>8623</c:v>
                </c:pt>
                <c:pt idx="11">
                  <c:v>8389</c:v>
                </c:pt>
                <c:pt idx="12">
                  <c:v>7970.941350590103</c:v>
                </c:pt>
              </c:numCache>
            </c:numRef>
          </c:val>
          <c:extLst>
            <c:ext xmlns:c16="http://schemas.microsoft.com/office/drawing/2014/chart" uri="{C3380CC4-5D6E-409C-BE32-E72D297353CC}">
              <c16:uniqueId val="{0000002A-6EA2-42D1-ABF2-D14197B49E37}"/>
            </c:ext>
          </c:extLst>
        </c:ser>
        <c:ser>
          <c:idx val="4"/>
          <c:order val="4"/>
          <c:spPr>
            <a:solidFill>
              <a:schemeClr val="accent5"/>
            </a:solidFill>
            <a:ln>
              <a:noFill/>
            </a:ln>
          </c:spPr>
          <c:invertIfNegative val="0"/>
          <c:dLbls>
            <c:dLbl>
              <c:idx val="0"/>
              <c:layout>
                <c:manualLayout>
                  <c:x val="0"/>
                  <c:y val="-1.4265335235378032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6EA2-42D1-ABF2-D14197B49E37}"/>
                </c:ext>
              </c:extLst>
            </c:dLbl>
            <c:dLbl>
              <c:idx val="1"/>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6EA2-42D1-ABF2-D14197B49E37}"/>
                </c:ext>
              </c:extLst>
            </c:dLbl>
            <c:dLbl>
              <c:idx val="2"/>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D-6EA2-42D1-ABF2-D14197B49E37}"/>
                </c:ext>
              </c:extLst>
            </c:dLbl>
            <c:dLbl>
              <c:idx val="3"/>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E-6EA2-42D1-ABF2-D14197B49E37}"/>
                </c:ext>
              </c:extLst>
            </c:dLbl>
            <c:dLbl>
              <c:idx val="4"/>
              <c:layout>
                <c:manualLayout>
                  <c:x val="0"/>
                  <c:y val="-1.4265335235378032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F-6EA2-42D1-ABF2-D14197B49E37}"/>
                </c:ext>
              </c:extLst>
            </c:dLbl>
            <c:dLbl>
              <c:idx val="5"/>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0-6EA2-42D1-ABF2-D14197B49E37}"/>
                </c:ext>
              </c:extLst>
            </c:dLbl>
            <c:dLbl>
              <c:idx val="6"/>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1-6EA2-42D1-ABF2-D14197B49E37}"/>
                </c:ext>
              </c:extLst>
            </c:dLbl>
            <c:dLbl>
              <c:idx val="7"/>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2-6EA2-42D1-ABF2-D14197B49E37}"/>
                </c:ext>
              </c:extLst>
            </c:dLbl>
            <c:dLbl>
              <c:idx val="8"/>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3-6EA2-42D1-ABF2-D14197B49E37}"/>
                </c:ext>
              </c:extLst>
            </c:dLbl>
            <c:dLbl>
              <c:idx val="9"/>
              <c:layout>
                <c:manualLayout>
                  <c:x val="0"/>
                  <c:y val="-1.4265335235378032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4-6EA2-42D1-ABF2-D14197B49E37}"/>
                </c:ext>
              </c:extLst>
            </c:dLbl>
            <c:dLbl>
              <c:idx val="10"/>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5-6EA2-42D1-ABF2-D14197B49E37}"/>
                </c:ext>
              </c:extLst>
            </c:dLbl>
            <c:dLbl>
              <c:idx val="11"/>
              <c:layout>
                <c:manualLayout>
                  <c:x val="0"/>
                  <c:y val="-1.4265335235378032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6-6EA2-42D1-ABF2-D14197B49E37}"/>
                </c:ext>
              </c:extLst>
            </c:dLbl>
            <c:dLbl>
              <c:idx val="12"/>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7-6EA2-42D1-ABF2-D14197B49E3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M$5</c:f>
              <c:numCache>
                <c:formatCode>General</c:formatCode>
                <c:ptCount val="13"/>
                <c:pt idx="0">
                  <c:v>17508</c:v>
                </c:pt>
                <c:pt idx="1">
                  <c:v>17431</c:v>
                </c:pt>
                <c:pt idx="2">
                  <c:v>23842</c:v>
                </c:pt>
                <c:pt idx="3">
                  <c:v>39289</c:v>
                </c:pt>
                <c:pt idx="4">
                  <c:v>25422</c:v>
                </c:pt>
                <c:pt idx="5">
                  <c:v>25870</c:v>
                </c:pt>
                <c:pt idx="6">
                  <c:v>23784</c:v>
                </c:pt>
                <c:pt idx="7">
                  <c:v>19454</c:v>
                </c:pt>
                <c:pt idx="8">
                  <c:v>19604</c:v>
                </c:pt>
                <c:pt idx="9">
                  <c:v>15798</c:v>
                </c:pt>
                <c:pt idx="10">
                  <c:v>16723</c:v>
                </c:pt>
                <c:pt idx="11">
                  <c:v>20908</c:v>
                </c:pt>
                <c:pt idx="12">
                  <c:v>22596.671709697359</c:v>
                </c:pt>
              </c:numCache>
            </c:numRef>
          </c:val>
          <c:extLst>
            <c:ext xmlns:c16="http://schemas.microsoft.com/office/drawing/2014/chart" uri="{C3380CC4-5D6E-409C-BE32-E72D297353CC}">
              <c16:uniqueId val="{00000038-6EA2-42D1-ABF2-D14197B49E37}"/>
            </c:ext>
          </c:extLst>
        </c:ser>
        <c:ser>
          <c:idx val="5"/>
          <c:order val="5"/>
          <c:spPr>
            <a:solidFill>
              <a:schemeClr val="accent6"/>
            </a:solidFill>
            <a:ln>
              <a:noFill/>
            </a:ln>
          </c:spPr>
          <c:invertIfNegative val="0"/>
          <c:dLbls>
            <c:dLbl>
              <c:idx val="0"/>
              <c:layout>
                <c:manualLayout>
                  <c:x val="0"/>
                  <c:y val="-1.4265335235378032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9-6EA2-42D1-ABF2-D14197B49E37}"/>
                </c:ext>
              </c:extLst>
            </c:dLbl>
            <c:dLbl>
              <c:idx val="1"/>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A-6EA2-42D1-ABF2-D14197B49E37}"/>
                </c:ext>
              </c:extLst>
            </c:dLbl>
            <c:dLbl>
              <c:idx val="2"/>
              <c:layout>
                <c:manualLayout>
                  <c:x val="0"/>
                  <c:y val="-1.4265335235378032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B-6EA2-42D1-ABF2-D14197B49E37}"/>
                </c:ext>
              </c:extLst>
            </c:dLbl>
            <c:dLbl>
              <c:idx val="3"/>
              <c:layout>
                <c:manualLayout>
                  <c:x val="0"/>
                  <c:y val="-1.4265335235378032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C-6EA2-42D1-ABF2-D14197B49E37}"/>
                </c:ext>
              </c:extLst>
            </c:dLbl>
            <c:dLbl>
              <c:idx val="4"/>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D-6EA2-42D1-ABF2-D14197B49E37}"/>
                </c:ext>
              </c:extLst>
            </c:dLbl>
            <c:dLbl>
              <c:idx val="5"/>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E-6EA2-42D1-ABF2-D14197B49E37}"/>
                </c:ext>
              </c:extLst>
            </c:dLbl>
            <c:dLbl>
              <c:idx val="6"/>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F-6EA2-42D1-ABF2-D14197B49E37}"/>
                </c:ext>
              </c:extLst>
            </c:dLbl>
            <c:dLbl>
              <c:idx val="7"/>
              <c:layout>
                <c:manualLayout>
                  <c:x val="0"/>
                  <c:y val="-1.4265335235378032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0-6EA2-42D1-ABF2-D14197B49E37}"/>
                </c:ext>
              </c:extLst>
            </c:dLbl>
            <c:dLbl>
              <c:idx val="8"/>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1-6EA2-42D1-ABF2-D14197B49E37}"/>
                </c:ext>
              </c:extLst>
            </c:dLbl>
            <c:dLbl>
              <c:idx val="9"/>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2-6EA2-42D1-ABF2-D14197B49E37}"/>
                </c:ext>
              </c:extLst>
            </c:dLbl>
            <c:dLbl>
              <c:idx val="10"/>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3-6EA2-42D1-ABF2-D14197B49E37}"/>
                </c:ext>
              </c:extLst>
            </c:dLbl>
            <c:dLbl>
              <c:idx val="11"/>
              <c:layout>
                <c:manualLayout>
                  <c:x val="0"/>
                  <c:y val="-1.4265335235378032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4-6EA2-42D1-ABF2-D14197B49E37}"/>
                </c:ext>
              </c:extLst>
            </c:dLbl>
            <c:dLbl>
              <c:idx val="12"/>
              <c:layout>
                <c:manualLayout>
                  <c:x val="0"/>
                  <c:y val="-1.4265335235378032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5-6EA2-42D1-ABF2-D14197B49E3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6:$M$6</c:f>
              <c:numCache>
                <c:formatCode>General</c:formatCode>
                <c:ptCount val="13"/>
                <c:pt idx="0">
                  <c:v>12115</c:v>
                </c:pt>
                <c:pt idx="1">
                  <c:v>12638</c:v>
                </c:pt>
                <c:pt idx="2">
                  <c:v>10474</c:v>
                </c:pt>
                <c:pt idx="3">
                  <c:v>9301</c:v>
                </c:pt>
                <c:pt idx="4">
                  <c:v>10412</c:v>
                </c:pt>
                <c:pt idx="5">
                  <c:v>10034</c:v>
                </c:pt>
                <c:pt idx="6">
                  <c:v>8596</c:v>
                </c:pt>
                <c:pt idx="7">
                  <c:v>10252</c:v>
                </c:pt>
                <c:pt idx="8">
                  <c:v>11563</c:v>
                </c:pt>
                <c:pt idx="9">
                  <c:v>10572</c:v>
                </c:pt>
                <c:pt idx="10">
                  <c:v>10420</c:v>
                </c:pt>
                <c:pt idx="11">
                  <c:v>9586</c:v>
                </c:pt>
                <c:pt idx="12">
                  <c:v>8563.2111977663881</c:v>
                </c:pt>
              </c:numCache>
            </c:numRef>
          </c:val>
          <c:extLst>
            <c:ext xmlns:c16="http://schemas.microsoft.com/office/drawing/2014/chart" uri="{C3380CC4-5D6E-409C-BE32-E72D297353CC}">
              <c16:uniqueId val="{00000046-6EA2-42D1-ABF2-D14197B49E37}"/>
            </c:ext>
          </c:extLst>
        </c:ser>
        <c:ser>
          <c:idx val="6"/>
          <c:order val="6"/>
          <c:spPr>
            <a:solidFill>
              <a:schemeClr val="accent1"/>
            </a:solidFill>
            <a:ln>
              <a:noFill/>
            </a:ln>
          </c:spPr>
          <c:invertIfNegative val="0"/>
          <c:dLbls>
            <c:dLbl>
              <c:idx val="0"/>
              <c:layout>
                <c:manualLayout>
                  <c:x val="0"/>
                  <c:y val="-1.4265335235378032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7-6EA2-42D1-ABF2-D14197B49E37}"/>
                </c:ext>
              </c:extLst>
            </c:dLbl>
            <c:dLbl>
              <c:idx val="1"/>
              <c:layout>
                <c:manualLayout>
                  <c:x val="0"/>
                  <c:y val="-1.0699001426533524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8-6EA2-42D1-ABF2-D14197B49E37}"/>
                </c:ext>
              </c:extLst>
            </c:dLbl>
            <c:dLbl>
              <c:idx val="2"/>
              <c:layout>
                <c:manualLayout>
                  <c:x val="0"/>
                  <c:y val="-1.0699001426533524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9-6EA2-42D1-ABF2-D14197B49E37}"/>
                </c:ext>
              </c:extLst>
            </c:dLbl>
            <c:dLbl>
              <c:idx val="3"/>
              <c:layout>
                <c:manualLayout>
                  <c:x val="0"/>
                  <c:y val="-1.4265335235378032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A-6EA2-42D1-ABF2-D14197B49E37}"/>
                </c:ext>
              </c:extLst>
            </c:dLbl>
            <c:dLbl>
              <c:idx val="4"/>
              <c:layout>
                <c:manualLayout>
                  <c:x val="0"/>
                  <c:y val="-1.4265335235378032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B-6EA2-42D1-ABF2-D14197B49E37}"/>
                </c:ext>
              </c:extLst>
            </c:dLbl>
            <c:dLbl>
              <c:idx val="5"/>
              <c:layout>
                <c:manualLayout>
                  <c:x val="0"/>
                  <c:y val="-1.0699001426533524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C-6EA2-42D1-ABF2-D14197B49E37}"/>
                </c:ext>
              </c:extLst>
            </c:dLbl>
            <c:dLbl>
              <c:idx val="6"/>
              <c:layout>
                <c:manualLayout>
                  <c:x val="0"/>
                  <c:y val="-1.0699001426533524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D-6EA2-42D1-ABF2-D14197B49E37}"/>
                </c:ext>
              </c:extLst>
            </c:dLbl>
            <c:dLbl>
              <c:idx val="7"/>
              <c:layout>
                <c:manualLayout>
                  <c:x val="0"/>
                  <c:y val="-1.4265335235378032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E-6EA2-42D1-ABF2-D14197B49E37}"/>
                </c:ext>
              </c:extLst>
            </c:dLbl>
            <c:dLbl>
              <c:idx val="8"/>
              <c:layout>
                <c:manualLayout>
                  <c:x val="0"/>
                  <c:y val="-1.4265335235378032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F-6EA2-42D1-ABF2-D14197B49E37}"/>
                </c:ext>
              </c:extLst>
            </c:dLbl>
            <c:dLbl>
              <c:idx val="9"/>
              <c:layout>
                <c:manualLayout>
                  <c:x val="0"/>
                  <c:y val="-1.0699001426533524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0-6EA2-42D1-ABF2-D14197B49E37}"/>
                </c:ext>
              </c:extLst>
            </c:dLbl>
            <c:dLbl>
              <c:idx val="10"/>
              <c:layout>
                <c:manualLayout>
                  <c:x val="0"/>
                  <c:y val="-1.0699001426533524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1-6EA2-42D1-ABF2-D14197B49E37}"/>
                </c:ext>
              </c:extLst>
            </c:dLbl>
            <c:dLbl>
              <c:idx val="11"/>
              <c:layout>
                <c:manualLayout>
                  <c:x val="0"/>
                  <c:y val="-1.0699001426533524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2-6EA2-42D1-ABF2-D14197B49E37}"/>
                </c:ext>
              </c:extLst>
            </c:dLbl>
            <c:dLbl>
              <c:idx val="12"/>
              <c:layout>
                <c:manualLayout>
                  <c:x val="0"/>
                  <c:y val="-1.4265335235378032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3-6EA2-42D1-ABF2-D14197B49E3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7:$M$7</c:f>
              <c:numCache>
                <c:formatCode>General</c:formatCode>
                <c:ptCount val="13"/>
                <c:pt idx="0">
                  <c:v>8544</c:v>
                </c:pt>
                <c:pt idx="1">
                  <c:v>8714</c:v>
                </c:pt>
                <c:pt idx="2">
                  <c:v>8652</c:v>
                </c:pt>
                <c:pt idx="3">
                  <c:v>7362</c:v>
                </c:pt>
                <c:pt idx="4">
                  <c:v>8677</c:v>
                </c:pt>
                <c:pt idx="5">
                  <c:v>8194</c:v>
                </c:pt>
                <c:pt idx="6">
                  <c:v>7709</c:v>
                </c:pt>
                <c:pt idx="7">
                  <c:v>7757</c:v>
                </c:pt>
                <c:pt idx="8">
                  <c:v>9291</c:v>
                </c:pt>
                <c:pt idx="9">
                  <c:v>8816</c:v>
                </c:pt>
                <c:pt idx="10">
                  <c:v>8438</c:v>
                </c:pt>
                <c:pt idx="11">
                  <c:v>9707</c:v>
                </c:pt>
                <c:pt idx="12">
                  <c:v>11394.821019866256</c:v>
                </c:pt>
              </c:numCache>
            </c:numRef>
          </c:val>
          <c:extLst>
            <c:ext xmlns:c16="http://schemas.microsoft.com/office/drawing/2014/chart" uri="{C3380CC4-5D6E-409C-BE32-E72D297353CC}">
              <c16:uniqueId val="{00000054-6EA2-42D1-ABF2-D14197B49E37}"/>
            </c:ext>
          </c:extLst>
        </c:ser>
        <c:dLbls>
          <c:showLegendKey val="0"/>
          <c:showVal val="0"/>
          <c:showCatName val="0"/>
          <c:showSerName val="0"/>
          <c:showPercent val="0"/>
          <c:showBubbleSize val="0"/>
        </c:dLbls>
        <c:gapWidth val="80"/>
        <c:overlap val="100"/>
        <c:axId val="1145106127"/>
        <c:axId val="1"/>
      </c:barChart>
      <c:lineChart>
        <c:grouping val="standard"/>
        <c:varyColors val="0"/>
        <c:ser>
          <c:idx val="7"/>
          <c:order val="7"/>
          <c:spPr>
            <a:ln w="19050" cmpd="sng" algn="ctr">
              <a:solidFill>
                <a:srgbClr val="000000"/>
              </a:solidFill>
              <a:prstDash val="solid"/>
            </a:ln>
          </c:spPr>
          <c:marker>
            <c:symbol val="circle"/>
            <c:size val="5"/>
            <c:spPr>
              <a:solidFill>
                <a:srgbClr val="000000"/>
              </a:solidFill>
              <a:ln w="9525" cmpd="sng" algn="ctr">
                <a:solidFill>
                  <a:srgbClr val="000000"/>
                </a:solidFill>
                <a:prstDash val="solid"/>
              </a:ln>
            </c:spPr>
          </c:marker>
          <c:dLbls>
            <c:dLbl>
              <c:idx val="0"/>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5-6EA2-42D1-ABF2-D14197B49E37}"/>
                </c:ext>
              </c:extLst>
            </c:dLbl>
            <c:dLbl>
              <c:idx val="1"/>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6-6EA2-42D1-ABF2-D14197B49E37}"/>
                </c:ext>
              </c:extLst>
            </c:dLbl>
            <c:dLbl>
              <c:idx val="2"/>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7-6EA2-42D1-ABF2-D14197B49E37}"/>
                </c:ext>
              </c:extLst>
            </c:dLbl>
            <c:dLbl>
              <c:idx val="3"/>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8-6EA2-42D1-ABF2-D14197B49E37}"/>
                </c:ext>
              </c:extLst>
            </c:dLbl>
            <c:dLbl>
              <c:idx val="4"/>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9-6EA2-42D1-ABF2-D14197B49E37}"/>
                </c:ext>
              </c:extLst>
            </c:dLbl>
            <c:dLbl>
              <c:idx val="5"/>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A-6EA2-42D1-ABF2-D14197B49E37}"/>
                </c:ext>
              </c:extLst>
            </c:dLbl>
            <c:dLbl>
              <c:idx val="6"/>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B-6EA2-42D1-ABF2-D14197B49E37}"/>
                </c:ext>
              </c:extLst>
            </c:dLbl>
            <c:dLbl>
              <c:idx val="7"/>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C-6EA2-42D1-ABF2-D14197B49E37}"/>
                </c:ext>
              </c:extLst>
            </c:dLbl>
            <c:dLbl>
              <c:idx val="8"/>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D-6EA2-42D1-ABF2-D14197B49E37}"/>
                </c:ext>
              </c:extLst>
            </c:dLbl>
            <c:dLbl>
              <c:idx val="9"/>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E-6EA2-42D1-ABF2-D14197B49E37}"/>
                </c:ext>
              </c:extLst>
            </c:dLbl>
            <c:dLbl>
              <c:idx val="10"/>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F-6EA2-42D1-ABF2-D14197B49E37}"/>
                </c:ext>
              </c:extLst>
            </c:dLbl>
            <c:dLbl>
              <c:idx val="11"/>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0-6EA2-42D1-ABF2-D14197B49E37}"/>
                </c:ext>
              </c:extLst>
            </c:dLbl>
            <c:dLbl>
              <c:idx val="12"/>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1-6EA2-42D1-ABF2-D14197B49E3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8:$M$8</c:f>
              <c:numCache>
                <c:formatCode>General</c:formatCode>
                <c:ptCount val="13"/>
                <c:pt idx="0">
                  <c:v>37.403039265016282</c:v>
                </c:pt>
                <c:pt idx="1">
                  <c:v>38.137856381219507</c:v>
                </c:pt>
                <c:pt idx="2">
                  <c:v>37.056274261500981</c:v>
                </c:pt>
                <c:pt idx="3">
                  <c:v>30.37739515557308</c:v>
                </c:pt>
                <c:pt idx="4">
                  <c:v>34.05556921172272</c:v>
                </c:pt>
                <c:pt idx="5">
                  <c:v>35.665303205243049</c:v>
                </c:pt>
                <c:pt idx="6">
                  <c:v>34.163689392753653</c:v>
                </c:pt>
                <c:pt idx="7">
                  <c:v>37.144819007858906</c:v>
                </c:pt>
                <c:pt idx="8">
                  <c:v>34.597114117951286</c:v>
                </c:pt>
                <c:pt idx="9">
                  <c:v>35.970640663985996</c:v>
                </c:pt>
                <c:pt idx="10">
                  <c:v>34.799999999999997</c:v>
                </c:pt>
                <c:pt idx="11">
                  <c:v>29.099999999999998</c:v>
                </c:pt>
                <c:pt idx="12">
                  <c:v>28.000000000000004</c:v>
                </c:pt>
              </c:numCache>
            </c:numRef>
          </c:val>
          <c:smooth val="0"/>
          <c:extLst>
            <c:ext xmlns:c16="http://schemas.microsoft.com/office/drawing/2014/chart" uri="{C3380CC4-5D6E-409C-BE32-E72D297353CC}">
              <c16:uniqueId val="{00000062-6EA2-42D1-ABF2-D14197B49E37}"/>
            </c:ext>
          </c:extLst>
        </c:ser>
        <c:ser>
          <c:idx val="8"/>
          <c:order val="8"/>
          <c:spPr>
            <a:ln w="19050" cmpd="sng" algn="ctr">
              <a:solidFill>
                <a:srgbClr val="9DB1CF"/>
              </a:solidFill>
              <a:prstDash val="solid"/>
            </a:ln>
          </c:spPr>
          <c:marker>
            <c:symbol val="circle"/>
            <c:size val="5"/>
            <c:spPr>
              <a:solidFill>
                <a:srgbClr val="9DB1CF"/>
              </a:solidFill>
              <a:ln w="9525" cmpd="sng" algn="ctr">
                <a:solidFill>
                  <a:srgbClr val="9DB1CF"/>
                </a:solidFill>
                <a:prstDash val="solid"/>
              </a:ln>
            </c:spPr>
          </c:marker>
          <c:dLbls>
            <c:dLbl>
              <c:idx val="0"/>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3-6EA2-42D1-ABF2-D14197B49E37}"/>
                </c:ext>
              </c:extLst>
            </c:dLbl>
            <c:dLbl>
              <c:idx val="1"/>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4-6EA2-42D1-ABF2-D14197B49E37}"/>
                </c:ext>
              </c:extLst>
            </c:dLbl>
            <c:dLbl>
              <c:idx val="2"/>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5-6EA2-42D1-ABF2-D14197B49E37}"/>
                </c:ext>
              </c:extLst>
            </c:dLbl>
            <c:dLbl>
              <c:idx val="3"/>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6-6EA2-42D1-ABF2-D14197B49E37}"/>
                </c:ext>
              </c:extLst>
            </c:dLbl>
            <c:dLbl>
              <c:idx val="4"/>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7-6EA2-42D1-ABF2-D14197B49E37}"/>
                </c:ext>
              </c:extLst>
            </c:dLbl>
            <c:dLbl>
              <c:idx val="5"/>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8-6EA2-42D1-ABF2-D14197B49E37}"/>
                </c:ext>
              </c:extLst>
            </c:dLbl>
            <c:dLbl>
              <c:idx val="6"/>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9-6EA2-42D1-ABF2-D14197B49E37}"/>
                </c:ext>
              </c:extLst>
            </c:dLbl>
            <c:dLbl>
              <c:idx val="7"/>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A-6EA2-42D1-ABF2-D14197B49E37}"/>
                </c:ext>
              </c:extLst>
            </c:dLbl>
            <c:dLbl>
              <c:idx val="8"/>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B-6EA2-42D1-ABF2-D14197B49E37}"/>
                </c:ext>
              </c:extLst>
            </c:dLbl>
            <c:dLbl>
              <c:idx val="9"/>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C-6EA2-42D1-ABF2-D14197B49E37}"/>
                </c:ext>
              </c:extLst>
            </c:dLbl>
            <c:dLbl>
              <c:idx val="10"/>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D-6EA2-42D1-ABF2-D14197B49E37}"/>
                </c:ext>
              </c:extLst>
            </c:dLbl>
            <c:dLbl>
              <c:idx val="11"/>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E-6EA2-42D1-ABF2-D14197B49E37}"/>
                </c:ext>
              </c:extLst>
            </c:dLbl>
            <c:dLbl>
              <c:idx val="12"/>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F-6EA2-42D1-ABF2-D14197B49E3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9:$M$9</c:f>
              <c:numCache>
                <c:formatCode>General</c:formatCode>
                <c:ptCount val="13"/>
                <c:pt idx="0">
                  <c:v>25.492416686948065</c:v>
                </c:pt>
                <c:pt idx="1">
                  <c:v>25.691661784072434</c:v>
                </c:pt>
                <c:pt idx="2">
                  <c:v>26.677939341843054</c:v>
                </c:pt>
                <c:pt idx="3">
                  <c:v>24.159621436355458</c:v>
                </c:pt>
                <c:pt idx="4">
                  <c:v>26.163206892587066</c:v>
                </c:pt>
                <c:pt idx="5">
                  <c:v>30.951829637186083</c:v>
                </c:pt>
                <c:pt idx="6">
                  <c:v>24.439700643453765</c:v>
                </c:pt>
                <c:pt idx="7">
                  <c:v>30.8</c:v>
                </c:pt>
                <c:pt idx="8">
                  <c:v>27.508397531205532</c:v>
                </c:pt>
                <c:pt idx="9">
                  <c:v>27.190865310353601</c:v>
                </c:pt>
                <c:pt idx="10">
                  <c:v>24.8</c:v>
                </c:pt>
                <c:pt idx="11">
                  <c:v>21.4</c:v>
                </c:pt>
                <c:pt idx="12">
                  <c:v>20.3</c:v>
                </c:pt>
              </c:numCache>
            </c:numRef>
          </c:val>
          <c:smooth val="0"/>
          <c:extLst>
            <c:ext xmlns:c16="http://schemas.microsoft.com/office/drawing/2014/chart" uri="{C3380CC4-5D6E-409C-BE32-E72D297353CC}">
              <c16:uniqueId val="{00000070-6EA2-42D1-ABF2-D14197B49E37}"/>
            </c:ext>
          </c:extLst>
        </c:ser>
        <c:dLbls>
          <c:showLegendKey val="0"/>
          <c:showVal val="0"/>
          <c:showCatName val="0"/>
          <c:showSerName val="0"/>
          <c:showPercent val="0"/>
          <c:showBubbleSize val="0"/>
        </c:dLbls>
        <c:marker val="1"/>
        <c:smooth val="0"/>
        <c:axId val="2"/>
        <c:axId val="3"/>
      </c:lineChart>
      <c:catAx>
        <c:axId val="114510612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80000"/>
          <c:min val="0"/>
        </c:scaling>
        <c:delete val="0"/>
        <c:axPos val="l"/>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1145106127"/>
        <c:crosses val="min"/>
        <c:crossBetween val="between"/>
      </c:valAx>
      <c:catAx>
        <c:axId val="2"/>
        <c:scaling>
          <c:orientation val="minMax"/>
        </c:scaling>
        <c:delete val="1"/>
        <c:axPos val="b"/>
        <c:majorGridlines>
          <c:spPr>
            <a:ln>
              <a:noFill/>
            </a:ln>
          </c:spPr>
        </c:majorGridlines>
        <c:majorTickMark val="none"/>
        <c:minorTickMark val="none"/>
        <c:tickLblPos val="none"/>
        <c:crossAx val="3"/>
        <c:crosses val="min"/>
        <c:auto val="0"/>
        <c:lblAlgn val="ctr"/>
        <c:lblOffset val="100"/>
        <c:noMultiLvlLbl val="0"/>
      </c:catAx>
      <c:valAx>
        <c:axId val="3"/>
        <c:scaling>
          <c:orientation val="minMax"/>
          <c:max val="38.137856381219507"/>
          <c:min val="-25"/>
        </c:scaling>
        <c:delete val="0"/>
        <c:axPos val="r"/>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2"/>
        <c:crosses val="max"/>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041943881978595E-2"/>
          <c:y val="5.2729298180467878E-2"/>
          <c:w val="0.96991611223604279"/>
          <c:h val="0.8945414036390642"/>
        </c:manualLayout>
      </c:layout>
      <c:barChart>
        <c:barDir val="col"/>
        <c:grouping val="stacked"/>
        <c:varyColors val="0"/>
        <c:ser>
          <c:idx val="0"/>
          <c:order val="0"/>
          <c:spPr>
            <a:solidFill>
              <a:srgbClr val="4C6C9C"/>
            </a:solidFill>
            <a:ln>
              <a:noFill/>
            </a:ln>
          </c:spPr>
          <c:invertIfNegative val="0"/>
          <c:dLbls>
            <c:dLbl>
              <c:idx val="0"/>
              <c:layout>
                <c:manualLayout>
                  <c:x val="0"/>
                  <c:y val="-1.4853323431117712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465-4884-9BED-D3B7CA16E586}"/>
                </c:ext>
              </c:extLst>
            </c:dLbl>
            <c:dLbl>
              <c:idx val="1"/>
              <c:layout>
                <c:manualLayout>
                  <c:x val="0"/>
                  <c:y val="-1.4853323431117712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465-4884-9BED-D3B7CA16E586}"/>
                </c:ext>
              </c:extLst>
            </c:dLbl>
            <c:dLbl>
              <c:idx val="2"/>
              <c:layout>
                <c:manualLayout>
                  <c:x val="0"/>
                  <c:y val="-1.4853323431117712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465-4884-9BED-D3B7CA16E586}"/>
                </c:ext>
              </c:extLst>
            </c:dLbl>
            <c:dLbl>
              <c:idx val="3"/>
              <c:layout>
                <c:manualLayout>
                  <c:x val="0"/>
                  <c:y val="-1.1139992573338284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465-4884-9BED-D3B7CA16E586}"/>
                </c:ext>
              </c:extLst>
            </c:dLbl>
            <c:dLbl>
              <c:idx val="4"/>
              <c:layout>
                <c:manualLayout>
                  <c:x val="0"/>
                  <c:y val="-1.4853323431117712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465-4884-9BED-D3B7CA16E586}"/>
                </c:ext>
              </c:extLst>
            </c:dLbl>
            <c:dLbl>
              <c:idx val="5"/>
              <c:layout>
                <c:manualLayout>
                  <c:x val="0"/>
                  <c:y val="-1.4853323431117712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465-4884-9BED-D3B7CA16E586}"/>
                </c:ext>
              </c:extLst>
            </c:dLbl>
            <c:dLbl>
              <c:idx val="6"/>
              <c:layout>
                <c:manualLayout>
                  <c:x val="0"/>
                  <c:y val="-1.1139992573338284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465-4884-9BED-D3B7CA16E58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General</c:formatCode>
                <c:ptCount val="7"/>
                <c:pt idx="0">
                  <c:v>2671</c:v>
                </c:pt>
                <c:pt idx="1">
                  <c:v>3454</c:v>
                </c:pt>
                <c:pt idx="2">
                  <c:v>4442</c:v>
                </c:pt>
                <c:pt idx="3">
                  <c:v>3941</c:v>
                </c:pt>
                <c:pt idx="4">
                  <c:v>3924</c:v>
                </c:pt>
                <c:pt idx="5">
                  <c:v>3753</c:v>
                </c:pt>
                <c:pt idx="6">
                  <c:v>3260.2869168492862</c:v>
                </c:pt>
              </c:numCache>
            </c:numRef>
          </c:val>
          <c:extLst>
            <c:ext xmlns:c16="http://schemas.microsoft.com/office/drawing/2014/chart" uri="{C3380CC4-5D6E-409C-BE32-E72D297353CC}">
              <c16:uniqueId val="{00000007-D465-4884-9BED-D3B7CA16E586}"/>
            </c:ext>
          </c:extLst>
        </c:ser>
        <c:ser>
          <c:idx val="1"/>
          <c:order val="1"/>
          <c:spPr>
            <a:solidFill>
              <a:schemeClr val="accent2"/>
            </a:solidFill>
            <a:ln>
              <a:noFill/>
            </a:ln>
          </c:spPr>
          <c:invertIfNegative val="0"/>
          <c:dLbls>
            <c:dLbl>
              <c:idx val="0"/>
              <c:layout>
                <c:manualLayout>
                  <c:x val="0"/>
                  <c:y val="-1.113999257333828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D465-4884-9BED-D3B7CA16E586}"/>
                </c:ext>
              </c:extLst>
            </c:dLbl>
            <c:dLbl>
              <c:idx val="1"/>
              <c:layout>
                <c:manualLayout>
                  <c:x val="0"/>
                  <c:y val="-1.113999257333828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D465-4884-9BED-D3B7CA16E586}"/>
                </c:ext>
              </c:extLst>
            </c:dLbl>
            <c:dLbl>
              <c:idx val="2"/>
              <c:layout>
                <c:manualLayout>
                  <c:x val="0"/>
                  <c:y val="-1.4853323431117712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D465-4884-9BED-D3B7CA16E586}"/>
                </c:ext>
              </c:extLst>
            </c:dLbl>
            <c:dLbl>
              <c:idx val="3"/>
              <c:layout>
                <c:manualLayout>
                  <c:x val="0"/>
                  <c:y val="-1.113999257333828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D465-4884-9BED-D3B7CA16E586}"/>
                </c:ext>
              </c:extLst>
            </c:dLbl>
            <c:dLbl>
              <c:idx val="4"/>
              <c:layout>
                <c:manualLayout>
                  <c:x val="0"/>
                  <c:y val="-1.4853323431117712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D465-4884-9BED-D3B7CA16E586}"/>
                </c:ext>
              </c:extLst>
            </c:dLbl>
            <c:dLbl>
              <c:idx val="5"/>
              <c:layout>
                <c:manualLayout>
                  <c:x val="0"/>
                  <c:y val="-1.4853323431117712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D465-4884-9BED-D3B7CA16E586}"/>
                </c:ext>
              </c:extLst>
            </c:dLbl>
            <c:dLbl>
              <c:idx val="6"/>
              <c:layout>
                <c:manualLayout>
                  <c:x val="0"/>
                  <c:y val="-1.4853323431117712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D465-4884-9BED-D3B7CA16E58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G$2</c:f>
              <c:numCache>
                <c:formatCode>General</c:formatCode>
                <c:ptCount val="7"/>
                <c:pt idx="0">
                  <c:v>5372</c:v>
                </c:pt>
                <c:pt idx="1">
                  <c:v>7994</c:v>
                </c:pt>
                <c:pt idx="2">
                  <c:v>4706</c:v>
                </c:pt>
                <c:pt idx="3">
                  <c:v>3199</c:v>
                </c:pt>
                <c:pt idx="4">
                  <c:v>5370</c:v>
                </c:pt>
                <c:pt idx="5">
                  <c:v>3831</c:v>
                </c:pt>
                <c:pt idx="6">
                  <c:v>3599.7267913818368</c:v>
                </c:pt>
              </c:numCache>
            </c:numRef>
          </c:val>
          <c:extLst>
            <c:ext xmlns:c16="http://schemas.microsoft.com/office/drawing/2014/chart" uri="{C3380CC4-5D6E-409C-BE32-E72D297353CC}">
              <c16:uniqueId val="{0000000F-D465-4884-9BED-D3B7CA16E586}"/>
            </c:ext>
          </c:extLst>
        </c:ser>
        <c:ser>
          <c:idx val="2"/>
          <c:order val="2"/>
          <c:spPr>
            <a:solidFill>
              <a:schemeClr val="accent3"/>
            </a:solidFill>
            <a:ln>
              <a:noFill/>
            </a:ln>
          </c:spPr>
          <c:invertIfNegative val="0"/>
          <c:val>
            <c:numRef>
              <c:f>Sheet1!$A$3:$G$3</c:f>
              <c:numCache>
                <c:formatCode>General</c:formatCode>
                <c:ptCount val="7"/>
                <c:pt idx="0">
                  <c:v>248</c:v>
                </c:pt>
                <c:pt idx="1">
                  <c:v>491</c:v>
                </c:pt>
                <c:pt idx="2">
                  <c:v>567</c:v>
                </c:pt>
                <c:pt idx="3">
                  <c:v>448</c:v>
                </c:pt>
                <c:pt idx="4">
                  <c:v>396</c:v>
                </c:pt>
                <c:pt idx="5">
                  <c:v>358</c:v>
                </c:pt>
                <c:pt idx="6">
                  <c:v>352.74544438990779</c:v>
                </c:pt>
              </c:numCache>
            </c:numRef>
          </c:val>
          <c:extLst>
            <c:ext xmlns:c16="http://schemas.microsoft.com/office/drawing/2014/chart" uri="{C3380CC4-5D6E-409C-BE32-E72D297353CC}">
              <c16:uniqueId val="{00000010-D465-4884-9BED-D3B7CA16E586}"/>
            </c:ext>
          </c:extLst>
        </c:ser>
        <c:ser>
          <c:idx val="3"/>
          <c:order val="3"/>
          <c:spPr>
            <a:solidFill>
              <a:schemeClr val="accent4"/>
            </a:solidFill>
            <a:ln>
              <a:noFill/>
            </a:ln>
          </c:spPr>
          <c:invertIfNegative val="0"/>
          <c:dLbls>
            <c:dLbl>
              <c:idx val="0"/>
              <c:layout>
                <c:manualLayout>
                  <c:x val="0"/>
                  <c:y val="-1.113999257333828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D465-4884-9BED-D3B7CA16E586}"/>
                </c:ext>
              </c:extLst>
            </c:dLbl>
            <c:dLbl>
              <c:idx val="1"/>
              <c:layout>
                <c:manualLayout>
                  <c:x val="0"/>
                  <c:y val="-1.113999257333828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D465-4884-9BED-D3B7CA16E586}"/>
                </c:ext>
              </c:extLst>
            </c:dLbl>
            <c:dLbl>
              <c:idx val="2"/>
              <c:layout>
                <c:manualLayout>
                  <c:x val="0"/>
                  <c:y val="-1.4853323431117712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D465-4884-9BED-D3B7CA16E586}"/>
                </c:ext>
              </c:extLst>
            </c:dLbl>
            <c:dLbl>
              <c:idx val="3"/>
              <c:layout>
                <c:manualLayout>
                  <c:x val="0"/>
                  <c:y val="-1.113999257333828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D465-4884-9BED-D3B7CA16E586}"/>
                </c:ext>
              </c:extLst>
            </c:dLbl>
            <c:dLbl>
              <c:idx val="4"/>
              <c:layout>
                <c:manualLayout>
                  <c:x val="0"/>
                  <c:y val="-1.113999257333828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D465-4884-9BED-D3B7CA16E586}"/>
                </c:ext>
              </c:extLst>
            </c:dLbl>
            <c:dLbl>
              <c:idx val="5"/>
              <c:layout>
                <c:manualLayout>
                  <c:x val="0"/>
                  <c:y val="-1.4853323431117712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D465-4884-9BED-D3B7CA16E586}"/>
                </c:ext>
              </c:extLst>
            </c:dLbl>
            <c:dLbl>
              <c:idx val="6"/>
              <c:layout>
                <c:manualLayout>
                  <c:x val="0"/>
                  <c:y val="-1.113999257333828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D465-4884-9BED-D3B7CA16E58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G$4</c:f>
              <c:numCache>
                <c:formatCode>General</c:formatCode>
                <c:ptCount val="7"/>
                <c:pt idx="0">
                  <c:v>2792</c:v>
                </c:pt>
                <c:pt idx="1">
                  <c:v>3871</c:v>
                </c:pt>
                <c:pt idx="2">
                  <c:v>4412</c:v>
                </c:pt>
                <c:pt idx="3">
                  <c:v>3568</c:v>
                </c:pt>
                <c:pt idx="4">
                  <c:v>3608</c:v>
                </c:pt>
                <c:pt idx="5">
                  <c:v>3226</c:v>
                </c:pt>
                <c:pt idx="6">
                  <c:v>3023.7799530896264</c:v>
                </c:pt>
              </c:numCache>
            </c:numRef>
          </c:val>
          <c:extLst>
            <c:ext xmlns:c16="http://schemas.microsoft.com/office/drawing/2014/chart" uri="{C3380CC4-5D6E-409C-BE32-E72D297353CC}">
              <c16:uniqueId val="{00000018-D465-4884-9BED-D3B7CA16E586}"/>
            </c:ext>
          </c:extLst>
        </c:ser>
        <c:ser>
          <c:idx val="4"/>
          <c:order val="4"/>
          <c:spPr>
            <a:solidFill>
              <a:schemeClr val="accent5"/>
            </a:solidFill>
            <a:ln>
              <a:noFill/>
            </a:ln>
          </c:spPr>
          <c:invertIfNegative val="0"/>
          <c:dLbls>
            <c:dLbl>
              <c:idx val="0"/>
              <c:layout>
                <c:manualLayout>
                  <c:x val="0"/>
                  <c:y val="-1.4853323431117712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D465-4884-9BED-D3B7CA16E586}"/>
                </c:ext>
              </c:extLst>
            </c:dLbl>
            <c:dLbl>
              <c:idx val="1"/>
              <c:layout>
                <c:manualLayout>
                  <c:x val="0"/>
                  <c:y val="-1.113999257333828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D465-4884-9BED-D3B7CA16E586}"/>
                </c:ext>
              </c:extLst>
            </c:dLbl>
            <c:dLbl>
              <c:idx val="2"/>
              <c:layout>
                <c:manualLayout>
                  <c:x val="0"/>
                  <c:y val="-1.113999257333828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D465-4884-9BED-D3B7CA16E586}"/>
                </c:ext>
              </c:extLst>
            </c:dLbl>
            <c:dLbl>
              <c:idx val="3"/>
              <c:layout>
                <c:manualLayout>
                  <c:x val="0"/>
                  <c:y val="-1.113999257333828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D465-4884-9BED-D3B7CA16E586}"/>
                </c:ext>
              </c:extLst>
            </c:dLbl>
            <c:dLbl>
              <c:idx val="4"/>
              <c:layout>
                <c:manualLayout>
                  <c:x val="0"/>
                  <c:y val="-1.113999257333828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D465-4884-9BED-D3B7CA16E586}"/>
                </c:ext>
              </c:extLst>
            </c:dLbl>
            <c:dLbl>
              <c:idx val="5"/>
              <c:layout>
                <c:manualLayout>
                  <c:x val="0"/>
                  <c:y val="-1.4853323431117712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D465-4884-9BED-D3B7CA16E586}"/>
                </c:ext>
              </c:extLst>
            </c:dLbl>
            <c:dLbl>
              <c:idx val="6"/>
              <c:layout>
                <c:manualLayout>
                  <c:x val="0"/>
                  <c:y val="-1.113999257333828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D465-4884-9BED-D3B7CA16E58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G$5</c:f>
              <c:numCache>
                <c:formatCode>General</c:formatCode>
                <c:ptCount val="7"/>
                <c:pt idx="0">
                  <c:v>5113</c:v>
                </c:pt>
                <c:pt idx="1">
                  <c:v>6931</c:v>
                </c:pt>
                <c:pt idx="2">
                  <c:v>6557</c:v>
                </c:pt>
                <c:pt idx="3">
                  <c:v>5074</c:v>
                </c:pt>
                <c:pt idx="4">
                  <c:v>4620</c:v>
                </c:pt>
                <c:pt idx="5">
                  <c:v>4229</c:v>
                </c:pt>
                <c:pt idx="6">
                  <c:v>4491.9528782611505</c:v>
                </c:pt>
              </c:numCache>
            </c:numRef>
          </c:val>
          <c:extLst>
            <c:ext xmlns:c16="http://schemas.microsoft.com/office/drawing/2014/chart" uri="{C3380CC4-5D6E-409C-BE32-E72D297353CC}">
              <c16:uniqueId val="{00000020-D465-4884-9BED-D3B7CA16E586}"/>
            </c:ext>
          </c:extLst>
        </c:ser>
        <c:ser>
          <c:idx val="5"/>
          <c:order val="5"/>
          <c:spPr>
            <a:solidFill>
              <a:schemeClr val="accent6"/>
            </a:solidFill>
            <a:ln>
              <a:noFill/>
            </a:ln>
          </c:spPr>
          <c:invertIfNegative val="0"/>
          <c:dLbls>
            <c:dLbl>
              <c:idx val="0"/>
              <c:layout>
                <c:manualLayout>
                  <c:x val="0"/>
                  <c:y val="-1.4853323431117712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D465-4884-9BED-D3B7CA16E586}"/>
                </c:ext>
              </c:extLst>
            </c:dLbl>
            <c:dLbl>
              <c:idx val="1"/>
              <c:layout>
                <c:manualLayout>
                  <c:x val="0"/>
                  <c:y val="-1.113999257333828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D465-4884-9BED-D3B7CA16E586}"/>
                </c:ext>
              </c:extLst>
            </c:dLbl>
            <c:dLbl>
              <c:idx val="2"/>
              <c:layout>
                <c:manualLayout>
                  <c:x val="0"/>
                  <c:y val="-1.4853323431117712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D465-4884-9BED-D3B7CA16E586}"/>
                </c:ext>
              </c:extLst>
            </c:dLbl>
            <c:dLbl>
              <c:idx val="3"/>
              <c:layout>
                <c:manualLayout>
                  <c:x val="0"/>
                  <c:y val="-1.113999257333828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D465-4884-9BED-D3B7CA16E586}"/>
                </c:ext>
              </c:extLst>
            </c:dLbl>
            <c:dLbl>
              <c:idx val="4"/>
              <c:layout>
                <c:manualLayout>
                  <c:x val="0"/>
                  <c:y val="-1.4853323431117712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D465-4884-9BED-D3B7CA16E586}"/>
                </c:ext>
              </c:extLst>
            </c:dLbl>
            <c:dLbl>
              <c:idx val="5"/>
              <c:layout>
                <c:manualLayout>
                  <c:x val="0"/>
                  <c:y val="-1.113999257333828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D465-4884-9BED-D3B7CA16E586}"/>
                </c:ext>
              </c:extLst>
            </c:dLbl>
            <c:dLbl>
              <c:idx val="6"/>
              <c:layout>
                <c:manualLayout>
                  <c:x val="0"/>
                  <c:y val="-1.113999257333828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D465-4884-9BED-D3B7CA16E58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6:$G$6</c:f>
              <c:numCache>
                <c:formatCode>General</c:formatCode>
                <c:ptCount val="7"/>
                <c:pt idx="0">
                  <c:v>5805</c:v>
                </c:pt>
                <c:pt idx="1">
                  <c:v>5133</c:v>
                </c:pt>
                <c:pt idx="2">
                  <c:v>5894</c:v>
                </c:pt>
                <c:pt idx="3">
                  <c:v>5421</c:v>
                </c:pt>
                <c:pt idx="4">
                  <c:v>5265</c:v>
                </c:pt>
                <c:pt idx="5">
                  <c:v>4703</c:v>
                </c:pt>
                <c:pt idx="6">
                  <c:v>4253.8746885819874</c:v>
                </c:pt>
              </c:numCache>
            </c:numRef>
          </c:val>
          <c:extLst>
            <c:ext xmlns:c16="http://schemas.microsoft.com/office/drawing/2014/chart" uri="{C3380CC4-5D6E-409C-BE32-E72D297353CC}">
              <c16:uniqueId val="{00000028-D465-4884-9BED-D3B7CA16E586}"/>
            </c:ext>
          </c:extLst>
        </c:ser>
        <c:ser>
          <c:idx val="6"/>
          <c:order val="6"/>
          <c:spPr>
            <a:solidFill>
              <a:schemeClr val="accent1"/>
            </a:solidFill>
            <a:ln>
              <a:noFill/>
            </a:ln>
          </c:spPr>
          <c:invertIfNegative val="0"/>
          <c:dLbls>
            <c:dLbl>
              <c:idx val="0"/>
              <c:layout>
                <c:manualLayout>
                  <c:x val="0"/>
                  <c:y val="-1.1139992573338284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D465-4884-9BED-D3B7CA16E586}"/>
                </c:ext>
              </c:extLst>
            </c:dLbl>
            <c:dLbl>
              <c:idx val="1"/>
              <c:layout>
                <c:manualLayout>
                  <c:x val="0"/>
                  <c:y val="-1.1139992573338284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D465-4884-9BED-D3B7CA16E586}"/>
                </c:ext>
              </c:extLst>
            </c:dLbl>
            <c:dLbl>
              <c:idx val="2"/>
              <c:layout>
                <c:manualLayout>
                  <c:x val="0"/>
                  <c:y val="-1.1139992573338284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D465-4884-9BED-D3B7CA16E586}"/>
                </c:ext>
              </c:extLst>
            </c:dLbl>
            <c:dLbl>
              <c:idx val="3"/>
              <c:layout>
                <c:manualLayout>
                  <c:x val="0"/>
                  <c:y val="-1.1139992573338284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D465-4884-9BED-D3B7CA16E586}"/>
                </c:ext>
              </c:extLst>
            </c:dLbl>
            <c:dLbl>
              <c:idx val="4"/>
              <c:layout>
                <c:manualLayout>
                  <c:x val="0"/>
                  <c:y val="-1.1139992573338284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D-D465-4884-9BED-D3B7CA16E586}"/>
                </c:ext>
              </c:extLst>
            </c:dLbl>
            <c:dLbl>
              <c:idx val="5"/>
              <c:layout>
                <c:manualLayout>
                  <c:x val="0"/>
                  <c:y val="-1.1139992573338284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E-D465-4884-9BED-D3B7CA16E586}"/>
                </c:ext>
              </c:extLst>
            </c:dLbl>
            <c:dLbl>
              <c:idx val="6"/>
              <c:layout>
                <c:manualLayout>
                  <c:x val="0"/>
                  <c:y val="-1.1139992573338284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F-D465-4884-9BED-D3B7CA16E58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7:$G$7</c:f>
              <c:numCache>
                <c:formatCode>General</c:formatCode>
                <c:ptCount val="7"/>
                <c:pt idx="0">
                  <c:v>3856</c:v>
                </c:pt>
                <c:pt idx="1">
                  <c:v>3551</c:v>
                </c:pt>
                <c:pt idx="2">
                  <c:v>4152</c:v>
                </c:pt>
                <c:pt idx="3">
                  <c:v>4015</c:v>
                </c:pt>
                <c:pt idx="4">
                  <c:v>3814</c:v>
                </c:pt>
                <c:pt idx="5">
                  <c:v>3610</c:v>
                </c:pt>
                <c:pt idx="6">
                  <c:v>3767.7432001720772</c:v>
                </c:pt>
              </c:numCache>
            </c:numRef>
          </c:val>
          <c:extLst>
            <c:ext xmlns:c16="http://schemas.microsoft.com/office/drawing/2014/chart" uri="{C3380CC4-5D6E-409C-BE32-E72D297353CC}">
              <c16:uniqueId val="{00000030-D465-4884-9BED-D3B7CA16E586}"/>
            </c:ext>
          </c:extLst>
        </c:ser>
        <c:dLbls>
          <c:showLegendKey val="0"/>
          <c:showVal val="0"/>
          <c:showCatName val="0"/>
          <c:showSerName val="0"/>
          <c:showPercent val="0"/>
          <c:showBubbleSize val="0"/>
        </c:dLbls>
        <c:gapWidth val="80"/>
        <c:overlap val="100"/>
        <c:axId val="1634681215"/>
        <c:axId val="1"/>
      </c:barChart>
      <c:barChart>
        <c:barDir val="col"/>
        <c:grouping val="clustered"/>
        <c:varyColors val="0"/>
        <c:ser>
          <c:idx val="7"/>
          <c:order val="7"/>
          <c:invertIfNegative val="0"/>
          <c:extLst>
            <c:ext xmlns:c16="http://schemas.microsoft.com/office/drawing/2014/chart" uri="{C3380CC4-5D6E-409C-BE32-E72D297353CC}">
              <c16:uniqueId val="{00000031-D465-4884-9BED-D3B7CA16E586}"/>
            </c:ext>
          </c:extLst>
        </c:ser>
        <c:dLbls>
          <c:showLegendKey val="0"/>
          <c:showVal val="0"/>
          <c:showCatName val="0"/>
          <c:showSerName val="0"/>
          <c:showPercent val="0"/>
          <c:showBubbleSize val="0"/>
        </c:dLbls>
        <c:gapWidth val="150"/>
        <c:axId val="2"/>
        <c:axId val="3"/>
      </c:barChart>
      <c:catAx>
        <c:axId val="163468121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1000"/>
          <c:min val="0"/>
        </c:scaling>
        <c:delete val="0"/>
        <c:axPos val="l"/>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1634681215"/>
        <c:crosses val="min"/>
        <c:crossBetween val="between"/>
      </c:valAx>
      <c:catAx>
        <c:axId val="2"/>
        <c:scaling>
          <c:orientation val="minMax"/>
        </c:scaling>
        <c:delete val="1"/>
        <c:axPos val="b"/>
        <c:majorGridlines>
          <c:spPr>
            <a:ln>
              <a:noFill/>
            </a:ln>
          </c:spPr>
        </c:majorGridlines>
        <c:majorTickMark val="none"/>
        <c:minorTickMark val="none"/>
        <c:tickLblPos val="none"/>
        <c:crossAx val="3"/>
        <c:crosses val="min"/>
        <c:auto val="0"/>
        <c:lblAlgn val="ctr"/>
        <c:lblOffset val="100"/>
        <c:noMultiLvlLbl val="0"/>
      </c:catAx>
      <c:valAx>
        <c:axId val="3"/>
        <c:scaling>
          <c:orientation val="minMax"/>
          <c:max val="0"/>
          <c:min val="-3"/>
        </c:scaling>
        <c:delete val="0"/>
        <c:axPos val="r"/>
        <c:majorGridlines>
          <c:spPr>
            <a:ln>
              <a:noFill/>
            </a:ln>
          </c:spPr>
        </c:majorGridlines>
        <c:majorTickMark val="none"/>
        <c:minorTickMark val="none"/>
        <c:tickLblPos val="none"/>
        <c:spPr>
          <a:ln w="9525" cmpd="sng" algn="ctr">
            <a:solidFill>
              <a:schemeClr val="bg1"/>
            </a:solidFill>
            <a:prstDash val="solid"/>
          </a:ln>
        </c:spPr>
        <c:crossAx val="2"/>
        <c:crosses val="max"/>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814814814814815E-2"/>
          <c:y val="2.0512820512820513E-2"/>
          <c:w val="0.97037037037037033"/>
          <c:h val="0.95897435897435901"/>
        </c:manualLayout>
      </c:layout>
      <c:barChart>
        <c:barDir val="col"/>
        <c:grouping val="clustered"/>
        <c:varyColors val="0"/>
        <c:ser>
          <c:idx val="4"/>
          <c:order val="4"/>
          <c:invertIfNegative val="0"/>
          <c:extLst>
            <c:ext xmlns:c16="http://schemas.microsoft.com/office/drawing/2014/chart" uri="{C3380CC4-5D6E-409C-BE32-E72D297353CC}">
              <c16:uniqueId val="{00000004-34CF-4D86-ABA3-0A6CBCF9B881}"/>
            </c:ext>
          </c:extLst>
        </c:ser>
        <c:dLbls>
          <c:showLegendKey val="0"/>
          <c:showVal val="0"/>
          <c:showCatName val="0"/>
          <c:showSerName val="0"/>
          <c:showPercent val="0"/>
          <c:showBubbleSize val="0"/>
        </c:dLbls>
        <c:gapWidth val="150"/>
        <c:axId val="2"/>
        <c:axId val="3"/>
      </c:barChart>
      <c:lineChart>
        <c:grouping val="standard"/>
        <c:varyColors val="0"/>
        <c:ser>
          <c:idx val="0"/>
          <c:order val="0"/>
          <c:spPr>
            <a:ln w="19050" cmpd="sng" algn="ctr">
              <a:solidFill>
                <a:srgbClr val="000000"/>
              </a:solidFill>
              <a:prstDash val="solid"/>
            </a:ln>
          </c:spPr>
          <c:marker>
            <c:symbol val="circle"/>
            <c:size val="5"/>
            <c:spPr>
              <a:solidFill>
                <a:srgbClr val="000000"/>
              </a:solidFill>
              <a:ln w="9525" cmpd="sng" algn="ctr">
                <a:solidFill>
                  <a:srgbClr val="000000"/>
                </a:solidFill>
                <a:prstDash val="solid"/>
              </a:ln>
            </c:spPr>
          </c:marker>
          <c:val>
            <c:numRef>
              <c:f>Sheet1!$A$1:$G$1</c:f>
              <c:numCache>
                <c:formatCode>General</c:formatCode>
                <c:ptCount val="7"/>
                <c:pt idx="0">
                  <c:v>1.3</c:v>
                </c:pt>
                <c:pt idx="1">
                  <c:v>1</c:v>
                </c:pt>
                <c:pt idx="2">
                  <c:v>1</c:v>
                </c:pt>
                <c:pt idx="3">
                  <c:v>1.2</c:v>
                </c:pt>
                <c:pt idx="4">
                  <c:v>1.2</c:v>
                </c:pt>
                <c:pt idx="5">
                  <c:v>1.3</c:v>
                </c:pt>
                <c:pt idx="6">
                  <c:v>1.3</c:v>
                </c:pt>
              </c:numCache>
            </c:numRef>
          </c:val>
          <c:smooth val="0"/>
          <c:extLst>
            <c:ext xmlns:c16="http://schemas.microsoft.com/office/drawing/2014/chart" uri="{C3380CC4-5D6E-409C-BE32-E72D297353CC}">
              <c16:uniqueId val="{00000000-34CF-4D86-ABA3-0A6CBCF9B881}"/>
            </c:ext>
          </c:extLst>
        </c:ser>
        <c:ser>
          <c:idx val="1"/>
          <c:order val="1"/>
          <c:spPr>
            <a:ln w="19050" cmpd="sng" algn="ctr">
              <a:solidFill>
                <a:srgbClr val="007770"/>
              </a:solidFill>
              <a:prstDash val="solid"/>
            </a:ln>
          </c:spPr>
          <c:marker>
            <c:symbol val="circle"/>
            <c:size val="5"/>
            <c:spPr>
              <a:solidFill>
                <a:srgbClr val="007770"/>
              </a:solidFill>
              <a:ln w="9525" cmpd="sng" algn="ctr">
                <a:solidFill>
                  <a:srgbClr val="007770"/>
                </a:solidFill>
                <a:prstDash val="solid"/>
              </a:ln>
            </c:spPr>
          </c:marker>
          <c:val>
            <c:numRef>
              <c:f>Sheet1!$A$2:$G$2</c:f>
              <c:numCache>
                <c:formatCode>General</c:formatCode>
                <c:ptCount val="7"/>
                <c:pt idx="0">
                  <c:v>3.1</c:v>
                </c:pt>
                <c:pt idx="1">
                  <c:v>2.2999999999999998</c:v>
                </c:pt>
                <c:pt idx="2">
                  <c:v>2.1999999999999997</c:v>
                </c:pt>
                <c:pt idx="3">
                  <c:v>2.1999999999999997</c:v>
                </c:pt>
                <c:pt idx="4">
                  <c:v>2.1999999999999997</c:v>
                </c:pt>
                <c:pt idx="5">
                  <c:v>2.5</c:v>
                </c:pt>
                <c:pt idx="6">
                  <c:v>2.1999999999999997</c:v>
                </c:pt>
              </c:numCache>
            </c:numRef>
          </c:val>
          <c:smooth val="0"/>
          <c:extLst>
            <c:ext xmlns:c16="http://schemas.microsoft.com/office/drawing/2014/chart" uri="{C3380CC4-5D6E-409C-BE32-E72D297353CC}">
              <c16:uniqueId val="{00000001-34CF-4D86-ABA3-0A6CBCF9B881}"/>
            </c:ext>
          </c:extLst>
        </c:ser>
        <c:ser>
          <c:idx val="2"/>
          <c:order val="2"/>
          <c:spPr>
            <a:ln w="19050" cmpd="sng" algn="ctr">
              <a:solidFill>
                <a:srgbClr val="0013C7"/>
              </a:solidFill>
              <a:prstDash val="solid"/>
            </a:ln>
          </c:spPr>
          <c:marker>
            <c:symbol val="circle"/>
            <c:size val="5"/>
            <c:spPr>
              <a:solidFill>
                <a:srgbClr val="0013C7"/>
              </a:solidFill>
              <a:ln w="9525" cmpd="sng" algn="ctr">
                <a:solidFill>
                  <a:srgbClr val="0013C7"/>
                </a:solidFill>
                <a:prstDash val="solid"/>
              </a:ln>
            </c:spPr>
          </c:marker>
          <c:val>
            <c:numRef>
              <c:f>Sheet1!$A$3:$G$3</c:f>
              <c:numCache>
                <c:formatCode>General</c:formatCode>
                <c:ptCount val="7"/>
                <c:pt idx="0">
                  <c:v>1.0999999999999999</c:v>
                </c:pt>
                <c:pt idx="1">
                  <c:v>0.70000000000000007</c:v>
                </c:pt>
                <c:pt idx="2">
                  <c:v>0.70000000000000007</c:v>
                </c:pt>
                <c:pt idx="3">
                  <c:v>0.89999999999999991</c:v>
                </c:pt>
                <c:pt idx="4">
                  <c:v>0.89999999999999991</c:v>
                </c:pt>
                <c:pt idx="5">
                  <c:v>1.2</c:v>
                </c:pt>
                <c:pt idx="6">
                  <c:v>1</c:v>
                </c:pt>
              </c:numCache>
            </c:numRef>
          </c:val>
          <c:smooth val="0"/>
          <c:extLst>
            <c:ext xmlns:c16="http://schemas.microsoft.com/office/drawing/2014/chart" uri="{C3380CC4-5D6E-409C-BE32-E72D297353CC}">
              <c16:uniqueId val="{00000002-34CF-4D86-ABA3-0A6CBCF9B881}"/>
            </c:ext>
          </c:extLst>
        </c:ser>
        <c:ser>
          <c:idx val="3"/>
          <c:order val="3"/>
          <c:spPr>
            <a:ln w="19050" cmpd="sng" algn="ctr">
              <a:solidFill>
                <a:srgbClr val="C0C0C0"/>
              </a:solidFill>
              <a:prstDash val="solid"/>
            </a:ln>
          </c:spPr>
          <c:marker>
            <c:symbol val="circle"/>
            <c:size val="5"/>
            <c:spPr>
              <a:solidFill>
                <a:srgbClr val="C0C0C0"/>
              </a:solidFill>
              <a:ln w="9525" cmpd="sng" algn="ctr">
                <a:solidFill>
                  <a:srgbClr val="C0C0C0"/>
                </a:solidFill>
                <a:prstDash val="solid"/>
              </a:ln>
            </c:spPr>
          </c:marker>
          <c:val>
            <c:numRef>
              <c:f>Sheet1!$A$4:$G$4</c:f>
              <c:numCache>
                <c:formatCode>General</c:formatCode>
                <c:ptCount val="7"/>
                <c:pt idx="0">
                  <c:v>0.8</c:v>
                </c:pt>
                <c:pt idx="1">
                  <c:v>0.89999999999999991</c:v>
                </c:pt>
                <c:pt idx="2">
                  <c:v>0.89999999999999991</c:v>
                </c:pt>
                <c:pt idx="3">
                  <c:v>0.89999999999999991</c:v>
                </c:pt>
                <c:pt idx="4">
                  <c:v>0.89999999999999991</c:v>
                </c:pt>
                <c:pt idx="5">
                  <c:v>0.6</c:v>
                </c:pt>
                <c:pt idx="6">
                  <c:v>0.70000000000000007</c:v>
                </c:pt>
              </c:numCache>
            </c:numRef>
          </c:val>
          <c:smooth val="0"/>
          <c:extLst>
            <c:ext xmlns:c16="http://schemas.microsoft.com/office/drawing/2014/chart" uri="{C3380CC4-5D6E-409C-BE32-E72D297353CC}">
              <c16:uniqueId val="{00000003-34CF-4D86-ABA3-0A6CBCF9B881}"/>
            </c:ext>
          </c:extLst>
        </c:ser>
        <c:dLbls>
          <c:showLegendKey val="0"/>
          <c:showVal val="0"/>
          <c:showCatName val="0"/>
          <c:showSerName val="0"/>
          <c:showPercent val="0"/>
          <c:showBubbleSize val="0"/>
        </c:dLbls>
        <c:marker val="1"/>
        <c:smooth val="0"/>
        <c:axId val="932146368"/>
        <c:axId val="1"/>
      </c:lineChart>
      <c:catAx>
        <c:axId val="93214636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9000000000000004"/>
          <c:min val="0"/>
        </c:scaling>
        <c:delete val="0"/>
        <c:axPos val="l"/>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932146368"/>
        <c:crosses val="min"/>
        <c:crossBetween val="midCat"/>
      </c:valAx>
      <c:catAx>
        <c:axId val="2"/>
        <c:scaling>
          <c:orientation val="minMax"/>
        </c:scaling>
        <c:delete val="1"/>
        <c:axPos val="b"/>
        <c:majorGridlines>
          <c:spPr>
            <a:ln>
              <a:noFill/>
            </a:ln>
          </c:spPr>
        </c:majorGridlines>
        <c:majorTickMark val="none"/>
        <c:minorTickMark val="none"/>
        <c:tickLblPos val="none"/>
        <c:crossAx val="3"/>
        <c:crosses val="min"/>
        <c:auto val="0"/>
        <c:lblAlgn val="ctr"/>
        <c:lblOffset val="100"/>
        <c:noMultiLvlLbl val="0"/>
      </c:catAx>
      <c:valAx>
        <c:axId val="3"/>
        <c:scaling>
          <c:orientation val="minMax"/>
          <c:max val="0"/>
          <c:min val="-3"/>
        </c:scaling>
        <c:delete val="0"/>
        <c:axPos val="r"/>
        <c:majorGridlines>
          <c:spPr>
            <a:ln>
              <a:noFill/>
            </a:ln>
          </c:spPr>
        </c:majorGridlines>
        <c:majorTickMark val="none"/>
        <c:minorTickMark val="none"/>
        <c:tickLblPos val="none"/>
        <c:spPr>
          <a:ln w="9525" cmpd="sng" algn="ctr">
            <a:solidFill>
              <a:schemeClr val="bg1"/>
            </a:solidFill>
            <a:prstDash val="solid"/>
          </a:ln>
        </c:spPr>
        <c:crossAx val="2"/>
        <c:crosses val="max"/>
        <c:crossBetween val="midCat"/>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2182121043864516E-3"/>
          <c:y val="5.1042415528396834E-2"/>
          <c:w val="0.98556357579122711"/>
          <c:h val="0.89791516894320633"/>
        </c:manualLayout>
      </c:layout>
      <c:barChart>
        <c:barDir val="col"/>
        <c:grouping val="stacked"/>
        <c:varyColors val="0"/>
        <c:ser>
          <c:idx val="0"/>
          <c:order val="0"/>
          <c:spPr>
            <a:solidFill>
              <a:srgbClr val="4C6C9C"/>
            </a:solidFill>
            <a:ln>
              <a:noFill/>
            </a:ln>
          </c:spPr>
          <c:invertIfNegative val="0"/>
          <c:dLbls>
            <c:dLbl>
              <c:idx val="0"/>
              <c:layout>
                <c:manualLayout>
                  <c:x val="0"/>
                  <c:y val="-7.1890726096333576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966-4DF8-96A5-40499A8ABD54}"/>
                </c:ext>
              </c:extLst>
            </c:dLbl>
            <c:dLbl>
              <c:idx val="1"/>
              <c:layout>
                <c:manualLayout>
                  <c:x val="0"/>
                  <c:y val="-3.5945363048166788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966-4DF8-96A5-40499A8ABD54}"/>
                </c:ext>
              </c:extLst>
            </c:dLbl>
            <c:dLbl>
              <c:idx val="2"/>
              <c:layout>
                <c:manualLayout>
                  <c:x val="0"/>
                  <c:y val="-3.5945363048166788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966-4DF8-96A5-40499A8ABD54}"/>
                </c:ext>
              </c:extLst>
            </c:dLbl>
            <c:dLbl>
              <c:idx val="3"/>
              <c:layout>
                <c:manualLayout>
                  <c:x val="0"/>
                  <c:y val="-3.5945363048166788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966-4DF8-96A5-40499A8ABD54}"/>
                </c:ext>
              </c:extLst>
            </c:dLbl>
            <c:dLbl>
              <c:idx val="4"/>
              <c:layout>
                <c:manualLayout>
                  <c:x val="0"/>
                  <c:y val="-3.5945363048166788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966-4DF8-96A5-40499A8ABD54}"/>
                </c:ext>
              </c:extLst>
            </c:dLbl>
            <c:dLbl>
              <c:idx val="5"/>
              <c:layout>
                <c:manualLayout>
                  <c:x val="0"/>
                  <c:y val="-3.5945363048166788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966-4DF8-96A5-40499A8ABD54}"/>
                </c:ext>
              </c:extLst>
            </c:dLbl>
            <c:dLbl>
              <c:idx val="6"/>
              <c:layout>
                <c:manualLayout>
                  <c:x val="0"/>
                  <c:y val="-3.5945363048166788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966-4DF8-96A5-40499A8ABD54}"/>
                </c:ext>
              </c:extLst>
            </c:dLbl>
            <c:dLbl>
              <c:idx val="7"/>
              <c:layout>
                <c:manualLayout>
                  <c:x val="0"/>
                  <c:y val="-3.5945363048166788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966-4DF8-96A5-40499A8ABD54}"/>
                </c:ext>
              </c:extLst>
            </c:dLbl>
            <c:dLbl>
              <c:idx val="8"/>
              <c:layout>
                <c:manualLayout>
                  <c:x val="0"/>
                  <c:y val="-3.5945363048166788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966-4DF8-96A5-40499A8ABD54}"/>
                </c:ext>
              </c:extLst>
            </c:dLbl>
            <c:dLbl>
              <c:idx val="9"/>
              <c:layout>
                <c:manualLayout>
                  <c:x val="0"/>
                  <c:y val="-3.5945363048166788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1966-4DF8-96A5-40499A8ABD54}"/>
                </c:ext>
              </c:extLst>
            </c:dLbl>
            <c:dLbl>
              <c:idx val="10"/>
              <c:layout>
                <c:manualLayout>
                  <c:x val="0"/>
                  <c:y val="-3.5945363048166788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1966-4DF8-96A5-40499A8ABD54}"/>
                </c:ext>
              </c:extLst>
            </c:dLbl>
            <c:dLbl>
              <c:idx val="11"/>
              <c:layout>
                <c:manualLayout>
                  <c:x val="0"/>
                  <c:y val="-3.5945363048166788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1966-4DF8-96A5-40499A8ABD54}"/>
                </c:ext>
              </c:extLst>
            </c:dLbl>
            <c:dLbl>
              <c:idx val="12"/>
              <c:layout>
                <c:manualLayout>
                  <c:x val="0"/>
                  <c:y val="-7.1890726096333576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1966-4DF8-96A5-40499A8ABD5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M$1</c:f>
              <c:numCache>
                <c:formatCode>General</c:formatCode>
                <c:ptCount val="13"/>
                <c:pt idx="0">
                  <c:v>168</c:v>
                </c:pt>
                <c:pt idx="1">
                  <c:v>193</c:v>
                </c:pt>
                <c:pt idx="2">
                  <c:v>185</c:v>
                </c:pt>
                <c:pt idx="3">
                  <c:v>219</c:v>
                </c:pt>
                <c:pt idx="4">
                  <c:v>219</c:v>
                </c:pt>
                <c:pt idx="5">
                  <c:v>215</c:v>
                </c:pt>
                <c:pt idx="6">
                  <c:v>215</c:v>
                </c:pt>
                <c:pt idx="7">
                  <c:v>211</c:v>
                </c:pt>
                <c:pt idx="8">
                  <c:v>243</c:v>
                </c:pt>
                <c:pt idx="9">
                  <c:v>196</c:v>
                </c:pt>
                <c:pt idx="10">
                  <c:v>200</c:v>
                </c:pt>
                <c:pt idx="11">
                  <c:v>121</c:v>
                </c:pt>
                <c:pt idx="12">
                  <c:v>138</c:v>
                </c:pt>
              </c:numCache>
            </c:numRef>
          </c:val>
          <c:extLst>
            <c:ext xmlns:c16="http://schemas.microsoft.com/office/drawing/2014/chart" uri="{C3380CC4-5D6E-409C-BE32-E72D297353CC}">
              <c16:uniqueId val="{0000000D-1966-4DF8-96A5-40499A8ABD54}"/>
            </c:ext>
          </c:extLst>
        </c:ser>
        <c:ser>
          <c:idx val="1"/>
          <c:order val="1"/>
          <c:spPr>
            <a:solidFill>
              <a:schemeClr val="accent2"/>
            </a:solidFill>
            <a:ln>
              <a:noFill/>
            </a:ln>
          </c:spPr>
          <c:invertIfNegative val="0"/>
          <c:dLbls>
            <c:dLbl>
              <c:idx val="0"/>
              <c:layout>
                <c:manualLayout>
                  <c:x val="0"/>
                  <c:y val="-3.5945363048166788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1966-4DF8-96A5-40499A8ABD54}"/>
                </c:ext>
              </c:extLst>
            </c:dLbl>
            <c:dLbl>
              <c:idx val="1"/>
              <c:layout>
                <c:manualLayout>
                  <c:x val="0"/>
                  <c:y val="-3.5945363048166788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1966-4DF8-96A5-40499A8ABD54}"/>
                </c:ext>
              </c:extLst>
            </c:dLbl>
            <c:dLbl>
              <c:idx val="2"/>
              <c:layout>
                <c:manualLayout>
                  <c:x val="0"/>
                  <c:y val="-7.1890726096333576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1966-4DF8-96A5-40499A8ABD54}"/>
                </c:ext>
              </c:extLst>
            </c:dLbl>
            <c:dLbl>
              <c:idx val="3"/>
              <c:layout>
                <c:manualLayout>
                  <c:x val="0"/>
                  <c:y val="-3.5945363048166788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1966-4DF8-96A5-40499A8ABD54}"/>
                </c:ext>
              </c:extLst>
            </c:dLbl>
            <c:dLbl>
              <c:idx val="4"/>
              <c:layout>
                <c:manualLayout>
                  <c:x val="0"/>
                  <c:y val="-7.1890726096333576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1966-4DF8-96A5-40499A8ABD54}"/>
                </c:ext>
              </c:extLst>
            </c:dLbl>
            <c:dLbl>
              <c:idx val="5"/>
              <c:layout>
                <c:manualLayout>
                  <c:x val="0"/>
                  <c:y val="-3.5945363048166788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1966-4DF8-96A5-40499A8ABD54}"/>
                </c:ext>
              </c:extLst>
            </c:dLbl>
            <c:dLbl>
              <c:idx val="6"/>
              <c:layout>
                <c:manualLayout>
                  <c:x val="0"/>
                  <c:y val="-3.5945363048166788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1966-4DF8-96A5-40499A8ABD54}"/>
                </c:ext>
              </c:extLst>
            </c:dLbl>
            <c:dLbl>
              <c:idx val="7"/>
              <c:layout>
                <c:manualLayout>
                  <c:x val="0"/>
                  <c:y val="-3.5945363048166788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1966-4DF8-96A5-40499A8ABD54}"/>
                </c:ext>
              </c:extLst>
            </c:dLbl>
            <c:dLbl>
              <c:idx val="8"/>
              <c:layout>
                <c:manualLayout>
                  <c:x val="0"/>
                  <c:y val="-3.5945363048166788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1966-4DF8-96A5-40499A8ABD54}"/>
                </c:ext>
              </c:extLst>
            </c:dLbl>
            <c:dLbl>
              <c:idx val="9"/>
              <c:layout>
                <c:manualLayout>
                  <c:x val="0"/>
                  <c:y val="-3.5945363048166788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1966-4DF8-96A5-40499A8ABD54}"/>
                </c:ext>
              </c:extLst>
            </c:dLbl>
            <c:dLbl>
              <c:idx val="10"/>
              <c:layout>
                <c:manualLayout>
                  <c:x val="0"/>
                  <c:y val="-3.5945363048166788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1966-4DF8-96A5-40499A8ABD54}"/>
                </c:ext>
              </c:extLst>
            </c:dLbl>
            <c:dLbl>
              <c:idx val="11"/>
              <c:layout>
                <c:manualLayout>
                  <c:x val="0"/>
                  <c:y val="-7.1890726096333576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1966-4DF8-96A5-40499A8ABD54}"/>
                </c:ext>
              </c:extLst>
            </c:dLbl>
            <c:dLbl>
              <c:idx val="12"/>
              <c:layout>
                <c:manualLayout>
                  <c:x val="0"/>
                  <c:y val="-3.5945363048166788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1966-4DF8-96A5-40499A8ABD5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M$2</c:f>
              <c:numCache>
                <c:formatCode>General</c:formatCode>
                <c:ptCount val="13"/>
                <c:pt idx="0">
                  <c:v>218</c:v>
                </c:pt>
                <c:pt idx="1">
                  <c:v>245</c:v>
                </c:pt>
                <c:pt idx="2">
                  <c:v>224</c:v>
                </c:pt>
                <c:pt idx="3">
                  <c:v>214</c:v>
                </c:pt>
                <c:pt idx="4">
                  <c:v>236</c:v>
                </c:pt>
                <c:pt idx="5">
                  <c:v>214</c:v>
                </c:pt>
                <c:pt idx="6">
                  <c:v>189</c:v>
                </c:pt>
                <c:pt idx="7">
                  <c:v>171</c:v>
                </c:pt>
                <c:pt idx="8">
                  <c:v>182</c:v>
                </c:pt>
                <c:pt idx="9">
                  <c:v>194</c:v>
                </c:pt>
                <c:pt idx="10">
                  <c:v>184</c:v>
                </c:pt>
                <c:pt idx="11">
                  <c:v>247</c:v>
                </c:pt>
                <c:pt idx="12">
                  <c:v>196</c:v>
                </c:pt>
              </c:numCache>
            </c:numRef>
          </c:val>
          <c:extLst>
            <c:ext xmlns:c16="http://schemas.microsoft.com/office/drawing/2014/chart" uri="{C3380CC4-5D6E-409C-BE32-E72D297353CC}">
              <c16:uniqueId val="{0000001B-1966-4DF8-96A5-40499A8ABD54}"/>
            </c:ext>
          </c:extLst>
        </c:ser>
        <c:ser>
          <c:idx val="2"/>
          <c:order val="2"/>
          <c:spPr>
            <a:solidFill>
              <a:schemeClr val="accent3"/>
            </a:solidFill>
            <a:ln>
              <a:noFill/>
            </a:ln>
          </c:spPr>
          <c:invertIfNegative val="0"/>
          <c:dLbls>
            <c:dLbl>
              <c:idx val="0"/>
              <c:layout>
                <c:manualLayout>
                  <c:x val="0"/>
                  <c:y val="-7.1890726096333576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1966-4DF8-96A5-40499A8ABD54}"/>
                </c:ext>
              </c:extLst>
            </c:dLbl>
            <c:dLbl>
              <c:idx val="1"/>
              <c:layout>
                <c:manualLayout>
                  <c:x val="0"/>
                  <c:y val="-7.1890726096333576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1966-4DF8-96A5-40499A8ABD54}"/>
                </c:ext>
              </c:extLst>
            </c:dLbl>
            <c:dLbl>
              <c:idx val="2"/>
              <c:layout>
                <c:manualLayout>
                  <c:x val="0"/>
                  <c:y val="-3.5945363048166788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1966-4DF8-96A5-40499A8ABD54}"/>
                </c:ext>
              </c:extLst>
            </c:dLbl>
            <c:dLbl>
              <c:idx val="3"/>
              <c:layout>
                <c:manualLayout>
                  <c:x val="0"/>
                  <c:y val="-3.5945363048166788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1966-4DF8-96A5-40499A8ABD54}"/>
                </c:ext>
              </c:extLst>
            </c:dLbl>
            <c:dLbl>
              <c:idx val="4"/>
              <c:layout>
                <c:manualLayout>
                  <c:x val="0"/>
                  <c:y val="-3.5945363048166788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1966-4DF8-96A5-40499A8ABD54}"/>
                </c:ext>
              </c:extLst>
            </c:dLbl>
            <c:dLbl>
              <c:idx val="5"/>
              <c:layout>
                <c:manualLayout>
                  <c:x val="0"/>
                  <c:y val="-3.5945363048166788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1966-4DF8-96A5-40499A8ABD54}"/>
                </c:ext>
              </c:extLst>
            </c:dLbl>
            <c:dLbl>
              <c:idx val="6"/>
              <c:layout>
                <c:manualLayout>
                  <c:x val="0"/>
                  <c:y val="-3.5945363048166788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1966-4DF8-96A5-40499A8ABD54}"/>
                </c:ext>
              </c:extLst>
            </c:dLbl>
            <c:dLbl>
              <c:idx val="7"/>
              <c:layout>
                <c:manualLayout>
                  <c:x val="0"/>
                  <c:y val="-3.5945363048166788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1966-4DF8-96A5-40499A8ABD54}"/>
                </c:ext>
              </c:extLst>
            </c:dLbl>
            <c:dLbl>
              <c:idx val="8"/>
              <c:layout>
                <c:manualLayout>
                  <c:x val="0"/>
                  <c:y val="-3.5945363048166788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1966-4DF8-96A5-40499A8ABD54}"/>
                </c:ext>
              </c:extLst>
            </c:dLbl>
            <c:dLbl>
              <c:idx val="9"/>
              <c:layout>
                <c:manualLayout>
                  <c:x val="0"/>
                  <c:y val="-3.5945363048166788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1966-4DF8-96A5-40499A8ABD54}"/>
                </c:ext>
              </c:extLst>
            </c:dLbl>
            <c:dLbl>
              <c:idx val="10"/>
              <c:layout>
                <c:manualLayout>
                  <c:x val="0"/>
                  <c:y val="-3.5945363048166788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1966-4DF8-96A5-40499A8ABD54}"/>
                </c:ext>
              </c:extLst>
            </c:dLbl>
            <c:dLbl>
              <c:idx val="11"/>
              <c:layout>
                <c:manualLayout>
                  <c:x val="0"/>
                  <c:y val="-3.5945363048166788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1966-4DF8-96A5-40499A8ABD54}"/>
                </c:ext>
              </c:extLst>
            </c:dLbl>
            <c:dLbl>
              <c:idx val="12"/>
              <c:layout>
                <c:manualLayout>
                  <c:x val="0"/>
                  <c:y val="-7.1890726096333576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1966-4DF8-96A5-40499A8ABD5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M$3</c:f>
              <c:numCache>
                <c:formatCode>General</c:formatCode>
                <c:ptCount val="13"/>
                <c:pt idx="0">
                  <c:v>233</c:v>
                </c:pt>
                <c:pt idx="1">
                  <c:v>247</c:v>
                </c:pt>
                <c:pt idx="2">
                  <c:v>241</c:v>
                </c:pt>
                <c:pt idx="3">
                  <c:v>266</c:v>
                </c:pt>
                <c:pt idx="4">
                  <c:v>275</c:v>
                </c:pt>
                <c:pt idx="5">
                  <c:v>237</c:v>
                </c:pt>
                <c:pt idx="6">
                  <c:v>219</c:v>
                </c:pt>
                <c:pt idx="7">
                  <c:v>214</c:v>
                </c:pt>
                <c:pt idx="8">
                  <c:v>238</c:v>
                </c:pt>
                <c:pt idx="9">
                  <c:v>208</c:v>
                </c:pt>
                <c:pt idx="10">
                  <c:v>208</c:v>
                </c:pt>
                <c:pt idx="11">
                  <c:v>225</c:v>
                </c:pt>
                <c:pt idx="12">
                  <c:v>198</c:v>
                </c:pt>
              </c:numCache>
            </c:numRef>
          </c:val>
          <c:extLst>
            <c:ext xmlns:c16="http://schemas.microsoft.com/office/drawing/2014/chart" uri="{C3380CC4-5D6E-409C-BE32-E72D297353CC}">
              <c16:uniqueId val="{00000029-1966-4DF8-96A5-40499A8ABD54}"/>
            </c:ext>
          </c:extLst>
        </c:ser>
        <c:ser>
          <c:idx val="3"/>
          <c:order val="3"/>
          <c:spPr>
            <a:solidFill>
              <a:srgbClr val="6EA0FF"/>
            </a:solidFill>
            <a:ln>
              <a:noFill/>
            </a:ln>
          </c:spPr>
          <c:invertIfNegative val="0"/>
          <c:dLbls>
            <c:dLbl>
              <c:idx val="0"/>
              <c:layout>
                <c:manualLayout>
                  <c:x val="0"/>
                  <c:y val="-3.5945363048166788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1966-4DF8-96A5-40499A8ABD54}"/>
                </c:ext>
              </c:extLst>
            </c:dLbl>
            <c:dLbl>
              <c:idx val="1"/>
              <c:layout>
                <c:manualLayout>
                  <c:x val="0"/>
                  <c:y val="-3.5945363048166788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1966-4DF8-96A5-40499A8ABD54}"/>
                </c:ext>
              </c:extLst>
            </c:dLbl>
            <c:dLbl>
              <c:idx val="2"/>
              <c:layout>
                <c:manualLayout>
                  <c:x val="0"/>
                  <c:y val="-3.5945363048166788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1966-4DF8-96A5-40499A8ABD54}"/>
                </c:ext>
              </c:extLst>
            </c:dLbl>
            <c:dLbl>
              <c:idx val="3"/>
              <c:layout>
                <c:manualLayout>
                  <c:x val="0"/>
                  <c:y val="-7.1890726096333576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D-1966-4DF8-96A5-40499A8ABD54}"/>
                </c:ext>
              </c:extLst>
            </c:dLbl>
            <c:dLbl>
              <c:idx val="4"/>
              <c:layout>
                <c:manualLayout>
                  <c:x val="0"/>
                  <c:y val="-3.5945363048166788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E-1966-4DF8-96A5-40499A8ABD54}"/>
                </c:ext>
              </c:extLst>
            </c:dLbl>
            <c:dLbl>
              <c:idx val="5"/>
              <c:layout>
                <c:manualLayout>
                  <c:x val="0"/>
                  <c:y val="-7.1890726096333576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F-1966-4DF8-96A5-40499A8ABD54}"/>
                </c:ext>
              </c:extLst>
            </c:dLbl>
            <c:dLbl>
              <c:idx val="6"/>
              <c:layout>
                <c:manualLayout>
                  <c:x val="0"/>
                  <c:y val="-7.1890726096333576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0-1966-4DF8-96A5-40499A8ABD54}"/>
                </c:ext>
              </c:extLst>
            </c:dLbl>
            <c:dLbl>
              <c:idx val="7"/>
              <c:layout>
                <c:manualLayout>
                  <c:x val="0"/>
                  <c:y val="-7.1890726096333576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1-1966-4DF8-96A5-40499A8ABD54}"/>
                </c:ext>
              </c:extLst>
            </c:dLbl>
            <c:dLbl>
              <c:idx val="8"/>
              <c:layout>
                <c:manualLayout>
                  <c:x val="0"/>
                  <c:y val="-3.5945363048166788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2-1966-4DF8-96A5-40499A8ABD54}"/>
                </c:ext>
              </c:extLst>
            </c:dLbl>
            <c:dLbl>
              <c:idx val="9"/>
              <c:layout>
                <c:manualLayout>
                  <c:x val="0"/>
                  <c:y val="-7.1890726096333576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3-1966-4DF8-96A5-40499A8ABD54}"/>
                </c:ext>
              </c:extLst>
            </c:dLbl>
            <c:dLbl>
              <c:idx val="10"/>
              <c:layout>
                <c:manualLayout>
                  <c:x val="0"/>
                  <c:y val="-7.1890726096333576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4-1966-4DF8-96A5-40499A8ABD54}"/>
                </c:ext>
              </c:extLst>
            </c:dLbl>
            <c:dLbl>
              <c:idx val="11"/>
              <c:layout>
                <c:manualLayout>
                  <c:x val="0"/>
                  <c:y val="-3.5945363048166788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5-1966-4DF8-96A5-40499A8ABD54}"/>
                </c:ext>
              </c:extLst>
            </c:dLbl>
            <c:dLbl>
              <c:idx val="12"/>
              <c:layout>
                <c:manualLayout>
                  <c:x val="0"/>
                  <c:y val="-7.1890726096333576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6-1966-4DF8-96A5-40499A8ABD5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M$4</c:f>
              <c:numCache>
                <c:formatCode>General</c:formatCode>
                <c:ptCount val="13"/>
                <c:pt idx="0">
                  <c:v>407</c:v>
                </c:pt>
                <c:pt idx="1">
                  <c:v>373</c:v>
                </c:pt>
                <c:pt idx="2">
                  <c:v>331</c:v>
                </c:pt>
                <c:pt idx="3">
                  <c:v>387</c:v>
                </c:pt>
                <c:pt idx="4">
                  <c:v>354</c:v>
                </c:pt>
                <c:pt idx="5">
                  <c:v>340</c:v>
                </c:pt>
                <c:pt idx="6">
                  <c:v>324</c:v>
                </c:pt>
                <c:pt idx="7">
                  <c:v>318</c:v>
                </c:pt>
                <c:pt idx="8">
                  <c:v>323</c:v>
                </c:pt>
                <c:pt idx="9">
                  <c:v>281</c:v>
                </c:pt>
                <c:pt idx="10">
                  <c:v>270</c:v>
                </c:pt>
                <c:pt idx="11">
                  <c:v>264</c:v>
                </c:pt>
                <c:pt idx="12">
                  <c:v>228</c:v>
                </c:pt>
              </c:numCache>
            </c:numRef>
          </c:val>
          <c:extLst>
            <c:ext xmlns:c16="http://schemas.microsoft.com/office/drawing/2014/chart" uri="{C3380CC4-5D6E-409C-BE32-E72D297353CC}">
              <c16:uniqueId val="{00000037-1966-4DF8-96A5-40499A8ABD54}"/>
            </c:ext>
          </c:extLst>
        </c:ser>
        <c:ser>
          <c:idx val="4"/>
          <c:order val="4"/>
          <c:spPr>
            <a:solidFill>
              <a:schemeClr val="accent1"/>
            </a:solidFill>
            <a:ln>
              <a:noFill/>
            </a:ln>
          </c:spPr>
          <c:invertIfNegative val="0"/>
          <c:dLbls>
            <c:dLbl>
              <c:idx val="0"/>
              <c:layout>
                <c:manualLayout>
                  <c:x val="0"/>
                  <c:y val="-7.1890726096333576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8-1966-4DF8-96A5-40499A8ABD54}"/>
                </c:ext>
              </c:extLst>
            </c:dLbl>
            <c:dLbl>
              <c:idx val="1"/>
              <c:layout>
                <c:manualLayout>
                  <c:x val="0"/>
                  <c:y val="-3.5945363048166788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9-1966-4DF8-96A5-40499A8ABD54}"/>
                </c:ext>
              </c:extLst>
            </c:dLbl>
            <c:dLbl>
              <c:idx val="2"/>
              <c:layout>
                <c:manualLayout>
                  <c:x val="0"/>
                  <c:y val="-3.5945363048166788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A-1966-4DF8-96A5-40499A8ABD54}"/>
                </c:ext>
              </c:extLst>
            </c:dLbl>
            <c:dLbl>
              <c:idx val="3"/>
              <c:layout>
                <c:manualLayout>
                  <c:x val="0"/>
                  <c:y val="-7.1890726096333576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B-1966-4DF8-96A5-40499A8ABD54}"/>
                </c:ext>
              </c:extLst>
            </c:dLbl>
            <c:dLbl>
              <c:idx val="4"/>
              <c:layout>
                <c:manualLayout>
                  <c:x val="0"/>
                  <c:y val="-3.5945363048166788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C-1966-4DF8-96A5-40499A8ABD54}"/>
                </c:ext>
              </c:extLst>
            </c:dLbl>
            <c:dLbl>
              <c:idx val="5"/>
              <c:layout>
                <c:manualLayout>
                  <c:x val="0"/>
                  <c:y val="-3.5945363048166788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D-1966-4DF8-96A5-40499A8ABD54}"/>
                </c:ext>
              </c:extLst>
            </c:dLbl>
            <c:dLbl>
              <c:idx val="6"/>
              <c:layout>
                <c:manualLayout>
                  <c:x val="0"/>
                  <c:y val="-3.5945363048166788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E-1966-4DF8-96A5-40499A8ABD54}"/>
                </c:ext>
              </c:extLst>
            </c:dLbl>
            <c:dLbl>
              <c:idx val="7"/>
              <c:layout>
                <c:manualLayout>
                  <c:x val="0"/>
                  <c:y val="-7.1890726096333576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F-1966-4DF8-96A5-40499A8ABD54}"/>
                </c:ext>
              </c:extLst>
            </c:dLbl>
            <c:dLbl>
              <c:idx val="8"/>
              <c:layout>
                <c:manualLayout>
                  <c:x val="0"/>
                  <c:y val="-7.1890726096333576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0-1966-4DF8-96A5-40499A8ABD54}"/>
                </c:ext>
              </c:extLst>
            </c:dLbl>
            <c:dLbl>
              <c:idx val="9"/>
              <c:layout>
                <c:manualLayout>
                  <c:x val="0"/>
                  <c:y val="-7.1890726096333576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1-1966-4DF8-96A5-40499A8ABD54}"/>
                </c:ext>
              </c:extLst>
            </c:dLbl>
            <c:dLbl>
              <c:idx val="10"/>
              <c:layout>
                <c:manualLayout>
                  <c:x val="0"/>
                  <c:y val="-3.5945363048166788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2-1966-4DF8-96A5-40499A8ABD54}"/>
                </c:ext>
              </c:extLst>
            </c:dLbl>
            <c:dLbl>
              <c:idx val="11"/>
              <c:layout>
                <c:manualLayout>
                  <c:x val="0"/>
                  <c:y val="-3.5945363048166788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3-1966-4DF8-96A5-40499A8ABD54}"/>
                </c:ext>
              </c:extLst>
            </c:dLbl>
            <c:dLbl>
              <c:idx val="12"/>
              <c:layout>
                <c:manualLayout>
                  <c:x val="0"/>
                  <c:y val="-7.1890726096333576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4-1966-4DF8-96A5-40499A8ABD5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M$5</c:f>
              <c:numCache>
                <c:formatCode>General</c:formatCode>
                <c:ptCount val="13"/>
                <c:pt idx="0">
                  <c:v>265</c:v>
                </c:pt>
                <c:pt idx="1">
                  <c:v>286</c:v>
                </c:pt>
                <c:pt idx="2">
                  <c:v>264</c:v>
                </c:pt>
                <c:pt idx="3">
                  <c:v>285</c:v>
                </c:pt>
                <c:pt idx="4">
                  <c:v>293</c:v>
                </c:pt>
                <c:pt idx="5">
                  <c:v>274</c:v>
                </c:pt>
                <c:pt idx="6">
                  <c:v>256</c:v>
                </c:pt>
                <c:pt idx="7">
                  <c:v>240</c:v>
                </c:pt>
                <c:pt idx="8">
                  <c:v>258</c:v>
                </c:pt>
                <c:pt idx="9">
                  <c:v>272</c:v>
                </c:pt>
                <c:pt idx="10">
                  <c:v>256</c:v>
                </c:pt>
                <c:pt idx="11">
                  <c:v>251</c:v>
                </c:pt>
                <c:pt idx="12">
                  <c:v>250</c:v>
                </c:pt>
              </c:numCache>
            </c:numRef>
          </c:val>
          <c:extLst>
            <c:ext xmlns:c16="http://schemas.microsoft.com/office/drawing/2014/chart" uri="{C3380CC4-5D6E-409C-BE32-E72D297353CC}">
              <c16:uniqueId val="{00000045-1966-4DF8-96A5-40499A8ABD54}"/>
            </c:ext>
          </c:extLst>
        </c:ser>
        <c:dLbls>
          <c:showLegendKey val="0"/>
          <c:showVal val="0"/>
          <c:showCatName val="0"/>
          <c:showSerName val="0"/>
          <c:showPercent val="0"/>
          <c:showBubbleSize val="0"/>
        </c:dLbls>
        <c:gapWidth val="80"/>
        <c:overlap val="100"/>
        <c:axId val="1992771040"/>
        <c:axId val="1"/>
      </c:barChart>
      <c:barChart>
        <c:barDir val="col"/>
        <c:grouping val="clustered"/>
        <c:varyColors val="0"/>
        <c:ser>
          <c:idx val="5"/>
          <c:order val="5"/>
          <c:invertIfNegative val="0"/>
          <c:extLst>
            <c:ext xmlns:c16="http://schemas.microsoft.com/office/drawing/2014/chart" uri="{C3380CC4-5D6E-409C-BE32-E72D297353CC}">
              <c16:uniqueId val="{00000046-1966-4DF8-96A5-40499A8ABD54}"/>
            </c:ext>
          </c:extLst>
        </c:ser>
        <c:dLbls>
          <c:showLegendKey val="0"/>
          <c:showVal val="0"/>
          <c:showCatName val="0"/>
          <c:showSerName val="0"/>
          <c:showPercent val="0"/>
          <c:showBubbleSize val="0"/>
        </c:dLbls>
        <c:gapWidth val="150"/>
        <c:axId val="2"/>
        <c:axId val="3"/>
      </c:barChart>
      <c:catAx>
        <c:axId val="199277104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700"/>
          <c:min val="0"/>
        </c:scaling>
        <c:delete val="0"/>
        <c:axPos val="l"/>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1992771040"/>
        <c:crosses val="min"/>
        <c:crossBetween val="between"/>
      </c:valAx>
      <c:catAx>
        <c:axId val="2"/>
        <c:scaling>
          <c:orientation val="minMax"/>
        </c:scaling>
        <c:delete val="1"/>
        <c:axPos val="b"/>
        <c:majorGridlines>
          <c:spPr>
            <a:ln>
              <a:noFill/>
            </a:ln>
          </c:spPr>
        </c:majorGridlines>
        <c:majorTickMark val="none"/>
        <c:minorTickMark val="none"/>
        <c:tickLblPos val="none"/>
        <c:crossAx val="3"/>
        <c:crosses val="min"/>
        <c:auto val="0"/>
        <c:lblAlgn val="ctr"/>
        <c:lblOffset val="100"/>
        <c:noMultiLvlLbl val="0"/>
      </c:catAx>
      <c:valAx>
        <c:axId val="3"/>
        <c:scaling>
          <c:orientation val="minMax"/>
          <c:max val="0"/>
          <c:min val="-11"/>
        </c:scaling>
        <c:delete val="0"/>
        <c:axPos val="r"/>
        <c:majorGridlines>
          <c:spPr>
            <a:ln>
              <a:noFill/>
            </a:ln>
          </c:spPr>
        </c:majorGridlines>
        <c:majorTickMark val="none"/>
        <c:minorTickMark val="none"/>
        <c:tickLblPos val="none"/>
        <c:spPr>
          <a:ln w="9525" cmpd="sng" algn="ctr">
            <a:solidFill>
              <a:schemeClr val="bg1"/>
            </a:solidFill>
            <a:prstDash val="solid"/>
          </a:ln>
        </c:spPr>
        <c:crossAx val="2"/>
        <c:crosses val="max"/>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7744360902255641E-3"/>
          <c:y val="0.11259191176470588"/>
          <c:w val="0.98045112781954891"/>
          <c:h val="0.81617647058823528"/>
        </c:manualLayout>
      </c:layout>
      <c:barChart>
        <c:barDir val="col"/>
        <c:grouping val="stacked"/>
        <c:varyColors val="0"/>
        <c:ser>
          <c:idx val="0"/>
          <c:order val="0"/>
          <c:spPr>
            <a:solidFill>
              <a:schemeClr val="accent1"/>
            </a:solidFill>
            <a:ln>
              <a:noFill/>
            </a:ln>
          </c:spPr>
          <c:invertIfNegative val="0"/>
          <c:dLbls>
            <c:dLbl>
              <c:idx val="0"/>
              <c:layout>
                <c:manualLayout>
                  <c:x val="0"/>
                  <c:y val="-1.3786764705882354E-3"/>
                </c:manualLayout>
              </c:layout>
              <c:numFmt formatCode="#,##0;&quot;-&quot;#,##0"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391-4B93-B497-A200E107F967}"/>
                </c:ext>
              </c:extLst>
            </c:dLbl>
            <c:dLbl>
              <c:idx val="1"/>
              <c:layout>
                <c:manualLayout>
                  <c:x val="0"/>
                  <c:y val="-9.1911764705882352E-4"/>
                </c:manualLayout>
              </c:layout>
              <c:numFmt formatCode="#,##0;&quot;-&quot;#,##0"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391-4B93-B497-A200E107F967}"/>
                </c:ext>
              </c:extLst>
            </c:dLbl>
            <c:dLbl>
              <c:idx val="2"/>
              <c:layout>
                <c:manualLayout>
                  <c:x val="0"/>
                  <c:y val="-9.1911764705882352E-4"/>
                </c:manualLayout>
              </c:layout>
              <c:numFmt formatCode="#,##0;&quot;-&quot;#,##0"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391-4B93-B497-A200E107F967}"/>
                </c:ext>
              </c:extLst>
            </c:dLbl>
            <c:dLbl>
              <c:idx val="3"/>
              <c:layout>
                <c:manualLayout>
                  <c:x val="0"/>
                  <c:y val="-1.3786764705882354E-3"/>
                </c:manualLayout>
              </c:layout>
              <c:numFmt formatCode="#,##0;&quot;-&quot;#,##0"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391-4B93-B497-A200E107F967}"/>
                </c:ext>
              </c:extLst>
            </c:dLbl>
            <c:dLbl>
              <c:idx val="4"/>
              <c:layout>
                <c:manualLayout>
                  <c:x val="0"/>
                  <c:y val="-1.3786764705882354E-3"/>
                </c:manualLayout>
              </c:layout>
              <c:numFmt formatCode="#,##0;&quot;-&quot;#,##0"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391-4B93-B497-A200E107F967}"/>
                </c:ext>
              </c:extLst>
            </c:dLbl>
            <c:dLbl>
              <c:idx val="5"/>
              <c:layout>
                <c:manualLayout>
                  <c:x val="0"/>
                  <c:y val="-9.1911764705882352E-4"/>
                </c:manualLayout>
              </c:layout>
              <c:numFmt formatCode="#,##0;&quot;-&quot;#,##0"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391-4B93-B497-A200E107F967}"/>
                </c:ext>
              </c:extLst>
            </c:dLbl>
            <c:dLbl>
              <c:idx val="6"/>
              <c:layout>
                <c:manualLayout>
                  <c:x val="0"/>
                  <c:y val="-9.1911764705882352E-4"/>
                </c:manualLayout>
              </c:layout>
              <c:numFmt formatCode="#,##0;&quot;-&quot;#,##0"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391-4B93-B497-A200E107F967}"/>
                </c:ext>
              </c:extLst>
            </c:dLbl>
            <c:dLbl>
              <c:idx val="7"/>
              <c:layout>
                <c:manualLayout>
                  <c:x val="0"/>
                  <c:y val="-1.3786764705882354E-3"/>
                </c:manualLayout>
              </c:layout>
              <c:numFmt formatCode="#,##0;&quot;-&quot;#,##0"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391-4B93-B497-A200E107F967}"/>
                </c:ext>
              </c:extLst>
            </c:dLbl>
            <c:dLbl>
              <c:idx val="8"/>
              <c:layout>
                <c:manualLayout>
                  <c:x val="0"/>
                  <c:y val="-9.1911764705882352E-4"/>
                </c:manualLayout>
              </c:layout>
              <c:numFmt formatCode="#,##0;&quot;-&quot;#,##0"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F391-4B93-B497-A200E107F967}"/>
                </c:ext>
              </c:extLst>
            </c:dLbl>
            <c:dLbl>
              <c:idx val="9"/>
              <c:layout>
                <c:manualLayout>
                  <c:x val="0"/>
                  <c:y val="-1.3786764705882354E-3"/>
                </c:manualLayout>
              </c:layout>
              <c:numFmt formatCode="#,##0;&quot;-&quot;#,##0"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F391-4B93-B497-A200E107F967}"/>
                </c:ext>
              </c:extLst>
            </c:dLbl>
            <c:dLbl>
              <c:idx val="10"/>
              <c:layout>
                <c:manualLayout>
                  <c:x val="0"/>
                  <c:y val="-9.1911764705882352E-4"/>
                </c:manualLayout>
              </c:layout>
              <c:numFmt formatCode="#,##0;&quot;-&quot;#,##0"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F391-4B93-B497-A200E107F967}"/>
                </c:ext>
              </c:extLst>
            </c:dLbl>
            <c:dLbl>
              <c:idx val="11"/>
              <c:layout>
                <c:manualLayout>
                  <c:x val="0"/>
                  <c:y val="-1.3786764705882354E-3"/>
                </c:manualLayout>
              </c:layout>
              <c:numFmt formatCode="#,##0;&quot;-&quot;#,##0"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F391-4B93-B497-A200E107F967}"/>
                </c:ext>
              </c:extLst>
            </c:dLbl>
            <c:dLbl>
              <c:idx val="12"/>
              <c:layout>
                <c:manualLayout>
                  <c:x val="0"/>
                  <c:y val="-1.3786764705882354E-3"/>
                </c:manualLayout>
              </c:layout>
              <c:numFmt formatCode="#,##0;&quot;-&quot;#,##0"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F391-4B93-B497-A200E107F96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M$1</c:f>
              <c:numCache>
                <c:formatCode>General</c:formatCode>
                <c:ptCount val="13"/>
                <c:pt idx="0">
                  <c:v>821.25</c:v>
                </c:pt>
                <c:pt idx="1">
                  <c:v>832.19047619047615</c:v>
                </c:pt>
                <c:pt idx="2">
                  <c:v>765.09523809523796</c:v>
                </c:pt>
                <c:pt idx="3">
                  <c:v>765.80952380952397</c:v>
                </c:pt>
                <c:pt idx="4">
                  <c:v>742.5454545454545</c:v>
                </c:pt>
                <c:pt idx="5">
                  <c:v>700.66666666666663</c:v>
                </c:pt>
                <c:pt idx="6">
                  <c:v>672.9545454545455</c:v>
                </c:pt>
                <c:pt idx="7">
                  <c:v>623.7619047619047</c:v>
                </c:pt>
                <c:pt idx="8">
                  <c:v>670.38888888888891</c:v>
                </c:pt>
                <c:pt idx="9">
                  <c:v>648</c:v>
                </c:pt>
                <c:pt idx="10">
                  <c:v>641</c:v>
                </c:pt>
                <c:pt idx="11">
                  <c:v>640</c:v>
                </c:pt>
                <c:pt idx="12">
                  <c:v>636</c:v>
                </c:pt>
              </c:numCache>
            </c:numRef>
          </c:val>
          <c:extLst>
            <c:ext xmlns:c16="http://schemas.microsoft.com/office/drawing/2014/chart" uri="{C3380CC4-5D6E-409C-BE32-E72D297353CC}">
              <c16:uniqueId val="{0000000D-F391-4B93-B497-A200E107F967}"/>
            </c:ext>
          </c:extLst>
        </c:ser>
        <c:ser>
          <c:idx val="1"/>
          <c:order val="1"/>
          <c:spPr>
            <a:solidFill>
              <a:schemeClr val="accent2"/>
            </a:solidFill>
            <a:ln>
              <a:noFill/>
            </a:ln>
          </c:spPr>
          <c:invertIfNegative val="0"/>
          <c:dLbls>
            <c:dLbl>
              <c:idx val="0"/>
              <c:layout>
                <c:manualLayout>
                  <c:x val="0"/>
                  <c:y val="-9.1911764705882352E-4"/>
                </c:manualLayout>
              </c:layout>
              <c:numFmt formatCode="#,##0;&quot;-&quot;#,##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F391-4B93-B497-A200E107F967}"/>
                </c:ext>
              </c:extLst>
            </c:dLbl>
            <c:dLbl>
              <c:idx val="1"/>
              <c:layout>
                <c:manualLayout>
                  <c:x val="0"/>
                  <c:y val="-9.1911764705882352E-4"/>
                </c:manualLayout>
              </c:layout>
              <c:numFmt formatCode="#,##0;&quot;-&quot;#,##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F391-4B93-B497-A200E107F967}"/>
                </c:ext>
              </c:extLst>
            </c:dLbl>
            <c:dLbl>
              <c:idx val="2"/>
              <c:layout>
                <c:manualLayout>
                  <c:x val="0"/>
                  <c:y val="-9.1911764705882352E-4"/>
                </c:manualLayout>
              </c:layout>
              <c:numFmt formatCode="#,##0;&quot;-&quot;#,##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F391-4B93-B497-A200E107F967}"/>
                </c:ext>
              </c:extLst>
            </c:dLbl>
            <c:dLbl>
              <c:idx val="3"/>
              <c:layout>
                <c:manualLayout>
                  <c:x val="0"/>
                  <c:y val="-9.1911764705882352E-4"/>
                </c:manualLayout>
              </c:layout>
              <c:numFmt formatCode="#,##0;&quot;-&quot;#,##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F391-4B93-B497-A200E107F967}"/>
                </c:ext>
              </c:extLst>
            </c:dLbl>
            <c:dLbl>
              <c:idx val="4"/>
              <c:layout>
                <c:manualLayout>
                  <c:x val="0"/>
                  <c:y val="-9.1911764705882352E-4"/>
                </c:manualLayout>
              </c:layout>
              <c:numFmt formatCode="#,##0;&quot;-&quot;#,##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F391-4B93-B497-A200E107F967}"/>
                </c:ext>
              </c:extLst>
            </c:dLbl>
            <c:dLbl>
              <c:idx val="5"/>
              <c:layout>
                <c:manualLayout>
                  <c:x val="0"/>
                  <c:y val="-1.3786764705882354E-3"/>
                </c:manualLayout>
              </c:layout>
              <c:numFmt formatCode="#,##0;&quot;-&quot;#,##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F391-4B93-B497-A200E107F967}"/>
                </c:ext>
              </c:extLst>
            </c:dLbl>
            <c:dLbl>
              <c:idx val="6"/>
              <c:layout>
                <c:manualLayout>
                  <c:x val="0"/>
                  <c:y val="-9.1911764705882352E-4"/>
                </c:manualLayout>
              </c:layout>
              <c:numFmt formatCode="#,##0;&quot;-&quot;#,##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F391-4B93-B497-A200E107F967}"/>
                </c:ext>
              </c:extLst>
            </c:dLbl>
            <c:dLbl>
              <c:idx val="7"/>
              <c:layout>
                <c:manualLayout>
                  <c:x val="0"/>
                  <c:y val="-9.1911764705882352E-4"/>
                </c:manualLayout>
              </c:layout>
              <c:numFmt formatCode="#,##0;&quot;-&quot;#,##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F391-4B93-B497-A200E107F967}"/>
                </c:ext>
              </c:extLst>
            </c:dLbl>
            <c:dLbl>
              <c:idx val="8"/>
              <c:layout>
                <c:manualLayout>
                  <c:x val="0"/>
                  <c:y val="-9.1911764705882352E-4"/>
                </c:manualLayout>
              </c:layout>
              <c:numFmt formatCode="#,##0;&quot;-&quot;#,##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F391-4B93-B497-A200E107F967}"/>
                </c:ext>
              </c:extLst>
            </c:dLbl>
            <c:dLbl>
              <c:idx val="9"/>
              <c:layout>
                <c:manualLayout>
                  <c:x val="0"/>
                  <c:y val="-9.1911764705882352E-4"/>
                </c:manualLayout>
              </c:layout>
              <c:numFmt formatCode="#,##0;&quot;-&quot;#,##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F391-4B93-B497-A200E107F967}"/>
                </c:ext>
              </c:extLst>
            </c:dLbl>
            <c:dLbl>
              <c:idx val="10"/>
              <c:layout>
                <c:manualLayout>
                  <c:x val="0"/>
                  <c:y val="-9.1911764705882352E-4"/>
                </c:manualLayout>
              </c:layout>
              <c:numFmt formatCode="#,##0;&quot;-&quot;#,##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F391-4B93-B497-A200E107F967}"/>
                </c:ext>
              </c:extLst>
            </c:dLbl>
            <c:dLbl>
              <c:idx val="11"/>
              <c:layout>
                <c:manualLayout>
                  <c:x val="0"/>
                  <c:y val="-1.3786764705882354E-3"/>
                </c:manualLayout>
              </c:layout>
              <c:numFmt formatCode="#,##0;&quot;-&quot;#,##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F391-4B93-B497-A200E107F967}"/>
                </c:ext>
              </c:extLst>
            </c:dLbl>
            <c:dLbl>
              <c:idx val="12"/>
              <c:layout>
                <c:manualLayout>
                  <c:x val="0"/>
                  <c:y val="-1.3786764705882354E-3"/>
                </c:manualLayout>
              </c:layout>
              <c:numFmt formatCode="#,##0;&quot;-&quot;#,##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F391-4B93-B497-A200E107F96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M$2</c:f>
              <c:numCache>
                <c:formatCode>General</c:formatCode>
                <c:ptCount val="13"/>
                <c:pt idx="0">
                  <c:v>264.54999999999995</c:v>
                </c:pt>
                <c:pt idx="1">
                  <c:v>286.14285714285711</c:v>
                </c:pt>
                <c:pt idx="2">
                  <c:v>264.47619047619048</c:v>
                </c:pt>
                <c:pt idx="3">
                  <c:v>284.61904761904759</c:v>
                </c:pt>
                <c:pt idx="4">
                  <c:v>292.59090909090901</c:v>
                </c:pt>
                <c:pt idx="5">
                  <c:v>274.47619047619048</c:v>
                </c:pt>
                <c:pt idx="6">
                  <c:v>256.22727272727275</c:v>
                </c:pt>
                <c:pt idx="7">
                  <c:v>240.42857142857144</c:v>
                </c:pt>
                <c:pt idx="8">
                  <c:v>257.66666666666663</c:v>
                </c:pt>
                <c:pt idx="9">
                  <c:v>272</c:v>
                </c:pt>
                <c:pt idx="10">
                  <c:v>262</c:v>
                </c:pt>
                <c:pt idx="11">
                  <c:v>251</c:v>
                </c:pt>
                <c:pt idx="12">
                  <c:v>250</c:v>
                </c:pt>
              </c:numCache>
            </c:numRef>
          </c:val>
          <c:extLst>
            <c:ext xmlns:c16="http://schemas.microsoft.com/office/drawing/2014/chart" uri="{C3380CC4-5D6E-409C-BE32-E72D297353CC}">
              <c16:uniqueId val="{0000001B-F391-4B93-B497-A200E107F967}"/>
            </c:ext>
          </c:extLst>
        </c:ser>
        <c:ser>
          <c:idx val="2"/>
          <c:order val="2"/>
          <c:spPr>
            <a:solidFill>
              <a:schemeClr val="accent3"/>
            </a:solidFill>
            <a:ln>
              <a:noFill/>
            </a:ln>
          </c:spPr>
          <c:invertIfNegative val="0"/>
          <c:dLbls>
            <c:dLbl>
              <c:idx val="0"/>
              <c:layout>
                <c:manualLayout>
                  <c:x val="0"/>
                  <c:y val="-1.3786764705882354E-3"/>
                </c:manualLayout>
              </c:layout>
              <c:numFmt formatCode="#,##0;&quot;-&quot;#,##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F391-4B93-B497-A200E107F967}"/>
                </c:ext>
              </c:extLst>
            </c:dLbl>
            <c:dLbl>
              <c:idx val="1"/>
              <c:layout>
                <c:manualLayout>
                  <c:x val="0"/>
                  <c:y val="-9.1911764705882352E-4"/>
                </c:manualLayout>
              </c:layout>
              <c:numFmt formatCode="#,##0;&quot;-&quot;#,##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F391-4B93-B497-A200E107F967}"/>
                </c:ext>
              </c:extLst>
            </c:dLbl>
            <c:dLbl>
              <c:idx val="2"/>
              <c:layout>
                <c:manualLayout>
                  <c:x val="0"/>
                  <c:y val="-1.3786764705882354E-3"/>
                </c:manualLayout>
              </c:layout>
              <c:numFmt formatCode="#,##0;&quot;-&quot;#,##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F391-4B93-B497-A200E107F967}"/>
                </c:ext>
              </c:extLst>
            </c:dLbl>
            <c:dLbl>
              <c:idx val="3"/>
              <c:layout>
                <c:manualLayout>
                  <c:x val="0"/>
                  <c:y val="-1.3786764705882354E-3"/>
                </c:manualLayout>
              </c:layout>
              <c:numFmt formatCode="#,##0;&quot;-&quot;#,##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F391-4B93-B497-A200E107F967}"/>
                </c:ext>
              </c:extLst>
            </c:dLbl>
            <c:dLbl>
              <c:idx val="4"/>
              <c:layout>
                <c:manualLayout>
                  <c:x val="0"/>
                  <c:y val="-9.1911764705882352E-4"/>
                </c:manualLayout>
              </c:layout>
              <c:numFmt formatCode="#,##0;&quot;-&quot;#,##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F391-4B93-B497-A200E107F967}"/>
                </c:ext>
              </c:extLst>
            </c:dLbl>
            <c:dLbl>
              <c:idx val="5"/>
              <c:layout>
                <c:manualLayout>
                  <c:x val="0"/>
                  <c:y val="-1.3786764705882354E-3"/>
                </c:manualLayout>
              </c:layout>
              <c:numFmt formatCode="#,##0;&quot;-&quot;#,##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F391-4B93-B497-A200E107F967}"/>
                </c:ext>
              </c:extLst>
            </c:dLbl>
            <c:dLbl>
              <c:idx val="6"/>
              <c:layout>
                <c:manualLayout>
                  <c:x val="0"/>
                  <c:y val="-9.1911764705882352E-4"/>
                </c:manualLayout>
              </c:layout>
              <c:numFmt formatCode="#,##0;&quot;-&quot;#,##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F391-4B93-B497-A200E107F967}"/>
                </c:ext>
              </c:extLst>
            </c:dLbl>
            <c:dLbl>
              <c:idx val="7"/>
              <c:layout>
                <c:manualLayout>
                  <c:x val="0"/>
                  <c:y val="-1.3786764705882354E-3"/>
                </c:manualLayout>
              </c:layout>
              <c:numFmt formatCode="#,##0;&quot;-&quot;#,##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F391-4B93-B497-A200E107F967}"/>
                </c:ext>
              </c:extLst>
            </c:dLbl>
            <c:dLbl>
              <c:idx val="8"/>
              <c:layout>
                <c:manualLayout>
                  <c:x val="0"/>
                  <c:y val="-9.1911764705882352E-4"/>
                </c:manualLayout>
              </c:layout>
              <c:numFmt formatCode="#,##0;&quot;-&quot;#,##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F391-4B93-B497-A200E107F967}"/>
                </c:ext>
              </c:extLst>
            </c:dLbl>
            <c:dLbl>
              <c:idx val="9"/>
              <c:layout>
                <c:manualLayout>
                  <c:x val="0"/>
                  <c:y val="-9.1911764705882352E-4"/>
                </c:manualLayout>
              </c:layout>
              <c:numFmt formatCode="#,##0;&quot;-&quot;#,##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F391-4B93-B497-A200E107F967}"/>
                </c:ext>
              </c:extLst>
            </c:dLbl>
            <c:dLbl>
              <c:idx val="10"/>
              <c:layout>
                <c:manualLayout>
                  <c:x val="0"/>
                  <c:y val="-9.1911764705882352E-4"/>
                </c:manualLayout>
              </c:layout>
              <c:numFmt formatCode="#,##0;&quot;-&quot;#,##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F391-4B93-B497-A200E107F967}"/>
                </c:ext>
              </c:extLst>
            </c:dLbl>
            <c:dLbl>
              <c:idx val="11"/>
              <c:layout>
                <c:manualLayout>
                  <c:x val="0"/>
                  <c:y val="-9.1911764705882352E-4"/>
                </c:manualLayout>
              </c:layout>
              <c:numFmt formatCode="#,##0;&quot;-&quot;#,##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F391-4B93-B497-A200E107F967}"/>
                </c:ext>
              </c:extLst>
            </c:dLbl>
            <c:dLbl>
              <c:idx val="12"/>
              <c:layout>
                <c:manualLayout>
                  <c:x val="0"/>
                  <c:y val="-1.3786764705882354E-3"/>
                </c:manualLayout>
              </c:layout>
              <c:numFmt formatCode="#,##0;&quot;-&quot;#,##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F391-4B93-B497-A200E107F96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M$3</c:f>
              <c:numCache>
                <c:formatCode>General</c:formatCode>
                <c:ptCount val="13"/>
                <c:pt idx="0">
                  <c:v>1026.6500003233552</c:v>
                </c:pt>
                <c:pt idx="1">
                  <c:v>1058.0476192988096</c:v>
                </c:pt>
                <c:pt idx="2">
                  <c:v>981.57142883647612</c:v>
                </c:pt>
                <c:pt idx="3">
                  <c:v>1085.1904764061901</c:v>
                </c:pt>
                <c:pt idx="4">
                  <c:v>1083.9545459015803</c:v>
                </c:pt>
                <c:pt idx="5">
                  <c:v>1006.4761907174475</c:v>
                </c:pt>
                <c:pt idx="6">
                  <c:v>946.59090954471685</c:v>
                </c:pt>
                <c:pt idx="7">
                  <c:v>913.85714340491745</c:v>
                </c:pt>
                <c:pt idx="8">
                  <c:v>986.22222263779906</c:v>
                </c:pt>
                <c:pt idx="9">
                  <c:v>879</c:v>
                </c:pt>
                <c:pt idx="10">
                  <c:v>862</c:v>
                </c:pt>
                <c:pt idx="11">
                  <c:v>858</c:v>
                </c:pt>
                <c:pt idx="12">
                  <c:v>759</c:v>
                </c:pt>
              </c:numCache>
            </c:numRef>
          </c:val>
          <c:extLst>
            <c:ext xmlns:c16="http://schemas.microsoft.com/office/drawing/2014/chart" uri="{C3380CC4-5D6E-409C-BE32-E72D297353CC}">
              <c16:uniqueId val="{00000029-F391-4B93-B497-A200E107F967}"/>
            </c:ext>
          </c:extLst>
        </c:ser>
        <c:dLbls>
          <c:showLegendKey val="0"/>
          <c:showVal val="0"/>
          <c:showCatName val="0"/>
          <c:showSerName val="0"/>
          <c:showPercent val="0"/>
          <c:showBubbleSize val="0"/>
        </c:dLbls>
        <c:gapWidth val="80"/>
        <c:overlap val="100"/>
        <c:axId val="1132146688"/>
        <c:axId val="1"/>
      </c:barChart>
      <c:lineChart>
        <c:grouping val="standard"/>
        <c:varyColors val="0"/>
        <c:ser>
          <c:idx val="3"/>
          <c:order val="3"/>
          <c:spPr>
            <a:ln w="19050" cmpd="sng" algn="ctr">
              <a:solidFill>
                <a:srgbClr val="9DB1CF"/>
              </a:solidFill>
              <a:prstDash val="solid"/>
            </a:ln>
          </c:spPr>
          <c:marker>
            <c:symbol val="circle"/>
            <c:size val="5"/>
            <c:spPr>
              <a:solidFill>
                <a:srgbClr val="9DB1CF"/>
              </a:solidFill>
              <a:ln w="9525" cmpd="sng" algn="ctr">
                <a:solidFill>
                  <a:srgbClr val="9DB1CF"/>
                </a:solidFill>
                <a:prstDash val="solid"/>
              </a:ln>
            </c:spPr>
          </c:marker>
          <c:dLbls>
            <c:dLbl>
              <c:idx val="0"/>
              <c:layout>
                <c:manualLayout>
                  <c:x val="0"/>
                  <c:y val="-4.733455882352941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F391-4B93-B497-A200E107F967}"/>
                </c:ext>
              </c:extLst>
            </c:dLbl>
            <c:dLbl>
              <c:idx val="1"/>
              <c:layout>
                <c:manualLayout>
                  <c:x val="0"/>
                  <c:y val="-4.733455882352941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F391-4B93-B497-A200E107F967}"/>
                </c:ext>
              </c:extLst>
            </c:dLbl>
            <c:dLbl>
              <c:idx val="2"/>
              <c:layout>
                <c:manualLayout>
                  <c:x val="0"/>
                  <c:y val="-4.733455882352941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F391-4B93-B497-A200E107F967}"/>
                </c:ext>
              </c:extLst>
            </c:dLbl>
            <c:dLbl>
              <c:idx val="3"/>
              <c:layout>
                <c:manualLayout>
                  <c:x val="0"/>
                  <c:y val="-4.733455882352941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D-F391-4B93-B497-A200E107F967}"/>
                </c:ext>
              </c:extLst>
            </c:dLbl>
            <c:dLbl>
              <c:idx val="4"/>
              <c:layout>
                <c:manualLayout>
                  <c:x val="0"/>
                  <c:y val="-4.733455882352941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E-F391-4B93-B497-A200E107F967}"/>
                </c:ext>
              </c:extLst>
            </c:dLbl>
            <c:dLbl>
              <c:idx val="5"/>
              <c:layout>
                <c:manualLayout>
                  <c:x val="0"/>
                  <c:y val="-4.733455882352941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F-F391-4B93-B497-A200E107F967}"/>
                </c:ext>
              </c:extLst>
            </c:dLbl>
            <c:dLbl>
              <c:idx val="6"/>
              <c:layout>
                <c:manualLayout>
                  <c:x val="0"/>
                  <c:y val="4.595588235294118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0-F391-4B93-B497-A200E107F967}"/>
                </c:ext>
              </c:extLst>
            </c:dLbl>
            <c:dLbl>
              <c:idx val="7"/>
              <c:layout>
                <c:manualLayout>
                  <c:x val="0"/>
                  <c:y val="4.595588235294118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1-F391-4B93-B497-A200E107F967}"/>
                </c:ext>
              </c:extLst>
            </c:dLbl>
            <c:dLbl>
              <c:idx val="8"/>
              <c:layout>
                <c:manualLayout>
                  <c:x val="0"/>
                  <c:y val="4.595588235294118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2-F391-4B93-B497-A200E107F967}"/>
                </c:ext>
              </c:extLst>
            </c:dLbl>
            <c:dLbl>
              <c:idx val="9"/>
              <c:layout>
                <c:manualLayout>
                  <c:x val="0"/>
                  <c:y val="4.595588235294118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3-F391-4B93-B497-A200E107F967}"/>
                </c:ext>
              </c:extLst>
            </c:dLbl>
            <c:dLbl>
              <c:idx val="10"/>
              <c:layout>
                <c:manualLayout>
                  <c:x val="0"/>
                  <c:y val="4.595588235294118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4-F391-4B93-B497-A200E107F967}"/>
                </c:ext>
              </c:extLst>
            </c:dLbl>
            <c:dLbl>
              <c:idx val="11"/>
              <c:layout>
                <c:manualLayout>
                  <c:x val="0"/>
                  <c:y val="4.595588235294118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5-F391-4B93-B497-A200E107F967}"/>
                </c:ext>
              </c:extLst>
            </c:dLbl>
            <c:dLbl>
              <c:idx val="12"/>
              <c:layout>
                <c:manualLayout>
                  <c:x val="0"/>
                  <c:y val="4.595588235294118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6-F391-4B93-B497-A200E107F96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M$4</c:f>
              <c:numCache>
                <c:formatCode>General</c:formatCode>
                <c:ptCount val="13"/>
                <c:pt idx="0">
                  <c:v>61.123340203352029</c:v>
                </c:pt>
                <c:pt idx="1">
                  <c:v>61.762646599897217</c:v>
                </c:pt>
                <c:pt idx="2">
                  <c:v>61.957190893870973</c:v>
                </c:pt>
                <c:pt idx="3">
                  <c:v>64.141098826312003</c:v>
                </c:pt>
                <c:pt idx="4">
                  <c:v>64.95924496663703</c:v>
                </c:pt>
                <c:pt idx="5">
                  <c:v>64.641707122101678</c:v>
                </c:pt>
                <c:pt idx="6">
                  <c:v>64.123876229388586</c:v>
                </c:pt>
                <c:pt idx="7">
                  <c:v>64.918717705443356</c:v>
                </c:pt>
                <c:pt idx="8">
                  <c:v>64.979539723770671</c:v>
                </c:pt>
                <c:pt idx="9">
                  <c:v>63.979988882712611</c:v>
                </c:pt>
                <c:pt idx="10">
                  <c:v>63.682719546742206</c:v>
                </c:pt>
                <c:pt idx="11">
                  <c:v>63.407661520869063</c:v>
                </c:pt>
                <c:pt idx="12">
                  <c:v>61.337386018237083</c:v>
                </c:pt>
              </c:numCache>
            </c:numRef>
          </c:val>
          <c:smooth val="0"/>
          <c:extLst>
            <c:ext xmlns:c16="http://schemas.microsoft.com/office/drawing/2014/chart" uri="{C3380CC4-5D6E-409C-BE32-E72D297353CC}">
              <c16:uniqueId val="{00000037-F391-4B93-B497-A200E107F967}"/>
            </c:ext>
          </c:extLst>
        </c:ser>
        <c:ser>
          <c:idx val="4"/>
          <c:order val="4"/>
          <c:spPr>
            <a:ln w="19050" cmpd="sng" algn="ctr">
              <a:solidFill>
                <a:srgbClr val="000000"/>
              </a:solidFill>
              <a:prstDash val="solid"/>
            </a:ln>
          </c:spPr>
          <c:marker>
            <c:symbol val="circle"/>
            <c:size val="5"/>
            <c:spPr>
              <a:solidFill>
                <a:srgbClr val="000000"/>
              </a:solidFill>
              <a:ln w="9525" cmpd="sng" algn="ctr">
                <a:solidFill>
                  <a:srgbClr val="000000"/>
                </a:solidFill>
                <a:prstDash val="solid"/>
              </a:ln>
            </c:spPr>
          </c:marker>
          <c:dLbls>
            <c:dLbl>
              <c:idx val="0"/>
              <c:layout>
                <c:manualLayout>
                  <c:x val="0"/>
                  <c:y val="-4.733455882352941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8-F391-4B93-B497-A200E107F967}"/>
                </c:ext>
              </c:extLst>
            </c:dLbl>
            <c:dLbl>
              <c:idx val="1"/>
              <c:layout>
                <c:manualLayout>
                  <c:x val="0"/>
                  <c:y val="-4.733455882352941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9-F391-4B93-B497-A200E107F967}"/>
                </c:ext>
              </c:extLst>
            </c:dLbl>
            <c:dLbl>
              <c:idx val="2"/>
              <c:layout>
                <c:manualLayout>
                  <c:x val="0"/>
                  <c:y val="-4.733455882352941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A-F391-4B93-B497-A200E107F967}"/>
                </c:ext>
              </c:extLst>
            </c:dLbl>
            <c:dLbl>
              <c:idx val="3"/>
              <c:layout>
                <c:manualLayout>
                  <c:x val="0"/>
                  <c:y val="-4.733455882352941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B-F391-4B93-B497-A200E107F967}"/>
                </c:ext>
              </c:extLst>
            </c:dLbl>
            <c:dLbl>
              <c:idx val="4"/>
              <c:layout>
                <c:manualLayout>
                  <c:x val="0"/>
                  <c:y val="-4.733455882352941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C-F391-4B93-B497-A200E107F967}"/>
                </c:ext>
              </c:extLst>
            </c:dLbl>
            <c:dLbl>
              <c:idx val="5"/>
              <c:layout>
                <c:manualLayout>
                  <c:x val="0"/>
                  <c:y val="-4.733455882352941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D-F391-4B93-B497-A200E107F967}"/>
                </c:ext>
              </c:extLst>
            </c:dLbl>
            <c:dLbl>
              <c:idx val="6"/>
              <c:layout>
                <c:manualLayout>
                  <c:x val="0"/>
                  <c:y val="-4.733455882352941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E-F391-4B93-B497-A200E107F967}"/>
                </c:ext>
              </c:extLst>
            </c:dLbl>
            <c:dLbl>
              <c:idx val="7"/>
              <c:layout>
                <c:manualLayout>
                  <c:x val="0"/>
                  <c:y val="-4.733455882352941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F-F391-4B93-B497-A200E107F967}"/>
                </c:ext>
              </c:extLst>
            </c:dLbl>
            <c:dLbl>
              <c:idx val="8"/>
              <c:layout>
                <c:manualLayout>
                  <c:x val="0"/>
                  <c:y val="-4.733455882352941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0-F391-4B93-B497-A200E107F967}"/>
                </c:ext>
              </c:extLst>
            </c:dLbl>
            <c:dLbl>
              <c:idx val="9"/>
              <c:layout>
                <c:manualLayout>
                  <c:x val="0"/>
                  <c:y val="-4.733455882352941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1-F391-4B93-B497-A200E107F967}"/>
                </c:ext>
              </c:extLst>
            </c:dLbl>
            <c:dLbl>
              <c:idx val="11"/>
              <c:layout>
                <c:manualLayout>
                  <c:x val="0"/>
                  <c:y val="-4.733455882352941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2-F391-4B93-B497-A200E107F967}"/>
                </c:ext>
              </c:extLst>
            </c:dLbl>
            <c:dLbl>
              <c:idx val="12"/>
              <c:layout>
                <c:manualLayout>
                  <c:x val="0"/>
                  <c:y val="-4.733455882352941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3-F391-4B93-B497-A200E107F96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M$5</c:f>
              <c:numCache>
                <c:formatCode>General</c:formatCode>
                <c:ptCount val="13"/>
                <c:pt idx="0">
                  <c:v>98.121445270740054</c:v>
                </c:pt>
                <c:pt idx="1">
                  <c:v>98.469096148310726</c:v>
                </c:pt>
                <c:pt idx="2">
                  <c:v>94.594461814181244</c:v>
                </c:pt>
                <c:pt idx="3">
                  <c:v>101.18644053792913</c:v>
                </c:pt>
                <c:pt idx="4">
                  <c:v>99.787332875086008</c:v>
                </c:pt>
                <c:pt idx="5">
                  <c:v>97.278730079010316</c:v>
                </c:pt>
                <c:pt idx="6">
                  <c:v>90.106697936377117</c:v>
                </c:pt>
                <c:pt idx="7">
                  <c:v>89.315744577234881</c:v>
                </c:pt>
                <c:pt idx="8">
                  <c:v>85.619635868263515</c:v>
                </c:pt>
                <c:pt idx="9">
                  <c:v>84.206822960899586</c:v>
                </c:pt>
                <c:pt idx="10">
                  <c:v>79.945388078635233</c:v>
                </c:pt>
                <c:pt idx="11">
                  <c:v>127.22068047115394</c:v>
                </c:pt>
                <c:pt idx="12">
                  <c:v>124.42926191284786</c:v>
                </c:pt>
              </c:numCache>
            </c:numRef>
          </c:val>
          <c:smooth val="0"/>
          <c:extLst>
            <c:ext xmlns:c16="http://schemas.microsoft.com/office/drawing/2014/chart" uri="{C3380CC4-5D6E-409C-BE32-E72D297353CC}">
              <c16:uniqueId val="{00000044-F391-4B93-B497-A200E107F967}"/>
            </c:ext>
          </c:extLst>
        </c:ser>
        <c:dLbls>
          <c:showLegendKey val="0"/>
          <c:showVal val="0"/>
          <c:showCatName val="0"/>
          <c:showSerName val="0"/>
          <c:showPercent val="0"/>
          <c:showBubbleSize val="0"/>
        </c:dLbls>
        <c:marker val="1"/>
        <c:smooth val="0"/>
        <c:axId val="2"/>
        <c:axId val="3"/>
      </c:lineChart>
      <c:catAx>
        <c:axId val="113214668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500"/>
          <c:min val="0"/>
        </c:scaling>
        <c:delete val="0"/>
        <c:axPos val="l"/>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1132146688"/>
        <c:crosses val="min"/>
        <c:crossBetween val="between"/>
      </c:valAx>
      <c:catAx>
        <c:axId val="2"/>
        <c:scaling>
          <c:orientation val="minMax"/>
        </c:scaling>
        <c:delete val="1"/>
        <c:axPos val="b"/>
        <c:majorGridlines>
          <c:spPr>
            <a:ln>
              <a:noFill/>
            </a:ln>
          </c:spPr>
        </c:majorGridlines>
        <c:majorTickMark val="none"/>
        <c:minorTickMark val="none"/>
        <c:tickLblPos val="none"/>
        <c:crossAx val="3"/>
        <c:crosses val="min"/>
        <c:auto val="0"/>
        <c:lblAlgn val="ctr"/>
        <c:lblOffset val="100"/>
        <c:noMultiLvlLbl val="0"/>
      </c:catAx>
      <c:valAx>
        <c:axId val="3"/>
        <c:scaling>
          <c:orientation val="minMax"/>
          <c:max val="127.22068047115394"/>
          <c:min val="-140"/>
        </c:scaling>
        <c:delete val="0"/>
        <c:axPos val="r"/>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2"/>
        <c:crosses val="max"/>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190084264158338E-2"/>
          <c:y val="8.7018544935805991E-2"/>
          <c:w val="0.9796198314716833"/>
          <c:h val="0.86233951497860195"/>
        </c:manualLayout>
      </c:layout>
      <c:barChart>
        <c:barDir val="col"/>
        <c:grouping val="stacked"/>
        <c:varyColors val="0"/>
        <c:ser>
          <c:idx val="0"/>
          <c:order val="0"/>
          <c:spPr>
            <a:solidFill>
              <a:srgbClr val="4C6C9C"/>
            </a:solidFill>
            <a:ln>
              <a:noFill/>
            </a:ln>
          </c:spPr>
          <c:invertIfNegative val="0"/>
          <c:dLbls>
            <c:dLbl>
              <c:idx val="0"/>
              <c:layout>
                <c:manualLayout>
                  <c:x val="0"/>
                  <c:y val="-1.0699001426533524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2E1-4CE7-A635-CB3E213475F3}"/>
                </c:ext>
              </c:extLst>
            </c:dLbl>
            <c:dLbl>
              <c:idx val="1"/>
              <c:layout>
                <c:manualLayout>
                  <c:x val="0"/>
                  <c:y val="-1.0699001426533524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2E1-4CE7-A635-CB3E213475F3}"/>
                </c:ext>
              </c:extLst>
            </c:dLbl>
            <c:dLbl>
              <c:idx val="2"/>
              <c:layout>
                <c:manualLayout>
                  <c:x val="0"/>
                  <c:y val="-1.0699001426533524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2E1-4CE7-A635-CB3E213475F3}"/>
                </c:ext>
              </c:extLst>
            </c:dLbl>
            <c:dLbl>
              <c:idx val="3"/>
              <c:layout>
                <c:manualLayout>
                  <c:x val="0"/>
                  <c:y val="-1.0699001426533524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2E1-4CE7-A635-CB3E213475F3}"/>
                </c:ext>
              </c:extLst>
            </c:dLbl>
            <c:dLbl>
              <c:idx val="4"/>
              <c:layout>
                <c:manualLayout>
                  <c:x val="0"/>
                  <c:y val="-1.0699001426533524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2E1-4CE7-A635-CB3E213475F3}"/>
                </c:ext>
              </c:extLst>
            </c:dLbl>
            <c:dLbl>
              <c:idx val="5"/>
              <c:layout>
                <c:manualLayout>
                  <c:x val="0"/>
                  <c:y val="-1.4265335235378032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2E1-4CE7-A635-CB3E213475F3}"/>
                </c:ext>
              </c:extLst>
            </c:dLbl>
            <c:dLbl>
              <c:idx val="6"/>
              <c:layout>
                <c:manualLayout>
                  <c:x val="0"/>
                  <c:y val="-1.4265335235378032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82E1-4CE7-A635-CB3E213475F3}"/>
                </c:ext>
              </c:extLst>
            </c:dLbl>
            <c:dLbl>
              <c:idx val="7"/>
              <c:layout>
                <c:manualLayout>
                  <c:x val="0"/>
                  <c:y val="-1.0699001426533524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82E1-4CE7-A635-CB3E213475F3}"/>
                </c:ext>
              </c:extLst>
            </c:dLbl>
            <c:dLbl>
              <c:idx val="9"/>
              <c:layout>
                <c:manualLayout>
                  <c:x val="0"/>
                  <c:y val="-1.4265335235378032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82E1-4CE7-A635-CB3E213475F3}"/>
                </c:ext>
              </c:extLst>
            </c:dLbl>
            <c:dLbl>
              <c:idx val="10"/>
              <c:layout>
                <c:manualLayout>
                  <c:x val="0"/>
                  <c:y val="-1.0699001426533524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82E1-4CE7-A635-CB3E213475F3}"/>
                </c:ext>
              </c:extLst>
            </c:dLbl>
            <c:dLbl>
              <c:idx val="11"/>
              <c:layout>
                <c:manualLayout>
                  <c:x val="0"/>
                  <c:y val="-1.0699001426533524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82E1-4CE7-A635-CB3E213475F3}"/>
                </c:ext>
              </c:extLst>
            </c:dLbl>
            <c:dLbl>
              <c:idx val="12"/>
              <c:layout>
                <c:manualLayout>
                  <c:x val="0"/>
                  <c:y val="-1.0699001426533524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82E1-4CE7-A635-CB3E213475F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M$1</c:f>
              <c:numCache>
                <c:formatCode>General</c:formatCode>
                <c:ptCount val="13"/>
                <c:pt idx="0">
                  <c:v>2671.4091767519712</c:v>
                </c:pt>
                <c:pt idx="1">
                  <c:v>2594.9773853761808</c:v>
                </c:pt>
                <c:pt idx="2">
                  <c:v>2318.0838463502855</c:v>
                </c:pt>
                <c:pt idx="3">
                  <c:v>2148.8460725885716</c:v>
                </c:pt>
                <c:pt idx="4">
                  <c:v>3580.5111839175224</c:v>
                </c:pt>
                <c:pt idx="5">
                  <c:v>4151.787769706476</c:v>
                </c:pt>
                <c:pt idx="6">
                  <c:v>3246.0616760877087</c:v>
                </c:pt>
                <c:pt idx="7">
                  <c:v>3453.8169064862404</c:v>
                </c:pt>
                <c:pt idx="8">
                  <c:v>4442.0807777974333</c:v>
                </c:pt>
                <c:pt idx="9">
                  <c:v>3941.1105801048479</c:v>
                </c:pt>
                <c:pt idx="10">
                  <c:v>3924.3402298542387</c:v>
                </c:pt>
                <c:pt idx="11">
                  <c:v>3752.8229476468905</c:v>
                </c:pt>
                <c:pt idx="12">
                  <c:v>3260.2869168492862</c:v>
                </c:pt>
              </c:numCache>
            </c:numRef>
          </c:val>
          <c:extLst>
            <c:ext xmlns:c16="http://schemas.microsoft.com/office/drawing/2014/chart" uri="{C3380CC4-5D6E-409C-BE32-E72D297353CC}">
              <c16:uniqueId val="{0000000C-82E1-4CE7-A635-CB3E213475F3}"/>
            </c:ext>
          </c:extLst>
        </c:ser>
        <c:ser>
          <c:idx val="1"/>
          <c:order val="1"/>
          <c:spPr>
            <a:solidFill>
              <a:schemeClr val="accent2"/>
            </a:solidFill>
            <a:ln>
              <a:noFill/>
            </a:ln>
          </c:spPr>
          <c:invertIfNegative val="0"/>
          <c:dLbls>
            <c:dLbl>
              <c:idx val="0"/>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82E1-4CE7-A635-CB3E213475F3}"/>
                </c:ext>
              </c:extLst>
            </c:dLbl>
            <c:dLbl>
              <c:idx val="1"/>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82E1-4CE7-A635-CB3E213475F3}"/>
                </c:ext>
              </c:extLst>
            </c:dLbl>
            <c:dLbl>
              <c:idx val="4"/>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82E1-4CE7-A635-CB3E213475F3}"/>
                </c:ext>
              </c:extLst>
            </c:dLbl>
            <c:dLbl>
              <c:idx val="6"/>
              <c:layout>
                <c:manualLayout>
                  <c:x val="0"/>
                  <c:y val="-1.4265335235378032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82E1-4CE7-A635-CB3E213475F3}"/>
                </c:ext>
              </c:extLst>
            </c:dLbl>
            <c:dLbl>
              <c:idx val="9"/>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82E1-4CE7-A635-CB3E213475F3}"/>
                </c:ext>
              </c:extLst>
            </c:dLbl>
            <c:dLbl>
              <c:idx val="10"/>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82E1-4CE7-A635-CB3E213475F3}"/>
                </c:ext>
              </c:extLst>
            </c:dLbl>
            <c:dLbl>
              <c:idx val="11"/>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82E1-4CE7-A635-CB3E213475F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M$2</c:f>
              <c:numCache>
                <c:formatCode>General</c:formatCode>
                <c:ptCount val="13"/>
                <c:pt idx="0">
                  <c:v>5371.568455505374</c:v>
                </c:pt>
                <c:pt idx="1">
                  <c:v>5341.7320254189572</c:v>
                </c:pt>
                <c:pt idx="2">
                  <c:v>4499.9996318714275</c:v>
                </c:pt>
                <c:pt idx="3">
                  <c:v>6863.9163793380949</c:v>
                </c:pt>
                <c:pt idx="4">
                  <c:v>9878.9808207425122</c:v>
                </c:pt>
                <c:pt idx="5">
                  <c:v>11585.931450253451</c:v>
                </c:pt>
                <c:pt idx="6">
                  <c:v>3617.4010585546498</c:v>
                </c:pt>
                <c:pt idx="7">
                  <c:v>7994.3970783324485</c:v>
                </c:pt>
                <c:pt idx="8">
                  <c:v>4706.1269078784499</c:v>
                </c:pt>
                <c:pt idx="9">
                  <c:v>3199.2197004401178</c:v>
                </c:pt>
                <c:pt idx="10">
                  <c:v>5369.5091430047614</c:v>
                </c:pt>
                <c:pt idx="11">
                  <c:v>3830.6022549583768</c:v>
                </c:pt>
                <c:pt idx="12">
                  <c:v>3599.7267913818368</c:v>
                </c:pt>
              </c:numCache>
            </c:numRef>
          </c:val>
          <c:extLst>
            <c:ext xmlns:c16="http://schemas.microsoft.com/office/drawing/2014/chart" uri="{C3380CC4-5D6E-409C-BE32-E72D297353CC}">
              <c16:uniqueId val="{00000014-82E1-4CE7-A635-CB3E213475F3}"/>
            </c:ext>
          </c:extLst>
        </c:ser>
        <c:ser>
          <c:idx val="2"/>
          <c:order val="2"/>
          <c:spPr>
            <a:solidFill>
              <a:schemeClr val="accent3"/>
            </a:solidFill>
            <a:ln>
              <a:noFill/>
            </a:ln>
          </c:spPr>
          <c:invertIfNegative val="0"/>
          <c:val>
            <c:numRef>
              <c:f>Sheet1!$A$3:$M$3</c:f>
              <c:numCache>
                <c:formatCode>General</c:formatCode>
                <c:ptCount val="13"/>
                <c:pt idx="0">
                  <c:v>247.66770946979523</c:v>
                </c:pt>
                <c:pt idx="1">
                  <c:v>382.16683388607817</c:v>
                </c:pt>
                <c:pt idx="2">
                  <c:v>498.20084597923778</c:v>
                </c:pt>
                <c:pt idx="3">
                  <c:v>445.69430475042827</c:v>
                </c:pt>
                <c:pt idx="4">
                  <c:v>602.48697565360635</c:v>
                </c:pt>
                <c:pt idx="5">
                  <c:v>580.75907305876353</c:v>
                </c:pt>
                <c:pt idx="6">
                  <c:v>443.57457653500751</c:v>
                </c:pt>
                <c:pt idx="7">
                  <c:v>491.2295676015674</c:v>
                </c:pt>
                <c:pt idx="8">
                  <c:v>566.77831838197199</c:v>
                </c:pt>
                <c:pt idx="9">
                  <c:v>448.18604948209668</c:v>
                </c:pt>
                <c:pt idx="10">
                  <c:v>395.90184391476214</c:v>
                </c:pt>
                <c:pt idx="11">
                  <c:v>357.58490376529244</c:v>
                </c:pt>
                <c:pt idx="12">
                  <c:v>352.74544438990779</c:v>
                </c:pt>
              </c:numCache>
            </c:numRef>
          </c:val>
          <c:extLst>
            <c:ext xmlns:c16="http://schemas.microsoft.com/office/drawing/2014/chart" uri="{C3380CC4-5D6E-409C-BE32-E72D297353CC}">
              <c16:uniqueId val="{00000015-82E1-4CE7-A635-CB3E213475F3}"/>
            </c:ext>
          </c:extLst>
        </c:ser>
        <c:ser>
          <c:idx val="3"/>
          <c:order val="3"/>
          <c:spPr>
            <a:solidFill>
              <a:schemeClr val="accent4"/>
            </a:solidFill>
            <a:ln>
              <a:noFill/>
            </a:ln>
          </c:spPr>
          <c:invertIfNegative val="0"/>
          <c:dLbls>
            <c:dLbl>
              <c:idx val="0"/>
              <c:layout>
                <c:manualLayout>
                  <c:x val="0"/>
                  <c:y val="-1.4265335235378032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82E1-4CE7-A635-CB3E213475F3}"/>
                </c:ext>
              </c:extLst>
            </c:dLbl>
            <c:dLbl>
              <c:idx val="1"/>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82E1-4CE7-A635-CB3E213475F3}"/>
                </c:ext>
              </c:extLst>
            </c:dLbl>
            <c:dLbl>
              <c:idx val="2"/>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82E1-4CE7-A635-CB3E213475F3}"/>
                </c:ext>
              </c:extLst>
            </c:dLbl>
            <c:dLbl>
              <c:idx val="3"/>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82E1-4CE7-A635-CB3E213475F3}"/>
                </c:ext>
              </c:extLst>
            </c:dLbl>
            <c:dLbl>
              <c:idx val="4"/>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82E1-4CE7-A635-CB3E213475F3}"/>
                </c:ext>
              </c:extLst>
            </c:dLbl>
            <c:dLbl>
              <c:idx val="5"/>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82E1-4CE7-A635-CB3E213475F3}"/>
                </c:ext>
              </c:extLst>
            </c:dLbl>
            <c:dLbl>
              <c:idx val="7"/>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82E1-4CE7-A635-CB3E213475F3}"/>
                </c:ext>
              </c:extLst>
            </c:dLbl>
            <c:dLbl>
              <c:idx val="8"/>
              <c:layout>
                <c:manualLayout>
                  <c:x val="0"/>
                  <c:y val="-1.4265335235378032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82E1-4CE7-A635-CB3E213475F3}"/>
                </c:ext>
              </c:extLst>
            </c:dLbl>
            <c:dLbl>
              <c:idx val="9"/>
              <c:layout>
                <c:manualLayout>
                  <c:x val="0"/>
                  <c:y val="-1.4265335235378032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82E1-4CE7-A635-CB3E213475F3}"/>
                </c:ext>
              </c:extLst>
            </c:dLbl>
            <c:dLbl>
              <c:idx val="11"/>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82E1-4CE7-A635-CB3E213475F3}"/>
                </c:ext>
              </c:extLst>
            </c:dLbl>
            <c:dLbl>
              <c:idx val="12"/>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82E1-4CE7-A635-CB3E213475F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M$4</c:f>
              <c:numCache>
                <c:formatCode>General</c:formatCode>
                <c:ptCount val="13"/>
                <c:pt idx="0">
                  <c:v>2792.4671721100804</c:v>
                </c:pt>
                <c:pt idx="1">
                  <c:v>3143.3257417111145</c:v>
                </c:pt>
                <c:pt idx="2">
                  <c:v>2906.6768805352385</c:v>
                </c:pt>
                <c:pt idx="3">
                  <c:v>2580.8521330857147</c:v>
                </c:pt>
                <c:pt idx="4">
                  <c:v>3834.214029182087</c:v>
                </c:pt>
                <c:pt idx="5">
                  <c:v>4113.5332901591337</c:v>
                </c:pt>
                <c:pt idx="6">
                  <c:v>3700.0807200236777</c:v>
                </c:pt>
                <c:pt idx="7">
                  <c:v>3871.1824139640448</c:v>
                </c:pt>
                <c:pt idx="8">
                  <c:v>4411.5525218115945</c:v>
                </c:pt>
                <c:pt idx="9">
                  <c:v>3567.6578196028049</c:v>
                </c:pt>
                <c:pt idx="10">
                  <c:v>3607.8519013523801</c:v>
                </c:pt>
                <c:pt idx="11">
                  <c:v>3226.4530643735625</c:v>
                </c:pt>
                <c:pt idx="12">
                  <c:v>3023.7799530896264</c:v>
                </c:pt>
              </c:numCache>
            </c:numRef>
          </c:val>
          <c:extLst>
            <c:ext xmlns:c16="http://schemas.microsoft.com/office/drawing/2014/chart" uri="{C3380CC4-5D6E-409C-BE32-E72D297353CC}">
              <c16:uniqueId val="{00000021-82E1-4CE7-A635-CB3E213475F3}"/>
            </c:ext>
          </c:extLst>
        </c:ser>
        <c:ser>
          <c:idx val="4"/>
          <c:order val="4"/>
          <c:spPr>
            <a:solidFill>
              <a:schemeClr val="accent5"/>
            </a:solidFill>
            <a:ln>
              <a:noFill/>
            </a:ln>
          </c:spPr>
          <c:invertIfNegative val="0"/>
          <c:dLbls>
            <c:dLbl>
              <c:idx val="0"/>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82E1-4CE7-A635-CB3E213475F3}"/>
                </c:ext>
              </c:extLst>
            </c:dLbl>
            <c:dLbl>
              <c:idx val="1"/>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82E1-4CE7-A635-CB3E213475F3}"/>
                </c:ext>
              </c:extLst>
            </c:dLbl>
            <c:dLbl>
              <c:idx val="2"/>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82E1-4CE7-A635-CB3E213475F3}"/>
                </c:ext>
              </c:extLst>
            </c:dLbl>
            <c:dLbl>
              <c:idx val="4"/>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82E1-4CE7-A635-CB3E213475F3}"/>
                </c:ext>
              </c:extLst>
            </c:dLbl>
            <c:dLbl>
              <c:idx val="5"/>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82E1-4CE7-A635-CB3E213475F3}"/>
                </c:ext>
              </c:extLst>
            </c:dLbl>
            <c:dLbl>
              <c:idx val="6"/>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82E1-4CE7-A635-CB3E213475F3}"/>
                </c:ext>
              </c:extLst>
            </c:dLbl>
            <c:dLbl>
              <c:idx val="7"/>
              <c:layout>
                <c:manualLayout>
                  <c:x val="0"/>
                  <c:y val="-1.4265335235378032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82E1-4CE7-A635-CB3E213475F3}"/>
                </c:ext>
              </c:extLst>
            </c:dLbl>
            <c:dLbl>
              <c:idx val="8"/>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82E1-4CE7-A635-CB3E213475F3}"/>
                </c:ext>
              </c:extLst>
            </c:dLbl>
            <c:dLbl>
              <c:idx val="11"/>
              <c:layout>
                <c:manualLayout>
                  <c:x val="0"/>
                  <c:y val="-1.4265335235378032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82E1-4CE7-A635-CB3E213475F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M$5</c:f>
              <c:numCache>
                <c:formatCode>General</c:formatCode>
                <c:ptCount val="13"/>
                <c:pt idx="0">
                  <c:v>5112.5459296673525</c:v>
                </c:pt>
                <c:pt idx="1">
                  <c:v>5313.7255023774596</c:v>
                </c:pt>
                <c:pt idx="2">
                  <c:v>6739.1275759619039</c:v>
                </c:pt>
                <c:pt idx="3">
                  <c:v>9044.5944711190477</c:v>
                </c:pt>
                <c:pt idx="4">
                  <c:v>6661.3684755319919</c:v>
                </c:pt>
                <c:pt idx="5">
                  <c:v>8174.5500233741041</c:v>
                </c:pt>
                <c:pt idx="6">
                  <c:v>7337.2355068596917</c:v>
                </c:pt>
                <c:pt idx="7">
                  <c:v>6931.1036390037771</c:v>
                </c:pt>
                <c:pt idx="8">
                  <c:v>6556.8366958697679</c:v>
                </c:pt>
                <c:pt idx="9">
                  <c:v>5073.6810420596084</c:v>
                </c:pt>
                <c:pt idx="10">
                  <c:v>4620.2465752689532</c:v>
                </c:pt>
                <c:pt idx="11">
                  <c:v>4229.3527553649183</c:v>
                </c:pt>
                <c:pt idx="12">
                  <c:v>4491.9528782611505</c:v>
                </c:pt>
              </c:numCache>
            </c:numRef>
          </c:val>
          <c:extLst>
            <c:ext xmlns:c16="http://schemas.microsoft.com/office/drawing/2014/chart" uri="{C3380CC4-5D6E-409C-BE32-E72D297353CC}">
              <c16:uniqueId val="{0000002B-82E1-4CE7-A635-CB3E213475F3}"/>
            </c:ext>
          </c:extLst>
        </c:ser>
        <c:ser>
          <c:idx val="5"/>
          <c:order val="5"/>
          <c:spPr>
            <a:solidFill>
              <a:schemeClr val="accent6"/>
            </a:solidFill>
            <a:ln>
              <a:noFill/>
            </a:ln>
          </c:spPr>
          <c:invertIfNegative val="0"/>
          <c:dLbls>
            <c:dLbl>
              <c:idx val="0"/>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82E1-4CE7-A635-CB3E213475F3}"/>
                </c:ext>
              </c:extLst>
            </c:dLbl>
            <c:dLbl>
              <c:idx val="1"/>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D-82E1-4CE7-A635-CB3E213475F3}"/>
                </c:ext>
              </c:extLst>
            </c:dLbl>
            <c:dLbl>
              <c:idx val="2"/>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E-82E1-4CE7-A635-CB3E213475F3}"/>
                </c:ext>
              </c:extLst>
            </c:dLbl>
            <c:dLbl>
              <c:idx val="4"/>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F-82E1-4CE7-A635-CB3E213475F3}"/>
                </c:ext>
              </c:extLst>
            </c:dLbl>
            <c:dLbl>
              <c:idx val="5"/>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0-82E1-4CE7-A635-CB3E213475F3}"/>
                </c:ext>
              </c:extLst>
            </c:dLbl>
            <c:dLbl>
              <c:idx val="7"/>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1-82E1-4CE7-A635-CB3E213475F3}"/>
                </c:ext>
              </c:extLst>
            </c:dLbl>
            <c:dLbl>
              <c:idx val="9"/>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2-82E1-4CE7-A635-CB3E213475F3}"/>
                </c:ext>
              </c:extLst>
            </c:dLbl>
            <c:dLbl>
              <c:idx val="10"/>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3-82E1-4CE7-A635-CB3E213475F3}"/>
                </c:ext>
              </c:extLst>
            </c:dLbl>
            <c:dLbl>
              <c:idx val="12"/>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4-82E1-4CE7-A635-CB3E213475F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6:$M$6</c:f>
              <c:numCache>
                <c:formatCode>General</c:formatCode>
                <c:ptCount val="13"/>
                <c:pt idx="0">
                  <c:v>5805.1535803794868</c:v>
                </c:pt>
                <c:pt idx="1">
                  <c:v>6302.0593109130859</c:v>
                </c:pt>
                <c:pt idx="2">
                  <c:v>5410.319143261906</c:v>
                </c:pt>
                <c:pt idx="3">
                  <c:v>4686.5534456761889</c:v>
                </c:pt>
                <c:pt idx="4">
                  <c:v>5296.4077110290527</c:v>
                </c:pt>
                <c:pt idx="5">
                  <c:v>5275.9914396376844</c:v>
                </c:pt>
                <c:pt idx="6">
                  <c:v>4546.3268161361848</c:v>
                </c:pt>
                <c:pt idx="7">
                  <c:v>5133.3256687046123</c:v>
                </c:pt>
                <c:pt idx="8">
                  <c:v>5893.6514998541898</c:v>
                </c:pt>
                <c:pt idx="9">
                  <c:v>5421.1934010878867</c:v>
                </c:pt>
                <c:pt idx="10">
                  <c:v>5264.6530129523817</c:v>
                </c:pt>
                <c:pt idx="11">
                  <c:v>4703.2920639401382</c:v>
                </c:pt>
                <c:pt idx="12">
                  <c:v>4253.8746885819874</c:v>
                </c:pt>
              </c:numCache>
            </c:numRef>
          </c:val>
          <c:extLst>
            <c:ext xmlns:c16="http://schemas.microsoft.com/office/drawing/2014/chart" uri="{C3380CC4-5D6E-409C-BE32-E72D297353CC}">
              <c16:uniqueId val="{00000035-82E1-4CE7-A635-CB3E213475F3}"/>
            </c:ext>
          </c:extLst>
        </c:ser>
        <c:ser>
          <c:idx val="6"/>
          <c:order val="6"/>
          <c:spPr>
            <a:solidFill>
              <a:schemeClr val="accent1"/>
            </a:solidFill>
            <a:ln>
              <a:noFill/>
            </a:ln>
          </c:spPr>
          <c:invertIfNegative val="0"/>
          <c:dLbls>
            <c:dLbl>
              <c:idx val="0"/>
              <c:layout>
                <c:manualLayout>
                  <c:x val="0"/>
                  <c:y val="-1.0699001426533524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6-82E1-4CE7-A635-CB3E213475F3}"/>
                </c:ext>
              </c:extLst>
            </c:dLbl>
            <c:dLbl>
              <c:idx val="1"/>
              <c:layout>
                <c:manualLayout>
                  <c:x val="0"/>
                  <c:y val="-1.4265335235378032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7-82E1-4CE7-A635-CB3E213475F3}"/>
                </c:ext>
              </c:extLst>
            </c:dLbl>
            <c:dLbl>
              <c:idx val="2"/>
              <c:layout>
                <c:manualLayout>
                  <c:x val="0"/>
                  <c:y val="-1.0699001426533524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8-82E1-4CE7-A635-CB3E213475F3}"/>
                </c:ext>
              </c:extLst>
            </c:dLbl>
            <c:dLbl>
              <c:idx val="3"/>
              <c:layout>
                <c:manualLayout>
                  <c:x val="0"/>
                  <c:y val="-1.0699001426533524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9-82E1-4CE7-A635-CB3E213475F3}"/>
                </c:ext>
              </c:extLst>
            </c:dLbl>
            <c:dLbl>
              <c:idx val="4"/>
              <c:layout>
                <c:manualLayout>
                  <c:x val="0"/>
                  <c:y val="-1.0699001426533524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A-82E1-4CE7-A635-CB3E213475F3}"/>
                </c:ext>
              </c:extLst>
            </c:dLbl>
            <c:dLbl>
              <c:idx val="5"/>
              <c:layout>
                <c:manualLayout>
                  <c:x val="0"/>
                  <c:y val="-1.4265335235378032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B-82E1-4CE7-A635-CB3E213475F3}"/>
                </c:ext>
              </c:extLst>
            </c:dLbl>
            <c:dLbl>
              <c:idx val="7"/>
              <c:layout>
                <c:manualLayout>
                  <c:x val="0"/>
                  <c:y val="-1.0699001426533524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C-82E1-4CE7-A635-CB3E213475F3}"/>
                </c:ext>
              </c:extLst>
            </c:dLbl>
            <c:dLbl>
              <c:idx val="8"/>
              <c:layout>
                <c:manualLayout>
                  <c:x val="0"/>
                  <c:y val="-1.0699001426533524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D-82E1-4CE7-A635-CB3E213475F3}"/>
                </c:ext>
              </c:extLst>
            </c:dLbl>
            <c:dLbl>
              <c:idx val="9"/>
              <c:layout>
                <c:manualLayout>
                  <c:x val="0"/>
                  <c:y val="-1.0699001426533524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E-82E1-4CE7-A635-CB3E213475F3}"/>
                </c:ext>
              </c:extLst>
            </c:dLbl>
            <c:dLbl>
              <c:idx val="10"/>
              <c:layout>
                <c:manualLayout>
                  <c:x val="0"/>
                  <c:y val="-1.4265335235378032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F-82E1-4CE7-A635-CB3E213475F3}"/>
                </c:ext>
              </c:extLst>
            </c:dLbl>
            <c:dLbl>
              <c:idx val="11"/>
              <c:layout>
                <c:manualLayout>
                  <c:x val="0"/>
                  <c:y val="-1.4265335235378032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0-82E1-4CE7-A635-CB3E213475F3}"/>
                </c:ext>
              </c:extLst>
            </c:dLbl>
            <c:dLbl>
              <c:idx val="12"/>
              <c:layout>
                <c:manualLayout>
                  <c:x val="0"/>
                  <c:y val="-1.0699001426533524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1-82E1-4CE7-A635-CB3E213475F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7:$M$7</c:f>
              <c:numCache>
                <c:formatCode>General</c:formatCode>
                <c:ptCount val="13"/>
                <c:pt idx="0">
                  <c:v>3855.8235494136825</c:v>
                </c:pt>
                <c:pt idx="1">
                  <c:v>3987.5256523858952</c:v>
                </c:pt>
                <c:pt idx="2">
                  <c:v>3898.2610111285721</c:v>
                </c:pt>
                <c:pt idx="3">
                  <c:v>3181.9747159857143</c:v>
                </c:pt>
                <c:pt idx="4">
                  <c:v>3891.9328287298049</c:v>
                </c:pt>
                <c:pt idx="5">
                  <c:v>3749.3639521371733</c:v>
                </c:pt>
                <c:pt idx="6">
                  <c:v>3488.631839026104</c:v>
                </c:pt>
                <c:pt idx="7">
                  <c:v>3551.1755215781086</c:v>
                </c:pt>
                <c:pt idx="8">
                  <c:v>4151.8197343084539</c:v>
                </c:pt>
                <c:pt idx="9">
                  <c:v>4015.2356756044428</c:v>
                </c:pt>
                <c:pt idx="10">
                  <c:v>3813.5031748380934</c:v>
                </c:pt>
                <c:pt idx="11">
                  <c:v>3610.3356873648481</c:v>
                </c:pt>
                <c:pt idx="12">
                  <c:v>3767.7432001720772</c:v>
                </c:pt>
              </c:numCache>
            </c:numRef>
          </c:val>
          <c:extLst>
            <c:ext xmlns:c16="http://schemas.microsoft.com/office/drawing/2014/chart" uri="{C3380CC4-5D6E-409C-BE32-E72D297353CC}">
              <c16:uniqueId val="{00000042-82E1-4CE7-A635-CB3E213475F3}"/>
            </c:ext>
          </c:extLst>
        </c:ser>
        <c:dLbls>
          <c:showLegendKey val="0"/>
          <c:showVal val="0"/>
          <c:showCatName val="0"/>
          <c:showSerName val="0"/>
          <c:showPercent val="0"/>
          <c:showBubbleSize val="0"/>
        </c:dLbls>
        <c:gapWidth val="80"/>
        <c:overlap val="100"/>
        <c:axId val="1355907840"/>
        <c:axId val="1"/>
      </c:barChart>
      <c:lineChart>
        <c:grouping val="standard"/>
        <c:varyColors val="0"/>
        <c:ser>
          <c:idx val="7"/>
          <c:order val="7"/>
          <c:spPr>
            <a:ln w="19050" cmpd="sng" algn="ctr">
              <a:solidFill>
                <a:srgbClr val="000000"/>
              </a:solidFill>
              <a:prstDash val="solid"/>
            </a:ln>
          </c:spPr>
          <c:marker>
            <c:symbol val="circle"/>
            <c:size val="5"/>
            <c:spPr>
              <a:solidFill>
                <a:srgbClr val="000000"/>
              </a:solidFill>
              <a:ln w="9525" cmpd="sng" algn="ctr">
                <a:solidFill>
                  <a:srgbClr val="000000"/>
                </a:solidFill>
                <a:prstDash val="solid"/>
              </a:ln>
            </c:spPr>
          </c:marker>
          <c:dLbls>
            <c:dLbl>
              <c:idx val="0"/>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3-82E1-4CE7-A635-CB3E213475F3}"/>
                </c:ext>
              </c:extLst>
            </c:dLbl>
            <c:dLbl>
              <c:idx val="1"/>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4-82E1-4CE7-A635-CB3E213475F3}"/>
                </c:ext>
              </c:extLst>
            </c:dLbl>
            <c:dLbl>
              <c:idx val="2"/>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5-82E1-4CE7-A635-CB3E213475F3}"/>
                </c:ext>
              </c:extLst>
            </c:dLbl>
            <c:dLbl>
              <c:idx val="3"/>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6-82E1-4CE7-A635-CB3E213475F3}"/>
                </c:ext>
              </c:extLst>
            </c:dLbl>
            <c:dLbl>
              <c:idx val="4"/>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7-82E1-4CE7-A635-CB3E213475F3}"/>
                </c:ext>
              </c:extLst>
            </c:dLbl>
            <c:dLbl>
              <c:idx val="5"/>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8-82E1-4CE7-A635-CB3E213475F3}"/>
                </c:ext>
              </c:extLst>
            </c:dLbl>
            <c:dLbl>
              <c:idx val="6"/>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9-82E1-4CE7-A635-CB3E213475F3}"/>
                </c:ext>
              </c:extLst>
            </c:dLbl>
            <c:dLbl>
              <c:idx val="7"/>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A-82E1-4CE7-A635-CB3E213475F3}"/>
                </c:ext>
              </c:extLst>
            </c:dLbl>
            <c:dLbl>
              <c:idx val="8"/>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B-82E1-4CE7-A635-CB3E213475F3}"/>
                </c:ext>
              </c:extLst>
            </c:dLbl>
            <c:dLbl>
              <c:idx val="9"/>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C-82E1-4CE7-A635-CB3E213475F3}"/>
                </c:ext>
              </c:extLst>
            </c:dLbl>
            <c:dLbl>
              <c:idx val="10"/>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D-82E1-4CE7-A635-CB3E213475F3}"/>
                </c:ext>
              </c:extLst>
            </c:dLbl>
            <c:dLbl>
              <c:idx val="11"/>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E-82E1-4CE7-A635-CB3E213475F3}"/>
                </c:ext>
              </c:extLst>
            </c:dLbl>
            <c:dLbl>
              <c:idx val="12"/>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F-82E1-4CE7-A635-CB3E213475F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8:$M$8</c:f>
              <c:numCache>
                <c:formatCode>General</c:formatCode>
                <c:ptCount val="13"/>
                <c:pt idx="0">
                  <c:v>37.403039265016282</c:v>
                </c:pt>
                <c:pt idx="1">
                  <c:v>38.137856381219507</c:v>
                </c:pt>
                <c:pt idx="2">
                  <c:v>37.056274261500981</c:v>
                </c:pt>
                <c:pt idx="3">
                  <c:v>30.37739515557308</c:v>
                </c:pt>
                <c:pt idx="4">
                  <c:v>34.05556921172272</c:v>
                </c:pt>
                <c:pt idx="5">
                  <c:v>35.665303205243049</c:v>
                </c:pt>
                <c:pt idx="6">
                  <c:v>34.163689392753653</c:v>
                </c:pt>
                <c:pt idx="7">
                  <c:v>37.144819007858906</c:v>
                </c:pt>
                <c:pt idx="8">
                  <c:v>34.597114117951286</c:v>
                </c:pt>
                <c:pt idx="9">
                  <c:v>35.970640663985996</c:v>
                </c:pt>
                <c:pt idx="10">
                  <c:v>34.799999999999997</c:v>
                </c:pt>
                <c:pt idx="11">
                  <c:v>29.299999999999997</c:v>
                </c:pt>
                <c:pt idx="12">
                  <c:v>28.000000000000004</c:v>
                </c:pt>
              </c:numCache>
            </c:numRef>
          </c:val>
          <c:smooth val="0"/>
          <c:extLst>
            <c:ext xmlns:c16="http://schemas.microsoft.com/office/drawing/2014/chart" uri="{C3380CC4-5D6E-409C-BE32-E72D297353CC}">
              <c16:uniqueId val="{00000050-82E1-4CE7-A635-CB3E213475F3}"/>
            </c:ext>
          </c:extLst>
        </c:ser>
        <c:ser>
          <c:idx val="8"/>
          <c:order val="8"/>
          <c:spPr>
            <a:ln w="19050" cmpd="sng" algn="ctr">
              <a:solidFill>
                <a:srgbClr val="9DB1CF"/>
              </a:solidFill>
              <a:prstDash val="solid"/>
            </a:ln>
          </c:spPr>
          <c:marker>
            <c:symbol val="circle"/>
            <c:size val="5"/>
            <c:spPr>
              <a:solidFill>
                <a:srgbClr val="9DB1CF"/>
              </a:solidFill>
              <a:ln w="9525" cmpd="sng" algn="ctr">
                <a:solidFill>
                  <a:srgbClr val="9DB1CF"/>
                </a:solidFill>
                <a:prstDash val="solid"/>
              </a:ln>
            </c:spPr>
          </c:marker>
          <c:dLbls>
            <c:dLbl>
              <c:idx val="0"/>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1-82E1-4CE7-A635-CB3E213475F3}"/>
                </c:ext>
              </c:extLst>
            </c:dLbl>
            <c:dLbl>
              <c:idx val="1"/>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2-82E1-4CE7-A635-CB3E213475F3}"/>
                </c:ext>
              </c:extLst>
            </c:dLbl>
            <c:dLbl>
              <c:idx val="2"/>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3-82E1-4CE7-A635-CB3E213475F3}"/>
                </c:ext>
              </c:extLst>
            </c:dLbl>
            <c:dLbl>
              <c:idx val="3"/>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4-82E1-4CE7-A635-CB3E213475F3}"/>
                </c:ext>
              </c:extLst>
            </c:dLbl>
            <c:dLbl>
              <c:idx val="4"/>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5-82E1-4CE7-A635-CB3E213475F3}"/>
                </c:ext>
              </c:extLst>
            </c:dLbl>
            <c:dLbl>
              <c:idx val="5"/>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6-82E1-4CE7-A635-CB3E213475F3}"/>
                </c:ext>
              </c:extLst>
            </c:dLbl>
            <c:dLbl>
              <c:idx val="6"/>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7-82E1-4CE7-A635-CB3E213475F3}"/>
                </c:ext>
              </c:extLst>
            </c:dLbl>
            <c:dLbl>
              <c:idx val="7"/>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8-82E1-4CE7-A635-CB3E213475F3}"/>
                </c:ext>
              </c:extLst>
            </c:dLbl>
            <c:dLbl>
              <c:idx val="8"/>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9-82E1-4CE7-A635-CB3E213475F3}"/>
                </c:ext>
              </c:extLst>
            </c:dLbl>
            <c:dLbl>
              <c:idx val="9"/>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A-82E1-4CE7-A635-CB3E213475F3}"/>
                </c:ext>
              </c:extLst>
            </c:dLbl>
            <c:dLbl>
              <c:idx val="10"/>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B-82E1-4CE7-A635-CB3E213475F3}"/>
                </c:ext>
              </c:extLst>
            </c:dLbl>
            <c:dLbl>
              <c:idx val="11"/>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C-82E1-4CE7-A635-CB3E213475F3}"/>
                </c:ext>
              </c:extLst>
            </c:dLbl>
            <c:dLbl>
              <c:idx val="12"/>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D-82E1-4CE7-A635-CB3E213475F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9:$M$9</c:f>
              <c:numCache>
                <c:formatCode>General</c:formatCode>
                <c:ptCount val="13"/>
                <c:pt idx="0">
                  <c:v>25.492416686948065</c:v>
                </c:pt>
                <c:pt idx="1">
                  <c:v>25.691661784072434</c:v>
                </c:pt>
                <c:pt idx="2">
                  <c:v>26.677939341843054</c:v>
                </c:pt>
                <c:pt idx="3">
                  <c:v>24.159621436355458</c:v>
                </c:pt>
                <c:pt idx="4">
                  <c:v>26.163206892587066</c:v>
                </c:pt>
                <c:pt idx="5">
                  <c:v>30.951829637186083</c:v>
                </c:pt>
                <c:pt idx="6">
                  <c:v>24.439700643453765</c:v>
                </c:pt>
                <c:pt idx="7">
                  <c:v>30.847487465563944</c:v>
                </c:pt>
                <c:pt idx="8">
                  <c:v>27.508397531205532</c:v>
                </c:pt>
                <c:pt idx="9">
                  <c:v>27.190865310353601</c:v>
                </c:pt>
                <c:pt idx="10">
                  <c:v>24.8</c:v>
                </c:pt>
                <c:pt idx="11">
                  <c:v>21.6</c:v>
                </c:pt>
                <c:pt idx="12">
                  <c:v>20.3</c:v>
                </c:pt>
              </c:numCache>
            </c:numRef>
          </c:val>
          <c:smooth val="0"/>
          <c:extLst>
            <c:ext xmlns:c16="http://schemas.microsoft.com/office/drawing/2014/chart" uri="{C3380CC4-5D6E-409C-BE32-E72D297353CC}">
              <c16:uniqueId val="{0000005E-82E1-4CE7-A635-CB3E213475F3}"/>
            </c:ext>
          </c:extLst>
        </c:ser>
        <c:dLbls>
          <c:showLegendKey val="0"/>
          <c:showVal val="0"/>
          <c:showCatName val="0"/>
          <c:showSerName val="0"/>
          <c:showPercent val="0"/>
          <c:showBubbleSize val="0"/>
        </c:dLbls>
        <c:marker val="1"/>
        <c:smooth val="0"/>
        <c:axId val="2"/>
        <c:axId val="3"/>
      </c:lineChart>
      <c:catAx>
        <c:axId val="135590784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50000"/>
          <c:min val="0"/>
        </c:scaling>
        <c:delete val="0"/>
        <c:axPos val="l"/>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1355907840"/>
        <c:crosses val="min"/>
        <c:crossBetween val="between"/>
      </c:valAx>
      <c:catAx>
        <c:axId val="2"/>
        <c:scaling>
          <c:orientation val="minMax"/>
        </c:scaling>
        <c:delete val="1"/>
        <c:axPos val="b"/>
        <c:majorGridlines>
          <c:spPr>
            <a:ln>
              <a:noFill/>
            </a:ln>
          </c:spPr>
        </c:majorGridlines>
        <c:majorTickMark val="none"/>
        <c:minorTickMark val="none"/>
        <c:tickLblPos val="none"/>
        <c:crossAx val="3"/>
        <c:crosses val="min"/>
        <c:auto val="0"/>
        <c:lblAlgn val="ctr"/>
        <c:lblOffset val="100"/>
        <c:noMultiLvlLbl val="0"/>
      </c:catAx>
      <c:valAx>
        <c:axId val="3"/>
        <c:scaling>
          <c:orientation val="minMax"/>
          <c:max val="38.137856381219507"/>
          <c:min val="-25"/>
        </c:scaling>
        <c:delete val="0"/>
        <c:axPos val="r"/>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2"/>
        <c:crosses val="max"/>
        <c:crossBetween val="between"/>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083381811130502E-2"/>
          <c:y val="6.5437788018433182E-2"/>
          <c:w val="0.979833236377739"/>
          <c:h val="0.86912442396313361"/>
        </c:manualLayout>
      </c:layout>
      <c:barChart>
        <c:barDir val="col"/>
        <c:grouping val="stacked"/>
        <c:varyColors val="0"/>
        <c:ser>
          <c:idx val="0"/>
          <c:order val="0"/>
          <c:spPr>
            <a:solidFill>
              <a:schemeClr val="accent1"/>
            </a:solidFill>
            <a:ln>
              <a:noFill/>
            </a:ln>
          </c:spPr>
          <c:invertIfNegative val="0"/>
          <c:dLbls>
            <c:dLbl>
              <c:idx val="0"/>
              <c:layout>
                <c:manualLayout>
                  <c:x val="0"/>
                  <c:y val="-1.8433179723502304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E28-444F-96D3-A70EDD21414E}"/>
                </c:ext>
              </c:extLst>
            </c:dLbl>
            <c:dLbl>
              <c:idx val="1"/>
              <c:layout>
                <c:manualLayout>
                  <c:x val="0"/>
                  <c:y val="-1.3824884792626728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E28-444F-96D3-A70EDD21414E}"/>
                </c:ext>
              </c:extLst>
            </c:dLbl>
            <c:dLbl>
              <c:idx val="2"/>
              <c:layout>
                <c:manualLayout>
                  <c:x val="0"/>
                  <c:y val="-1.3824884792626728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E28-444F-96D3-A70EDD21414E}"/>
                </c:ext>
              </c:extLst>
            </c:dLbl>
            <c:dLbl>
              <c:idx val="3"/>
              <c:layout>
                <c:manualLayout>
                  <c:x val="0"/>
                  <c:y val="-1.3824884792626728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E28-444F-96D3-A70EDD21414E}"/>
                </c:ext>
              </c:extLst>
            </c:dLbl>
            <c:dLbl>
              <c:idx val="4"/>
              <c:layout>
                <c:manualLayout>
                  <c:x val="0"/>
                  <c:y val="-1.3824884792626728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E28-444F-96D3-A70EDD21414E}"/>
                </c:ext>
              </c:extLst>
            </c:dLbl>
            <c:dLbl>
              <c:idx val="5"/>
              <c:layout>
                <c:manualLayout>
                  <c:x val="0"/>
                  <c:y val="-1.3824884792626728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E28-444F-96D3-A70EDD21414E}"/>
                </c:ext>
              </c:extLst>
            </c:dLbl>
            <c:dLbl>
              <c:idx val="6"/>
              <c:layout>
                <c:manualLayout>
                  <c:x val="0"/>
                  <c:y val="-1.3824884792626728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E28-444F-96D3-A70EDD21414E}"/>
                </c:ext>
              </c:extLst>
            </c:dLbl>
            <c:dLbl>
              <c:idx val="7"/>
              <c:layout>
                <c:manualLayout>
                  <c:x val="0"/>
                  <c:y val="-1.3824884792626728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E28-444F-96D3-A70EDD21414E}"/>
                </c:ext>
              </c:extLst>
            </c:dLbl>
            <c:dLbl>
              <c:idx val="8"/>
              <c:layout>
                <c:manualLayout>
                  <c:x val="0"/>
                  <c:y val="-1.3824884792626728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0E28-444F-96D3-A70EDD21414E}"/>
                </c:ext>
              </c:extLst>
            </c:dLbl>
            <c:dLbl>
              <c:idx val="9"/>
              <c:layout>
                <c:manualLayout>
                  <c:x val="0"/>
                  <c:y val="-1.8433179723502304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0E28-444F-96D3-A70EDD21414E}"/>
                </c:ext>
              </c:extLst>
            </c:dLbl>
            <c:dLbl>
              <c:idx val="10"/>
              <c:layout>
                <c:manualLayout>
                  <c:x val="0"/>
                  <c:y val="-1.8433179723502304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0E28-444F-96D3-A70EDD21414E}"/>
                </c:ext>
              </c:extLst>
            </c:dLbl>
            <c:dLbl>
              <c:idx val="11"/>
              <c:layout>
                <c:manualLayout>
                  <c:x val="0"/>
                  <c:y val="-1.3824884792626728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0E28-444F-96D3-A70EDD21414E}"/>
                </c:ext>
              </c:extLst>
            </c:dLbl>
            <c:dLbl>
              <c:idx val="12"/>
              <c:layout>
                <c:manualLayout>
                  <c:x val="0"/>
                  <c:y val="-1.8433179723502304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0E28-444F-96D3-A70EDD21414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M$1</c:f>
              <c:numCache>
                <c:formatCode>General</c:formatCode>
                <c:ptCount val="13"/>
                <c:pt idx="0">
                  <c:v>168</c:v>
                </c:pt>
                <c:pt idx="1">
                  <c:v>193</c:v>
                </c:pt>
                <c:pt idx="2">
                  <c:v>185</c:v>
                </c:pt>
                <c:pt idx="3">
                  <c:v>219</c:v>
                </c:pt>
                <c:pt idx="4">
                  <c:v>219</c:v>
                </c:pt>
                <c:pt idx="5">
                  <c:v>215</c:v>
                </c:pt>
                <c:pt idx="6">
                  <c:v>215</c:v>
                </c:pt>
                <c:pt idx="7">
                  <c:v>211</c:v>
                </c:pt>
                <c:pt idx="8">
                  <c:v>243</c:v>
                </c:pt>
                <c:pt idx="9">
                  <c:v>196</c:v>
                </c:pt>
                <c:pt idx="10">
                  <c:v>200</c:v>
                </c:pt>
                <c:pt idx="11">
                  <c:v>121</c:v>
                </c:pt>
                <c:pt idx="12">
                  <c:v>138</c:v>
                </c:pt>
              </c:numCache>
            </c:numRef>
          </c:val>
          <c:extLst>
            <c:ext xmlns:c16="http://schemas.microsoft.com/office/drawing/2014/chart" uri="{C3380CC4-5D6E-409C-BE32-E72D297353CC}">
              <c16:uniqueId val="{0000000D-0E28-444F-96D3-A70EDD21414E}"/>
            </c:ext>
          </c:extLst>
        </c:ser>
        <c:ser>
          <c:idx val="1"/>
          <c:order val="1"/>
          <c:spPr>
            <a:solidFill>
              <a:schemeClr val="accent2"/>
            </a:solidFill>
            <a:ln>
              <a:noFill/>
            </a:ln>
          </c:spPr>
          <c:invertIfNegative val="0"/>
          <c:dLbls>
            <c:dLbl>
              <c:idx val="0"/>
              <c:layout>
                <c:manualLayout>
                  <c:x val="0"/>
                  <c:y val="-1.382488479262672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0E28-444F-96D3-A70EDD21414E}"/>
                </c:ext>
              </c:extLst>
            </c:dLbl>
            <c:dLbl>
              <c:idx val="1"/>
              <c:layout>
                <c:manualLayout>
                  <c:x val="0"/>
                  <c:y val="-1.843317972350230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0E28-444F-96D3-A70EDD21414E}"/>
                </c:ext>
              </c:extLst>
            </c:dLbl>
            <c:dLbl>
              <c:idx val="2"/>
              <c:layout>
                <c:manualLayout>
                  <c:x val="0"/>
                  <c:y val="-1.382488479262672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0E28-444F-96D3-A70EDD21414E}"/>
                </c:ext>
              </c:extLst>
            </c:dLbl>
            <c:dLbl>
              <c:idx val="3"/>
              <c:layout>
                <c:manualLayout>
                  <c:x val="0"/>
                  <c:y val="-1.382488479262672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0E28-444F-96D3-A70EDD21414E}"/>
                </c:ext>
              </c:extLst>
            </c:dLbl>
            <c:dLbl>
              <c:idx val="4"/>
              <c:layout>
                <c:manualLayout>
                  <c:x val="0"/>
                  <c:y val="-1.382488479262672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0E28-444F-96D3-A70EDD21414E}"/>
                </c:ext>
              </c:extLst>
            </c:dLbl>
            <c:dLbl>
              <c:idx val="5"/>
              <c:layout>
                <c:manualLayout>
                  <c:x val="0"/>
                  <c:y val="-1.382488479262672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0E28-444F-96D3-A70EDD21414E}"/>
                </c:ext>
              </c:extLst>
            </c:dLbl>
            <c:dLbl>
              <c:idx val="6"/>
              <c:layout>
                <c:manualLayout>
                  <c:x val="0"/>
                  <c:y val="-1.382488479262672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0E28-444F-96D3-A70EDD21414E}"/>
                </c:ext>
              </c:extLst>
            </c:dLbl>
            <c:dLbl>
              <c:idx val="7"/>
              <c:layout>
                <c:manualLayout>
                  <c:x val="0"/>
                  <c:y val="-1.382488479262672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0E28-444F-96D3-A70EDD21414E}"/>
                </c:ext>
              </c:extLst>
            </c:dLbl>
            <c:dLbl>
              <c:idx val="8"/>
              <c:layout>
                <c:manualLayout>
                  <c:x val="0"/>
                  <c:y val="-1.382488479262672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0E28-444F-96D3-A70EDD21414E}"/>
                </c:ext>
              </c:extLst>
            </c:dLbl>
            <c:dLbl>
              <c:idx val="9"/>
              <c:layout>
                <c:manualLayout>
                  <c:x val="0"/>
                  <c:y val="-1.382488479262672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0E28-444F-96D3-A70EDD21414E}"/>
                </c:ext>
              </c:extLst>
            </c:dLbl>
            <c:dLbl>
              <c:idx val="10"/>
              <c:layout>
                <c:manualLayout>
                  <c:x val="0"/>
                  <c:y val="-1.382488479262672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0E28-444F-96D3-A70EDD21414E}"/>
                </c:ext>
              </c:extLst>
            </c:dLbl>
            <c:dLbl>
              <c:idx val="11"/>
              <c:layout>
                <c:manualLayout>
                  <c:x val="0"/>
                  <c:y val="-1.382488479262672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0E28-444F-96D3-A70EDD21414E}"/>
                </c:ext>
              </c:extLst>
            </c:dLbl>
            <c:dLbl>
              <c:idx val="12"/>
              <c:layout>
                <c:manualLayout>
                  <c:x val="0"/>
                  <c:y val="-1.843317972350230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0E28-444F-96D3-A70EDD21414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M$2</c:f>
              <c:numCache>
                <c:formatCode>General</c:formatCode>
                <c:ptCount val="13"/>
                <c:pt idx="0">
                  <c:v>218</c:v>
                </c:pt>
                <c:pt idx="1">
                  <c:v>245</c:v>
                </c:pt>
                <c:pt idx="2">
                  <c:v>224</c:v>
                </c:pt>
                <c:pt idx="3">
                  <c:v>214</c:v>
                </c:pt>
                <c:pt idx="4">
                  <c:v>236</c:v>
                </c:pt>
                <c:pt idx="5">
                  <c:v>214</c:v>
                </c:pt>
                <c:pt idx="6">
                  <c:v>189</c:v>
                </c:pt>
                <c:pt idx="7">
                  <c:v>171</c:v>
                </c:pt>
                <c:pt idx="8">
                  <c:v>182</c:v>
                </c:pt>
                <c:pt idx="9">
                  <c:v>194</c:v>
                </c:pt>
                <c:pt idx="10">
                  <c:v>184</c:v>
                </c:pt>
                <c:pt idx="11">
                  <c:v>247</c:v>
                </c:pt>
                <c:pt idx="12">
                  <c:v>196</c:v>
                </c:pt>
              </c:numCache>
            </c:numRef>
          </c:val>
          <c:extLst>
            <c:ext xmlns:c16="http://schemas.microsoft.com/office/drawing/2014/chart" uri="{C3380CC4-5D6E-409C-BE32-E72D297353CC}">
              <c16:uniqueId val="{0000001B-0E28-444F-96D3-A70EDD21414E}"/>
            </c:ext>
          </c:extLst>
        </c:ser>
        <c:ser>
          <c:idx val="2"/>
          <c:order val="2"/>
          <c:spPr>
            <a:solidFill>
              <a:schemeClr val="accent3"/>
            </a:solidFill>
            <a:ln>
              <a:noFill/>
            </a:ln>
          </c:spPr>
          <c:invertIfNegative val="0"/>
          <c:dLbls>
            <c:dLbl>
              <c:idx val="0"/>
              <c:layout>
                <c:manualLayout>
                  <c:x val="0"/>
                  <c:y val="-1.382488479262672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0E28-444F-96D3-A70EDD21414E}"/>
                </c:ext>
              </c:extLst>
            </c:dLbl>
            <c:dLbl>
              <c:idx val="1"/>
              <c:layout>
                <c:manualLayout>
                  <c:x val="0"/>
                  <c:y val="-1.843317972350230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0E28-444F-96D3-A70EDD21414E}"/>
                </c:ext>
              </c:extLst>
            </c:dLbl>
            <c:dLbl>
              <c:idx val="2"/>
              <c:layout>
                <c:manualLayout>
                  <c:x val="0"/>
                  <c:y val="-1.382488479262672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0E28-444F-96D3-A70EDD21414E}"/>
                </c:ext>
              </c:extLst>
            </c:dLbl>
            <c:dLbl>
              <c:idx val="3"/>
              <c:layout>
                <c:manualLayout>
                  <c:x val="0"/>
                  <c:y val="-1.382488479262672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0E28-444F-96D3-A70EDD21414E}"/>
                </c:ext>
              </c:extLst>
            </c:dLbl>
            <c:dLbl>
              <c:idx val="4"/>
              <c:layout>
                <c:manualLayout>
                  <c:x val="0"/>
                  <c:y val="-1.843317972350230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0E28-444F-96D3-A70EDD21414E}"/>
                </c:ext>
              </c:extLst>
            </c:dLbl>
            <c:dLbl>
              <c:idx val="5"/>
              <c:layout>
                <c:manualLayout>
                  <c:x val="0"/>
                  <c:y val="-1.843317972350230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0E28-444F-96D3-A70EDD21414E}"/>
                </c:ext>
              </c:extLst>
            </c:dLbl>
            <c:dLbl>
              <c:idx val="6"/>
              <c:layout>
                <c:manualLayout>
                  <c:x val="0"/>
                  <c:y val="-1.382488479262672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0E28-444F-96D3-A70EDD21414E}"/>
                </c:ext>
              </c:extLst>
            </c:dLbl>
            <c:dLbl>
              <c:idx val="7"/>
              <c:layout>
                <c:manualLayout>
                  <c:x val="0"/>
                  <c:y val="-1.843317972350230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0E28-444F-96D3-A70EDD21414E}"/>
                </c:ext>
              </c:extLst>
            </c:dLbl>
            <c:dLbl>
              <c:idx val="8"/>
              <c:layout>
                <c:manualLayout>
                  <c:x val="0"/>
                  <c:y val="-1.382488479262672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0E28-444F-96D3-A70EDD21414E}"/>
                </c:ext>
              </c:extLst>
            </c:dLbl>
            <c:dLbl>
              <c:idx val="9"/>
              <c:layout>
                <c:manualLayout>
                  <c:x val="0"/>
                  <c:y val="-1.843317972350230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0E28-444F-96D3-A70EDD21414E}"/>
                </c:ext>
              </c:extLst>
            </c:dLbl>
            <c:dLbl>
              <c:idx val="10"/>
              <c:layout>
                <c:manualLayout>
                  <c:x val="0"/>
                  <c:y val="-1.843317972350230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0E28-444F-96D3-A70EDD21414E}"/>
                </c:ext>
              </c:extLst>
            </c:dLbl>
            <c:dLbl>
              <c:idx val="11"/>
              <c:layout>
                <c:manualLayout>
                  <c:x val="0"/>
                  <c:y val="-1.382488479262672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0E28-444F-96D3-A70EDD21414E}"/>
                </c:ext>
              </c:extLst>
            </c:dLbl>
            <c:dLbl>
              <c:idx val="12"/>
              <c:layout>
                <c:manualLayout>
                  <c:x val="0"/>
                  <c:y val="-1.382488479262672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0E28-444F-96D3-A70EDD21414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M$3</c:f>
              <c:numCache>
                <c:formatCode>General</c:formatCode>
                <c:ptCount val="13"/>
                <c:pt idx="0">
                  <c:v>233</c:v>
                </c:pt>
                <c:pt idx="1">
                  <c:v>247</c:v>
                </c:pt>
                <c:pt idx="2">
                  <c:v>241</c:v>
                </c:pt>
                <c:pt idx="3">
                  <c:v>266</c:v>
                </c:pt>
                <c:pt idx="4">
                  <c:v>275</c:v>
                </c:pt>
                <c:pt idx="5">
                  <c:v>237</c:v>
                </c:pt>
                <c:pt idx="6">
                  <c:v>219</c:v>
                </c:pt>
                <c:pt idx="7">
                  <c:v>214</c:v>
                </c:pt>
                <c:pt idx="8">
                  <c:v>238</c:v>
                </c:pt>
                <c:pt idx="9">
                  <c:v>208</c:v>
                </c:pt>
                <c:pt idx="10">
                  <c:v>208</c:v>
                </c:pt>
                <c:pt idx="11">
                  <c:v>225</c:v>
                </c:pt>
                <c:pt idx="12">
                  <c:v>198</c:v>
                </c:pt>
              </c:numCache>
            </c:numRef>
          </c:val>
          <c:extLst>
            <c:ext xmlns:c16="http://schemas.microsoft.com/office/drawing/2014/chart" uri="{C3380CC4-5D6E-409C-BE32-E72D297353CC}">
              <c16:uniqueId val="{00000029-0E28-444F-96D3-A70EDD21414E}"/>
            </c:ext>
          </c:extLst>
        </c:ser>
        <c:ser>
          <c:idx val="3"/>
          <c:order val="3"/>
          <c:spPr>
            <a:solidFill>
              <a:schemeClr val="accent4"/>
            </a:solidFill>
            <a:ln>
              <a:noFill/>
            </a:ln>
          </c:spPr>
          <c:invertIfNegative val="0"/>
          <c:dLbls>
            <c:dLbl>
              <c:idx val="0"/>
              <c:layout>
                <c:manualLayout>
                  <c:x val="0"/>
                  <c:y val="-1.382488479262672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0E28-444F-96D3-A70EDD21414E}"/>
                </c:ext>
              </c:extLst>
            </c:dLbl>
            <c:dLbl>
              <c:idx val="1"/>
              <c:layout>
                <c:manualLayout>
                  <c:x val="0"/>
                  <c:y val="-1.382488479262672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0E28-444F-96D3-A70EDD21414E}"/>
                </c:ext>
              </c:extLst>
            </c:dLbl>
            <c:dLbl>
              <c:idx val="2"/>
              <c:layout>
                <c:manualLayout>
                  <c:x val="0"/>
                  <c:y val="-1.843317972350230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0E28-444F-96D3-A70EDD21414E}"/>
                </c:ext>
              </c:extLst>
            </c:dLbl>
            <c:dLbl>
              <c:idx val="3"/>
              <c:layout>
                <c:manualLayout>
                  <c:x val="0"/>
                  <c:y val="-1.382488479262672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D-0E28-444F-96D3-A70EDD21414E}"/>
                </c:ext>
              </c:extLst>
            </c:dLbl>
            <c:dLbl>
              <c:idx val="4"/>
              <c:layout>
                <c:manualLayout>
                  <c:x val="0"/>
                  <c:y val="-1.843317972350230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E-0E28-444F-96D3-A70EDD21414E}"/>
                </c:ext>
              </c:extLst>
            </c:dLbl>
            <c:dLbl>
              <c:idx val="5"/>
              <c:layout>
                <c:manualLayout>
                  <c:x val="0"/>
                  <c:y val="-1.382488479262672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F-0E28-444F-96D3-A70EDD21414E}"/>
                </c:ext>
              </c:extLst>
            </c:dLbl>
            <c:dLbl>
              <c:idx val="6"/>
              <c:layout>
                <c:manualLayout>
                  <c:x val="0"/>
                  <c:y val="-1.382488479262672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0-0E28-444F-96D3-A70EDD21414E}"/>
                </c:ext>
              </c:extLst>
            </c:dLbl>
            <c:dLbl>
              <c:idx val="7"/>
              <c:layout>
                <c:manualLayout>
                  <c:x val="0"/>
                  <c:y val="-1.843317972350230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1-0E28-444F-96D3-A70EDD21414E}"/>
                </c:ext>
              </c:extLst>
            </c:dLbl>
            <c:dLbl>
              <c:idx val="8"/>
              <c:layout>
                <c:manualLayout>
                  <c:x val="0"/>
                  <c:y val="-1.843317972350230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2-0E28-444F-96D3-A70EDD21414E}"/>
                </c:ext>
              </c:extLst>
            </c:dLbl>
            <c:dLbl>
              <c:idx val="9"/>
              <c:layout>
                <c:manualLayout>
                  <c:x val="0"/>
                  <c:y val="-1.843317972350230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3-0E28-444F-96D3-A70EDD21414E}"/>
                </c:ext>
              </c:extLst>
            </c:dLbl>
            <c:dLbl>
              <c:idx val="10"/>
              <c:layout>
                <c:manualLayout>
                  <c:x val="0"/>
                  <c:y val="-1.382488479262672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4-0E28-444F-96D3-A70EDD21414E}"/>
                </c:ext>
              </c:extLst>
            </c:dLbl>
            <c:dLbl>
              <c:idx val="11"/>
              <c:layout>
                <c:manualLayout>
                  <c:x val="0"/>
                  <c:y val="-1.382488479262672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5-0E28-444F-96D3-A70EDD21414E}"/>
                </c:ext>
              </c:extLst>
            </c:dLbl>
            <c:dLbl>
              <c:idx val="12"/>
              <c:layout>
                <c:manualLayout>
                  <c:x val="0"/>
                  <c:y val="-1.382488479262672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6-0E28-444F-96D3-A70EDD21414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M$4</c:f>
              <c:numCache>
                <c:formatCode>General</c:formatCode>
                <c:ptCount val="13"/>
                <c:pt idx="0">
                  <c:v>407</c:v>
                </c:pt>
                <c:pt idx="1">
                  <c:v>373</c:v>
                </c:pt>
                <c:pt idx="2">
                  <c:v>331</c:v>
                </c:pt>
                <c:pt idx="3">
                  <c:v>387</c:v>
                </c:pt>
                <c:pt idx="4">
                  <c:v>354</c:v>
                </c:pt>
                <c:pt idx="5">
                  <c:v>340</c:v>
                </c:pt>
                <c:pt idx="6">
                  <c:v>324</c:v>
                </c:pt>
                <c:pt idx="7">
                  <c:v>318</c:v>
                </c:pt>
                <c:pt idx="8">
                  <c:v>323</c:v>
                </c:pt>
                <c:pt idx="9">
                  <c:v>281</c:v>
                </c:pt>
                <c:pt idx="10">
                  <c:v>270</c:v>
                </c:pt>
                <c:pt idx="11">
                  <c:v>264</c:v>
                </c:pt>
                <c:pt idx="12">
                  <c:v>228</c:v>
                </c:pt>
              </c:numCache>
            </c:numRef>
          </c:val>
          <c:extLst>
            <c:ext xmlns:c16="http://schemas.microsoft.com/office/drawing/2014/chart" uri="{C3380CC4-5D6E-409C-BE32-E72D297353CC}">
              <c16:uniqueId val="{00000037-0E28-444F-96D3-A70EDD21414E}"/>
            </c:ext>
          </c:extLst>
        </c:ser>
        <c:ser>
          <c:idx val="4"/>
          <c:order val="4"/>
          <c:spPr>
            <a:solidFill>
              <a:srgbClr val="9DB1CF"/>
            </a:solidFill>
            <a:ln>
              <a:noFill/>
            </a:ln>
          </c:spPr>
          <c:invertIfNegative val="0"/>
          <c:dLbls>
            <c:dLbl>
              <c:idx val="0"/>
              <c:layout>
                <c:manualLayout>
                  <c:x val="0"/>
                  <c:y val="-1.382488479262672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8-0E28-444F-96D3-A70EDD21414E}"/>
                </c:ext>
              </c:extLst>
            </c:dLbl>
            <c:dLbl>
              <c:idx val="1"/>
              <c:layout>
                <c:manualLayout>
                  <c:x val="0"/>
                  <c:y val="-1.382488479262672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9-0E28-444F-96D3-A70EDD21414E}"/>
                </c:ext>
              </c:extLst>
            </c:dLbl>
            <c:dLbl>
              <c:idx val="2"/>
              <c:layout>
                <c:manualLayout>
                  <c:x val="0"/>
                  <c:y val="-1.382488479262672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A-0E28-444F-96D3-A70EDD21414E}"/>
                </c:ext>
              </c:extLst>
            </c:dLbl>
            <c:dLbl>
              <c:idx val="3"/>
              <c:layout>
                <c:manualLayout>
                  <c:x val="0"/>
                  <c:y val="-1.843317972350230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B-0E28-444F-96D3-A70EDD21414E}"/>
                </c:ext>
              </c:extLst>
            </c:dLbl>
            <c:dLbl>
              <c:idx val="4"/>
              <c:layout>
                <c:manualLayout>
                  <c:x val="0"/>
                  <c:y val="-1.843317972350230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C-0E28-444F-96D3-A70EDD21414E}"/>
                </c:ext>
              </c:extLst>
            </c:dLbl>
            <c:dLbl>
              <c:idx val="5"/>
              <c:layout>
                <c:manualLayout>
                  <c:x val="0"/>
                  <c:y val="-1.382488479262672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D-0E28-444F-96D3-A70EDD21414E}"/>
                </c:ext>
              </c:extLst>
            </c:dLbl>
            <c:dLbl>
              <c:idx val="6"/>
              <c:layout>
                <c:manualLayout>
                  <c:x val="0"/>
                  <c:y val="-1.382488479262672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E-0E28-444F-96D3-A70EDD21414E}"/>
                </c:ext>
              </c:extLst>
            </c:dLbl>
            <c:dLbl>
              <c:idx val="7"/>
              <c:layout>
                <c:manualLayout>
                  <c:x val="0"/>
                  <c:y val="-1.382488479262672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F-0E28-444F-96D3-A70EDD21414E}"/>
                </c:ext>
              </c:extLst>
            </c:dLbl>
            <c:dLbl>
              <c:idx val="8"/>
              <c:layout>
                <c:manualLayout>
                  <c:x val="0"/>
                  <c:y val="-1.382488479262672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0-0E28-444F-96D3-A70EDD21414E}"/>
                </c:ext>
              </c:extLst>
            </c:dLbl>
            <c:dLbl>
              <c:idx val="9"/>
              <c:layout>
                <c:manualLayout>
                  <c:x val="0"/>
                  <c:y val="-1.382488479262672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1-0E28-444F-96D3-A70EDD21414E}"/>
                </c:ext>
              </c:extLst>
            </c:dLbl>
            <c:dLbl>
              <c:idx val="10"/>
              <c:layout>
                <c:manualLayout>
                  <c:x val="0"/>
                  <c:y val="-1.382488479262672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2-0E28-444F-96D3-A70EDD21414E}"/>
                </c:ext>
              </c:extLst>
            </c:dLbl>
            <c:dLbl>
              <c:idx val="11"/>
              <c:layout>
                <c:manualLayout>
                  <c:x val="0"/>
                  <c:y val="-1.843317972350230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3-0E28-444F-96D3-A70EDD21414E}"/>
                </c:ext>
              </c:extLst>
            </c:dLbl>
            <c:dLbl>
              <c:idx val="12"/>
              <c:layout>
                <c:manualLayout>
                  <c:x val="0"/>
                  <c:y val="-1.843317972350230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4-0E28-444F-96D3-A70EDD21414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M$5</c:f>
              <c:numCache>
                <c:formatCode>General</c:formatCode>
                <c:ptCount val="13"/>
                <c:pt idx="0">
                  <c:v>265</c:v>
                </c:pt>
                <c:pt idx="1">
                  <c:v>286</c:v>
                </c:pt>
                <c:pt idx="2">
                  <c:v>264</c:v>
                </c:pt>
                <c:pt idx="3">
                  <c:v>285</c:v>
                </c:pt>
                <c:pt idx="4">
                  <c:v>293</c:v>
                </c:pt>
                <c:pt idx="5">
                  <c:v>274</c:v>
                </c:pt>
                <c:pt idx="6">
                  <c:v>256</c:v>
                </c:pt>
                <c:pt idx="7">
                  <c:v>240</c:v>
                </c:pt>
                <c:pt idx="8">
                  <c:v>258</c:v>
                </c:pt>
                <c:pt idx="9">
                  <c:v>272</c:v>
                </c:pt>
                <c:pt idx="10">
                  <c:v>256</c:v>
                </c:pt>
                <c:pt idx="11">
                  <c:v>251</c:v>
                </c:pt>
                <c:pt idx="12">
                  <c:v>250</c:v>
                </c:pt>
              </c:numCache>
            </c:numRef>
          </c:val>
          <c:extLst>
            <c:ext xmlns:c16="http://schemas.microsoft.com/office/drawing/2014/chart" uri="{C3380CC4-5D6E-409C-BE32-E72D297353CC}">
              <c16:uniqueId val="{00000045-0E28-444F-96D3-A70EDD21414E}"/>
            </c:ext>
          </c:extLst>
        </c:ser>
        <c:dLbls>
          <c:showLegendKey val="0"/>
          <c:showVal val="0"/>
          <c:showCatName val="0"/>
          <c:showSerName val="0"/>
          <c:showPercent val="0"/>
          <c:showBubbleSize val="0"/>
        </c:dLbls>
        <c:gapWidth val="80"/>
        <c:overlap val="100"/>
        <c:axId val="1500554816"/>
        <c:axId val="1"/>
      </c:barChart>
      <c:lineChart>
        <c:grouping val="standard"/>
        <c:varyColors val="0"/>
        <c:ser>
          <c:idx val="5"/>
          <c:order val="5"/>
          <c:spPr>
            <a:ln w="19050" cmpd="sng" algn="ctr">
              <a:solidFill>
                <a:srgbClr val="000000"/>
              </a:solidFill>
              <a:prstDash val="solid"/>
            </a:ln>
          </c:spPr>
          <c:marker>
            <c:symbol val="circle"/>
            <c:size val="5"/>
            <c:spPr>
              <a:solidFill>
                <a:srgbClr val="000000"/>
              </a:solidFill>
              <a:ln w="9525" cmpd="sng" algn="ctr">
                <a:solidFill>
                  <a:srgbClr val="000000"/>
                </a:solidFill>
                <a:prstDash val="solid"/>
              </a:ln>
            </c:spPr>
          </c:marker>
          <c:val>
            <c:numRef>
              <c:f>Sheet1!$A$6:$M$6</c:f>
              <c:numCache>
                <c:formatCode>General</c:formatCode>
                <c:ptCount val="13"/>
                <c:pt idx="0">
                  <c:v>4.9936891000000001</c:v>
                </c:pt>
                <c:pt idx="1">
                  <c:v>4.9664327999999998</c:v>
                </c:pt>
                <c:pt idx="2">
                  <c:v>4.7431134000000004</c:v>
                </c:pt>
                <c:pt idx="3">
                  <c:v>4.7312417</c:v>
                </c:pt>
                <c:pt idx="4">
                  <c:v>4.0791485000000005</c:v>
                </c:pt>
                <c:pt idx="5">
                  <c:v>3.4038987999999999</c:v>
                </c:pt>
                <c:pt idx="6">
                  <c:v>4.5597025999999996</c:v>
                </c:pt>
                <c:pt idx="7">
                  <c:v>3.6730008000000001</c:v>
                </c:pt>
                <c:pt idx="8">
                  <c:v>4.0479517999999999</c:v>
                </c:pt>
                <c:pt idx="9">
                  <c:v>4.4844824000000001</c:v>
                </c:pt>
                <c:pt idx="10">
                  <c:v>4.1422530000000002</c:v>
                </c:pt>
                <c:pt idx="11">
                  <c:v>4.6792721999999998</c:v>
                </c:pt>
                <c:pt idx="12">
                  <c:v>4.3999999999999995</c:v>
                </c:pt>
              </c:numCache>
            </c:numRef>
          </c:val>
          <c:smooth val="0"/>
          <c:extLst>
            <c:ext xmlns:c16="http://schemas.microsoft.com/office/drawing/2014/chart" uri="{C3380CC4-5D6E-409C-BE32-E72D297353CC}">
              <c16:uniqueId val="{00000046-0E28-444F-96D3-A70EDD21414E}"/>
            </c:ext>
          </c:extLst>
        </c:ser>
        <c:ser>
          <c:idx val="6"/>
          <c:order val="6"/>
          <c:spPr>
            <a:ln w="19050" cmpd="sng" algn="ctr">
              <a:solidFill>
                <a:schemeClr val="accent2"/>
              </a:solidFill>
              <a:prstDash val="solid"/>
            </a:ln>
          </c:spPr>
          <c:marker>
            <c:symbol val="circle"/>
            <c:size val="5"/>
            <c:spPr>
              <a:solidFill>
                <a:schemeClr val="accent2"/>
              </a:solidFill>
              <a:ln w="9525" cmpd="sng" algn="ctr">
                <a:solidFill>
                  <a:schemeClr val="accent2"/>
                </a:solidFill>
                <a:prstDash val="solid"/>
              </a:ln>
            </c:spPr>
          </c:marker>
          <c:val>
            <c:numRef>
              <c:f>Sheet1!$A$7:$M$7</c:f>
              <c:numCache>
                <c:formatCode>General</c:formatCode>
                <c:ptCount val="13"/>
                <c:pt idx="0">
                  <c:v>6.3031279999999992</c:v>
                </c:pt>
                <c:pt idx="1">
                  <c:v>6.1876452999999998</c:v>
                </c:pt>
                <c:pt idx="2">
                  <c:v>5.7235154000000001</c:v>
                </c:pt>
                <c:pt idx="3">
                  <c:v>6.2014559</c:v>
                </c:pt>
                <c:pt idx="4">
                  <c:v>5.7675869999999998</c:v>
                </c:pt>
                <c:pt idx="5">
                  <c:v>4.9180415000000002</c:v>
                </c:pt>
                <c:pt idx="6">
                  <c:v>5.2843461999999999</c:v>
                </c:pt>
                <c:pt idx="7">
                  <c:v>4.9261432999999997</c:v>
                </c:pt>
                <c:pt idx="8">
                  <c:v>4.7800111000000003</c:v>
                </c:pt>
                <c:pt idx="9">
                  <c:v>5.1230547</c:v>
                </c:pt>
                <c:pt idx="10">
                  <c:v>5.1707073999999995</c:v>
                </c:pt>
                <c:pt idx="11">
                  <c:v>5.5809106999999996</c:v>
                </c:pt>
                <c:pt idx="12">
                  <c:v>5.3</c:v>
                </c:pt>
              </c:numCache>
            </c:numRef>
          </c:val>
          <c:smooth val="0"/>
          <c:extLst>
            <c:ext xmlns:c16="http://schemas.microsoft.com/office/drawing/2014/chart" uri="{C3380CC4-5D6E-409C-BE32-E72D297353CC}">
              <c16:uniqueId val="{00000047-0E28-444F-96D3-A70EDD21414E}"/>
            </c:ext>
          </c:extLst>
        </c:ser>
        <c:dLbls>
          <c:showLegendKey val="0"/>
          <c:showVal val="0"/>
          <c:showCatName val="0"/>
          <c:showSerName val="0"/>
          <c:showPercent val="0"/>
          <c:showBubbleSize val="0"/>
        </c:dLbls>
        <c:marker val="1"/>
        <c:smooth val="0"/>
        <c:axId val="2"/>
        <c:axId val="3"/>
      </c:lineChart>
      <c:catAx>
        <c:axId val="150055481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900"/>
          <c:min val="0"/>
        </c:scaling>
        <c:delete val="0"/>
        <c:axPos val="l"/>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1500554816"/>
        <c:crosses val="min"/>
        <c:crossBetween val="between"/>
      </c:valAx>
      <c:catAx>
        <c:axId val="2"/>
        <c:scaling>
          <c:orientation val="minMax"/>
        </c:scaling>
        <c:delete val="1"/>
        <c:axPos val="b"/>
        <c:majorGridlines>
          <c:spPr>
            <a:ln>
              <a:noFill/>
            </a:ln>
          </c:spPr>
        </c:majorGridlines>
        <c:majorTickMark val="none"/>
        <c:minorTickMark val="none"/>
        <c:tickLblPos val="none"/>
        <c:crossAx val="3"/>
        <c:crosses val="min"/>
        <c:auto val="0"/>
        <c:lblAlgn val="ctr"/>
        <c:lblOffset val="100"/>
        <c:noMultiLvlLbl val="0"/>
      </c:catAx>
      <c:valAx>
        <c:axId val="3"/>
        <c:scaling>
          <c:orientation val="minMax"/>
          <c:max val="7"/>
          <c:min val="-25"/>
        </c:scaling>
        <c:delete val="0"/>
        <c:axPos val="r"/>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2"/>
        <c:crosses val="max"/>
        <c:crossBetween val="between"/>
      </c:valAx>
    </c:plotArea>
    <c:plotVisOnly val="0"/>
    <c:dispBlanksAs val="gap"/>
    <c:showDLblsOverMax val="1"/>
  </c:chart>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modernComment_7FFFFB37_35849F2E.xml><?xml version="1.0" encoding="utf-8"?>
<p188:cmLst xmlns:a="http://schemas.openxmlformats.org/drawingml/2006/main" xmlns:r="http://schemas.openxmlformats.org/officeDocument/2006/relationships" xmlns:p188="http://schemas.microsoft.com/office/powerpoint/2018/8/main">
  <p188:cm id="{BA3EF4FD-3C85-4886-AE4C-AA48546548F9}" authorId="{AB9F6E24-FFB0-C23B-3338-1B66AFB1FC8A}" created="2024-05-09T17:17:39.302">
    <pc:sldMkLst xmlns:pc="http://schemas.microsoft.com/office/powerpoint/2013/main/command">
      <pc:docMk/>
      <pc:sldMk cId="897883950" sldId="2147482423"/>
    </pc:sldMkLst>
    <p188:replyLst>
      <p188:reply id="{FEA4FAA8-181D-4A0F-BCEA-2F69D07FB674}" authorId="{AB9F6E24-FFB0-C23B-3338-1B66AFB1FC8A}" created="2024-05-09T17:19:16.802">
        <p188:txBody>
          <a:bodyPr/>
          <a:lstStyle/>
          <a:p>
            <a:r>
              <a:rPr lang="en-US"/>
              <a:t>And a slide for visualizing DIR over time, MoM change</a:t>
            </a:r>
          </a:p>
        </p188:txBody>
      </p188:reply>
    </p188:replyLst>
    <p188:txBody>
      <a:bodyPr/>
      <a:lstStyle/>
      <a:p>
        <a:r>
          <a:rPr lang="en-US"/>
          <a:t>[@Ablao, Nika] Add DIR</a:t>
        </a:r>
      </a:p>
    </p188:txBody>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54CF9E7-A7F6-DB5D-E574-FB8A9505364A}"/>
              </a:ext>
            </a:extLst>
          </p:cNvPr>
          <p:cNvSpPr>
            <a:spLocks noGrp="1"/>
          </p:cNvSpPr>
          <p:nvPr>
            <p:ph type="hdr" sz="quarter"/>
          </p:nvPr>
        </p:nvSpPr>
        <p:spPr>
          <a:xfrm>
            <a:off x="0" y="1"/>
            <a:ext cx="3037840" cy="463408"/>
          </a:xfrm>
          <a:prstGeom prst="rect">
            <a:avLst/>
          </a:prstGeom>
        </p:spPr>
        <p:txBody>
          <a:bodyPr vert="horz" lIns="91587" tIns="45793" rIns="91587" bIns="45793" rtlCol="0"/>
          <a:lstStyle>
            <a:lvl1pPr algn="l">
              <a:defRPr sz="1200"/>
            </a:lvl1pPr>
          </a:lstStyle>
          <a:p>
            <a:endParaRPr lang="en-US"/>
          </a:p>
        </p:txBody>
      </p:sp>
      <p:sp>
        <p:nvSpPr>
          <p:cNvPr id="3" name="Date Placeholder 2">
            <a:extLst>
              <a:ext uri="{FF2B5EF4-FFF2-40B4-BE49-F238E27FC236}">
                <a16:creationId xmlns:a16="http://schemas.microsoft.com/office/drawing/2014/main" id="{436AA7F4-6B48-667D-C826-529DA0365149}"/>
              </a:ext>
            </a:extLst>
          </p:cNvPr>
          <p:cNvSpPr>
            <a:spLocks noGrp="1"/>
          </p:cNvSpPr>
          <p:nvPr>
            <p:ph type="dt" sz="quarter" idx="1"/>
          </p:nvPr>
        </p:nvSpPr>
        <p:spPr>
          <a:xfrm>
            <a:off x="3970938" y="1"/>
            <a:ext cx="3037840" cy="463408"/>
          </a:xfrm>
          <a:prstGeom prst="rect">
            <a:avLst/>
          </a:prstGeom>
        </p:spPr>
        <p:txBody>
          <a:bodyPr vert="horz" lIns="91587" tIns="45793" rIns="91587" bIns="45793" rtlCol="0"/>
          <a:lstStyle>
            <a:lvl1pPr algn="r">
              <a:defRPr sz="1200"/>
            </a:lvl1pPr>
          </a:lstStyle>
          <a:p>
            <a:fld id="{03F02F2A-C5E5-6E48-B545-F892592CE361}" type="datetimeFigureOut">
              <a:rPr lang="en-US" smtClean="0"/>
              <a:t>6/30/2024</a:t>
            </a:fld>
            <a:endParaRPr lang="en-US"/>
          </a:p>
        </p:txBody>
      </p:sp>
      <p:sp>
        <p:nvSpPr>
          <p:cNvPr id="4" name="Footer Placeholder 3">
            <a:extLst>
              <a:ext uri="{FF2B5EF4-FFF2-40B4-BE49-F238E27FC236}">
                <a16:creationId xmlns:a16="http://schemas.microsoft.com/office/drawing/2014/main" id="{C63BE630-DB0F-6361-21C1-5278B7EB8EC1}"/>
              </a:ext>
            </a:extLst>
          </p:cNvPr>
          <p:cNvSpPr>
            <a:spLocks noGrp="1"/>
          </p:cNvSpPr>
          <p:nvPr>
            <p:ph type="ftr" sz="quarter" idx="2"/>
          </p:nvPr>
        </p:nvSpPr>
        <p:spPr>
          <a:xfrm>
            <a:off x="0" y="8772674"/>
            <a:ext cx="3037840" cy="463407"/>
          </a:xfrm>
          <a:prstGeom prst="rect">
            <a:avLst/>
          </a:prstGeom>
        </p:spPr>
        <p:txBody>
          <a:bodyPr vert="horz" lIns="91587" tIns="45793" rIns="91587" bIns="45793"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A00755ED-E7A4-F962-CC8A-F5918FFCCF57}"/>
              </a:ext>
            </a:extLst>
          </p:cNvPr>
          <p:cNvSpPr>
            <a:spLocks noGrp="1"/>
          </p:cNvSpPr>
          <p:nvPr>
            <p:ph type="sldNum" sz="quarter" idx="3"/>
          </p:nvPr>
        </p:nvSpPr>
        <p:spPr>
          <a:xfrm>
            <a:off x="3970938" y="8772674"/>
            <a:ext cx="3037840" cy="463407"/>
          </a:xfrm>
          <a:prstGeom prst="rect">
            <a:avLst/>
          </a:prstGeom>
        </p:spPr>
        <p:txBody>
          <a:bodyPr vert="horz" lIns="91587" tIns="45793" rIns="91587" bIns="45793" rtlCol="0" anchor="b"/>
          <a:lstStyle>
            <a:lvl1pPr algn="r">
              <a:defRPr sz="1200"/>
            </a:lvl1pPr>
          </a:lstStyle>
          <a:p>
            <a:fld id="{A9780CE5-CCE5-184B-8059-A61AA081ED1E}" type="slidenum">
              <a:rPr lang="en-US" smtClean="0"/>
              <a:t>‹#›</a:t>
            </a:fld>
            <a:endParaRPr lang="en-US"/>
          </a:p>
        </p:txBody>
      </p:sp>
    </p:spTree>
    <p:extLst>
      <p:ext uri="{BB962C8B-B14F-4D97-AF65-F5344CB8AC3E}">
        <p14:creationId xmlns:p14="http://schemas.microsoft.com/office/powerpoint/2010/main" val="3371744425"/>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1-31T18:54:13.448"/>
    </inkml:context>
    <inkml:brush xml:id="br0">
      <inkml:brushProperty name="width" value="0.05" units="cm"/>
      <inkml:brushProperty name="height" value="0.05" units="cm"/>
    </inkml:brush>
  </inkml:definitions>
  <inkml:trace contextRef="#ctx0" brushRef="#br0">0 1 24575,'0'0'-8191</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1-31T18:54:13.448"/>
    </inkml:context>
    <inkml:brush xml:id="br0">
      <inkml:brushProperty name="width" value="0.05" units="cm"/>
      <inkml:brushProperty name="height" value="0.05" units="cm"/>
    </inkml:brush>
  </inkml:definitions>
  <inkml:trace contextRef="#ctx0" brushRef="#br0">0 1 24575,'0'0'-8191</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1-31T18:54:13.448"/>
    </inkml:context>
    <inkml:brush xml:id="br0">
      <inkml:brushProperty name="width" value="0.05" units="cm"/>
      <inkml:brushProperty name="height" value="0.05" units="cm"/>
    </inkml:brush>
  </inkml:definitions>
  <inkml:trace contextRef="#ctx0" brushRef="#br0">0 1 24575,'0'0'-8191</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1-31T18:54:13.448"/>
    </inkml:context>
    <inkml:brush xml:id="br0">
      <inkml:brushProperty name="width" value="0.05" units="cm"/>
      <inkml:brushProperty name="height" value="0.05" units="cm"/>
    </inkml:brush>
  </inkml:definitions>
  <inkml:trace contextRef="#ctx0" brushRef="#br0">0 1 24575,'0'0'-8191</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37840" cy="463408"/>
          </a:xfrm>
          <a:prstGeom prst="rect">
            <a:avLst/>
          </a:prstGeom>
        </p:spPr>
        <p:txBody>
          <a:bodyPr vert="horz" lIns="91587" tIns="45793" rIns="91587" bIns="45793" rtlCol="0"/>
          <a:lstStyle>
            <a:lvl1pPr algn="l">
              <a:defRPr sz="1200"/>
            </a:lvl1pPr>
          </a:lstStyle>
          <a:p>
            <a:endParaRPr lang="en-US"/>
          </a:p>
        </p:txBody>
      </p:sp>
      <p:sp>
        <p:nvSpPr>
          <p:cNvPr id="3" name="Date Placeholder 2"/>
          <p:cNvSpPr>
            <a:spLocks noGrp="1"/>
          </p:cNvSpPr>
          <p:nvPr>
            <p:ph type="dt" idx="1"/>
          </p:nvPr>
        </p:nvSpPr>
        <p:spPr>
          <a:xfrm>
            <a:off x="3970938" y="1"/>
            <a:ext cx="3037840" cy="463408"/>
          </a:xfrm>
          <a:prstGeom prst="rect">
            <a:avLst/>
          </a:prstGeom>
        </p:spPr>
        <p:txBody>
          <a:bodyPr vert="horz" lIns="91587" tIns="45793" rIns="91587" bIns="45793" rtlCol="0"/>
          <a:lstStyle>
            <a:lvl1pPr algn="r">
              <a:defRPr sz="1200"/>
            </a:lvl1pPr>
          </a:lstStyle>
          <a:p>
            <a:fld id="{CFD6F408-C087-4F27-B9B0-9AFC9F397E6F}" type="datetimeFigureOut">
              <a:rPr lang="en-US" smtClean="0"/>
              <a:t>6/30/2024</a:t>
            </a:fld>
            <a:endParaRPr lang="en-US"/>
          </a:p>
        </p:txBody>
      </p:sp>
      <p:sp>
        <p:nvSpPr>
          <p:cNvPr id="4" name="Slide Image Placeholder 3"/>
          <p:cNvSpPr>
            <a:spLocks noGrp="1" noRot="1" noChangeAspect="1"/>
          </p:cNvSpPr>
          <p:nvPr>
            <p:ph type="sldImg" idx="2"/>
          </p:nvPr>
        </p:nvSpPr>
        <p:spPr>
          <a:xfrm>
            <a:off x="733425" y="1154113"/>
            <a:ext cx="5543550" cy="3117850"/>
          </a:xfrm>
          <a:prstGeom prst="rect">
            <a:avLst/>
          </a:prstGeom>
          <a:noFill/>
          <a:ln w="12700">
            <a:solidFill>
              <a:prstClr val="black"/>
            </a:solidFill>
          </a:ln>
        </p:spPr>
        <p:txBody>
          <a:bodyPr vert="horz" lIns="91587" tIns="45793" rIns="91587" bIns="45793" rtlCol="0" anchor="ctr"/>
          <a:lstStyle/>
          <a:p>
            <a:endParaRPr lang="en-US"/>
          </a:p>
        </p:txBody>
      </p:sp>
      <p:sp>
        <p:nvSpPr>
          <p:cNvPr id="5" name="Notes Placeholder 4"/>
          <p:cNvSpPr>
            <a:spLocks noGrp="1"/>
          </p:cNvSpPr>
          <p:nvPr>
            <p:ph type="body" sz="quarter" idx="3"/>
          </p:nvPr>
        </p:nvSpPr>
        <p:spPr>
          <a:xfrm>
            <a:off x="701040" y="4444862"/>
            <a:ext cx="5608320" cy="3636704"/>
          </a:xfrm>
          <a:prstGeom prst="rect">
            <a:avLst/>
          </a:prstGeom>
        </p:spPr>
        <p:txBody>
          <a:bodyPr vert="horz" lIns="91587" tIns="45793" rIns="91587" bIns="45793"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72674"/>
            <a:ext cx="3037840" cy="463407"/>
          </a:xfrm>
          <a:prstGeom prst="rect">
            <a:avLst/>
          </a:prstGeom>
        </p:spPr>
        <p:txBody>
          <a:bodyPr vert="horz" lIns="91587" tIns="45793" rIns="91587" bIns="45793"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772674"/>
            <a:ext cx="3037840" cy="463407"/>
          </a:xfrm>
          <a:prstGeom prst="rect">
            <a:avLst/>
          </a:prstGeom>
        </p:spPr>
        <p:txBody>
          <a:bodyPr vert="horz" lIns="91587" tIns="45793" rIns="91587" bIns="45793" rtlCol="0" anchor="b"/>
          <a:lstStyle>
            <a:lvl1pPr algn="r">
              <a:defRPr sz="1200"/>
            </a:lvl1pPr>
          </a:lstStyle>
          <a:p>
            <a:fld id="{A4934784-C513-4FF4-89AD-7338A136AAFE}" type="slidenum">
              <a:rPr lang="en-US" smtClean="0"/>
              <a:t>‹#›</a:t>
            </a:fld>
            <a:endParaRPr lang="en-US"/>
          </a:p>
        </p:txBody>
      </p:sp>
    </p:spTree>
    <p:extLst>
      <p:ext uri="{BB962C8B-B14F-4D97-AF65-F5344CB8AC3E}">
        <p14:creationId xmlns:p14="http://schemas.microsoft.com/office/powerpoint/2010/main" val="369834202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4934784-C513-4FF4-89AD-7338A136AAFE}" type="slidenum">
              <a:rPr lang="en-US" smtClean="0"/>
              <a:t>1</a:t>
            </a:fld>
            <a:endParaRPr lang="en-US"/>
          </a:p>
        </p:txBody>
      </p:sp>
    </p:spTree>
    <p:extLst>
      <p:ext uri="{BB962C8B-B14F-4D97-AF65-F5344CB8AC3E}">
        <p14:creationId xmlns:p14="http://schemas.microsoft.com/office/powerpoint/2010/main" val="428849065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ich Tactics did we see strength in, driven by which traffic source? Leads by tactic? With gross traffic by source</a:t>
            </a:r>
          </a:p>
          <a:p>
            <a:r>
              <a:rPr lang="en-US" dirty="0"/>
              <a:t>Breakout for paid search media spend  - maybe trend media spend instead of vs BUD line</a:t>
            </a:r>
          </a:p>
          <a:p>
            <a:pPr marL="0" lvl="1">
              <a:lnSpc>
                <a:spcPct val="95000"/>
              </a:lnSpc>
              <a:spcBef>
                <a:spcPts val="987"/>
              </a:spcBef>
            </a:pPr>
            <a:r>
              <a:rPr lang="en-US" b="1" dirty="0"/>
              <a:t>Growth in Digital Leads, signifying </a:t>
            </a:r>
            <a:r>
              <a:rPr lang="en-US" b="1" dirty="0">
                <a:highlight>
                  <a:srgbClr val="FFFF00"/>
                </a:highlight>
              </a:rPr>
              <a:t>business owner </a:t>
            </a:r>
            <a:r>
              <a:rPr lang="en-US" b="1" dirty="0"/>
              <a:t>demand shift to </a:t>
            </a:r>
            <a:r>
              <a:rPr lang="en-US" b="1" dirty="0" err="1"/>
              <a:t>DotCom</a:t>
            </a:r>
            <a:r>
              <a:rPr lang="en-US" b="1" dirty="0"/>
              <a:t>, 102% YoY and 101% vs. Budget</a:t>
            </a:r>
          </a:p>
          <a:p>
            <a:pPr marL="442878" lvl="1" indent="-169133">
              <a:spcBef>
                <a:spcPts val="592"/>
              </a:spcBef>
            </a:pPr>
            <a:r>
              <a:rPr lang="en-US" dirty="0"/>
              <a:t>Growth from Web Forms, 114% YoY, driven by Paid Search (115%) and Xfinity.com (118%)</a:t>
            </a:r>
          </a:p>
          <a:p>
            <a:pPr marL="442878" lvl="1" indent="-169133">
              <a:spcBef>
                <a:spcPts val="592"/>
              </a:spcBef>
            </a:pPr>
            <a:r>
              <a:rPr lang="en-US" dirty="0"/>
              <a:t>Chat leads and Buyflow starts slowed total digital performance, 91% and 89% YoY, respectively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A4934784-C513-4FF4-89AD-7338A136AAFE}" type="slidenum">
              <a:rPr lang="en-US" smtClean="0"/>
              <a:t>10</a:t>
            </a:fld>
            <a:endParaRPr lang="en-US"/>
          </a:p>
        </p:txBody>
      </p:sp>
    </p:spTree>
    <p:extLst>
      <p:ext uri="{BB962C8B-B14F-4D97-AF65-F5344CB8AC3E}">
        <p14:creationId xmlns:p14="http://schemas.microsoft.com/office/powerpoint/2010/main" val="42823376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BMA Team</a:t>
            </a:r>
          </a:p>
        </p:txBody>
      </p:sp>
      <p:sp>
        <p:nvSpPr>
          <p:cNvPr id="4" name="Slide Number Placeholder 3"/>
          <p:cNvSpPr>
            <a:spLocks noGrp="1"/>
          </p:cNvSpPr>
          <p:nvPr>
            <p:ph type="sldNum" sz="quarter" idx="5"/>
          </p:nvPr>
        </p:nvSpPr>
        <p:spPr/>
        <p:txBody>
          <a:bodyPr/>
          <a:lstStyle/>
          <a:p>
            <a:fld id="{A4934784-C513-4FF4-89AD-7338A136AAFE}" type="slidenum">
              <a:rPr lang="en-US" smtClean="0"/>
              <a:t>11</a:t>
            </a:fld>
            <a:endParaRPr lang="en-US"/>
          </a:p>
        </p:txBody>
      </p:sp>
    </p:spTree>
    <p:extLst>
      <p:ext uri="{BB962C8B-B14F-4D97-AF65-F5344CB8AC3E}">
        <p14:creationId xmlns:p14="http://schemas.microsoft.com/office/powerpoint/2010/main" val="236270821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aid search provides a lot of </a:t>
            </a:r>
            <a:r>
              <a:rPr lang="en-US"/>
              <a:t>the qualified </a:t>
            </a:r>
            <a:r>
              <a:rPr lang="en-US" dirty="0"/>
              <a:t>traffic – reduction in Paid search media spend – calling out that search is a huge part </a:t>
            </a:r>
            <a:r>
              <a:rPr lang="en-US"/>
              <a:t>of driving leads </a:t>
            </a:r>
          </a:p>
          <a:p>
            <a:r>
              <a:rPr lang="en-US"/>
              <a:t>Add weekly breakout for 8 weeks</a:t>
            </a:r>
          </a:p>
          <a:p>
            <a:r>
              <a:rPr lang="en-US"/>
              <a:t>This is to total demand budget, not to Digital Budget? Should we be showing trended share of Digital Leads here instead? </a:t>
            </a:r>
          </a:p>
          <a:p>
            <a:r>
              <a:rPr lang="en-US"/>
              <a:t>Maybe overlay with Gross Traffic? Engaged? </a:t>
            </a:r>
          </a:p>
        </p:txBody>
      </p:sp>
      <p:sp>
        <p:nvSpPr>
          <p:cNvPr id="4" name="Slide Number Placeholder 3"/>
          <p:cNvSpPr>
            <a:spLocks noGrp="1"/>
          </p:cNvSpPr>
          <p:nvPr>
            <p:ph type="sldNum" sz="quarter" idx="5"/>
          </p:nvPr>
        </p:nvSpPr>
        <p:spPr/>
        <p:txBody>
          <a:bodyPr/>
          <a:lstStyle/>
          <a:p>
            <a:fld id="{A4934784-C513-4FF4-89AD-7338A136AAFE}" type="slidenum">
              <a:rPr lang="en-US" smtClean="0"/>
              <a:t>12</a:t>
            </a:fld>
            <a:endParaRPr lang="en-US"/>
          </a:p>
        </p:txBody>
      </p:sp>
    </p:spTree>
    <p:extLst>
      <p:ext uri="{BB962C8B-B14F-4D97-AF65-F5344CB8AC3E}">
        <p14:creationId xmlns:p14="http://schemas.microsoft.com/office/powerpoint/2010/main" val="303389380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ich Tactics did we see strength in, driven by which traffic source? Leads by tactic? With gross traffic by source</a:t>
            </a:r>
          </a:p>
          <a:p>
            <a:r>
              <a:rPr lang="en-US"/>
              <a:t>Breakout for paid search media spend  - maybe trend media spend instead of vs BUD line</a:t>
            </a:r>
          </a:p>
          <a:p>
            <a:pPr marL="0" lvl="1">
              <a:lnSpc>
                <a:spcPct val="95000"/>
              </a:lnSpc>
              <a:spcBef>
                <a:spcPts val="1002"/>
              </a:spcBef>
            </a:pPr>
            <a:r>
              <a:rPr lang="en-US" b="1"/>
              <a:t>Growth in Digital Leads, signifying </a:t>
            </a:r>
            <a:r>
              <a:rPr lang="en-US" b="1">
                <a:highlight>
                  <a:srgbClr val="FFFF00"/>
                </a:highlight>
              </a:rPr>
              <a:t>business owner </a:t>
            </a:r>
            <a:r>
              <a:rPr lang="en-US" b="1"/>
              <a:t>demand shift to </a:t>
            </a:r>
            <a:r>
              <a:rPr lang="en-US" b="1" err="1"/>
              <a:t>DotCom</a:t>
            </a:r>
            <a:r>
              <a:rPr lang="en-US" b="1"/>
              <a:t>, 102% YoY and 101% vs. Budget</a:t>
            </a:r>
          </a:p>
          <a:p>
            <a:pPr marL="449668" lvl="1" indent="-171726">
              <a:spcBef>
                <a:spcPts val="601"/>
              </a:spcBef>
            </a:pPr>
            <a:r>
              <a:rPr lang="en-US"/>
              <a:t>Growth from Web Forms, 114% YoY, driven by Paid Search (115%) and Xfinity.com (118%)</a:t>
            </a:r>
          </a:p>
          <a:p>
            <a:pPr marL="449668" lvl="1" indent="-171726">
              <a:spcBef>
                <a:spcPts val="601"/>
              </a:spcBef>
            </a:pPr>
            <a:r>
              <a:rPr lang="en-US"/>
              <a:t>Chat leads and Buyflow starts slowed total digital performance, 91% and 89% YoY, respectively </a:t>
            </a:r>
          </a:p>
          <a:p>
            <a:endParaRPr lang="en-US"/>
          </a:p>
          <a:p>
            <a:endParaRPr lang="en-US"/>
          </a:p>
          <a:p>
            <a:endParaRPr lang="en-US"/>
          </a:p>
        </p:txBody>
      </p:sp>
      <p:sp>
        <p:nvSpPr>
          <p:cNvPr id="4" name="Slide Number Placeholder 3"/>
          <p:cNvSpPr>
            <a:spLocks noGrp="1"/>
          </p:cNvSpPr>
          <p:nvPr>
            <p:ph type="sldNum" sz="quarter" idx="5"/>
          </p:nvPr>
        </p:nvSpPr>
        <p:spPr/>
        <p:txBody>
          <a:bodyPr/>
          <a:lstStyle/>
          <a:p>
            <a:fld id="{A4934784-C513-4FF4-89AD-7338A136AAFE}" type="slidenum">
              <a:rPr lang="en-US" smtClean="0"/>
              <a:t>13</a:t>
            </a:fld>
            <a:endParaRPr lang="en-US"/>
          </a:p>
        </p:txBody>
      </p:sp>
    </p:spTree>
    <p:extLst>
      <p:ext uri="{BB962C8B-B14F-4D97-AF65-F5344CB8AC3E}">
        <p14:creationId xmlns:p14="http://schemas.microsoft.com/office/powerpoint/2010/main" val="5722305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ich Tactics did we see strength in, driven by which traffic source? Leads by tactic? With gross traffic by source</a:t>
            </a:r>
          </a:p>
          <a:p>
            <a:r>
              <a:rPr lang="en-US"/>
              <a:t>Breakout for paid search media spend  - maybe trend media spend instead of vs BUD line</a:t>
            </a:r>
          </a:p>
          <a:p>
            <a:pPr marL="0" lvl="1">
              <a:lnSpc>
                <a:spcPct val="95000"/>
              </a:lnSpc>
              <a:spcBef>
                <a:spcPts val="1002"/>
              </a:spcBef>
            </a:pPr>
            <a:r>
              <a:rPr lang="en-US" b="1"/>
              <a:t>Growth in Digital Leads, signifying </a:t>
            </a:r>
            <a:r>
              <a:rPr lang="en-US" b="1">
                <a:highlight>
                  <a:srgbClr val="FFFF00"/>
                </a:highlight>
              </a:rPr>
              <a:t>business owner </a:t>
            </a:r>
            <a:r>
              <a:rPr lang="en-US" b="1"/>
              <a:t>demand shift to </a:t>
            </a:r>
            <a:r>
              <a:rPr lang="en-US" b="1" err="1"/>
              <a:t>DotCom</a:t>
            </a:r>
            <a:r>
              <a:rPr lang="en-US" b="1"/>
              <a:t>, 102% YoY and 101% vs. Budget</a:t>
            </a:r>
          </a:p>
          <a:p>
            <a:pPr marL="449668" lvl="1" indent="-171726">
              <a:spcBef>
                <a:spcPts val="601"/>
              </a:spcBef>
            </a:pPr>
            <a:r>
              <a:rPr lang="en-US"/>
              <a:t>Growth from Web Forms, 114% YoY, driven by Paid Search (115%) and Xfinity.com (118%)</a:t>
            </a:r>
          </a:p>
          <a:p>
            <a:pPr marL="449668" lvl="1" indent="-171726">
              <a:spcBef>
                <a:spcPts val="601"/>
              </a:spcBef>
            </a:pPr>
            <a:r>
              <a:rPr lang="en-US"/>
              <a:t>Chat leads and Buyflow starts slowed total digital performance, 91% and 89% YoY, respectively </a:t>
            </a:r>
          </a:p>
          <a:p>
            <a:endParaRPr lang="en-US"/>
          </a:p>
          <a:p>
            <a:endParaRPr lang="en-US"/>
          </a:p>
          <a:p>
            <a:endParaRPr lang="en-US"/>
          </a:p>
        </p:txBody>
      </p:sp>
      <p:sp>
        <p:nvSpPr>
          <p:cNvPr id="4" name="Slide Number Placeholder 3"/>
          <p:cNvSpPr>
            <a:spLocks noGrp="1"/>
          </p:cNvSpPr>
          <p:nvPr>
            <p:ph type="sldNum" sz="quarter" idx="5"/>
          </p:nvPr>
        </p:nvSpPr>
        <p:spPr/>
        <p:txBody>
          <a:bodyPr/>
          <a:lstStyle/>
          <a:p>
            <a:fld id="{A4934784-C513-4FF4-89AD-7338A136AAFE}" type="slidenum">
              <a:rPr lang="en-US" smtClean="0"/>
              <a:t>14</a:t>
            </a:fld>
            <a:endParaRPr lang="en-US"/>
          </a:p>
        </p:txBody>
      </p:sp>
    </p:spTree>
    <p:extLst>
      <p:ext uri="{BB962C8B-B14F-4D97-AF65-F5344CB8AC3E}">
        <p14:creationId xmlns:p14="http://schemas.microsoft.com/office/powerpoint/2010/main" val="358886494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BMA Team</a:t>
            </a:r>
          </a:p>
        </p:txBody>
      </p:sp>
      <p:sp>
        <p:nvSpPr>
          <p:cNvPr id="4" name="Slide Number Placeholder 3"/>
          <p:cNvSpPr>
            <a:spLocks noGrp="1"/>
          </p:cNvSpPr>
          <p:nvPr>
            <p:ph type="sldNum" sz="quarter" idx="5"/>
          </p:nvPr>
        </p:nvSpPr>
        <p:spPr/>
        <p:txBody>
          <a:bodyPr/>
          <a:lstStyle/>
          <a:p>
            <a:fld id="{A4934784-C513-4FF4-89AD-7338A136AAFE}" type="slidenum">
              <a:rPr lang="en-US" smtClean="0"/>
              <a:t>15</a:t>
            </a:fld>
            <a:endParaRPr lang="en-US"/>
          </a:p>
        </p:txBody>
      </p:sp>
    </p:spTree>
    <p:extLst>
      <p:ext uri="{BB962C8B-B14F-4D97-AF65-F5344CB8AC3E}">
        <p14:creationId xmlns:p14="http://schemas.microsoft.com/office/powerpoint/2010/main" val="93281649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ea typeface="Calibri"/>
                <a:cs typeface="Calibri"/>
              </a:rPr>
              <a:t>Consider adding another week to show recovery of BF start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ea typeface="Calibri"/>
                <a:cs typeface="Calibri"/>
              </a:rPr>
              <a:t>Daily Chat demand from 180-250 PD</a:t>
            </a:r>
          </a:p>
          <a:p>
            <a:r>
              <a:rPr lang="en-US" dirty="0">
                <a:ea typeface="Calibri"/>
                <a:cs typeface="Calibri"/>
              </a:rPr>
              <a:t>Weekly view shows lead production dropping off in BF starts and Webforms picking up incremental derail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934784-C513-4FF4-89AD-7338A136AA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9362115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0D0D0D"/>
                </a:solidFill>
                <a:effectLst/>
                <a:latin typeface="Söhne"/>
              </a:rPr>
              <a:t>Sales Surge Amidst Chat Volume Rise and Conversion Dip: High Lead Volumes Propel Sales Performance by 121% Week Over Week, Countering 64% Month Over Month Decline in BF Start Sales</a:t>
            </a:r>
          </a:p>
          <a:p>
            <a:r>
              <a:rPr lang="en-US" b="0" i="0" dirty="0">
                <a:solidFill>
                  <a:srgbClr val="0D0D0D"/>
                </a:solidFill>
                <a:effectLst/>
                <a:latin typeface="Söhne"/>
              </a:rPr>
              <a:t>+8 chats per day gained, but lost 23 </a:t>
            </a:r>
            <a:r>
              <a:rPr lang="en-US" b="0" i="0">
                <a:solidFill>
                  <a:srgbClr val="0D0D0D"/>
                </a:solidFill>
                <a:effectLst/>
                <a:latin typeface="Söhne"/>
              </a:rPr>
              <a:t>BF starts</a:t>
            </a:r>
            <a:endParaRPr lang="en-US" b="0" i="0" dirty="0">
              <a:solidFill>
                <a:srgbClr val="0D0D0D"/>
              </a:solidFill>
              <a:effectLst/>
              <a:latin typeface="Söhne"/>
            </a:endParaRPr>
          </a:p>
          <a:p>
            <a:endParaRPr lang="en-US" b="0" i="0" dirty="0">
              <a:solidFill>
                <a:srgbClr val="0D0D0D"/>
              </a:solidFill>
              <a:effectLst/>
              <a:latin typeface="Söhne"/>
              <a:ea typeface="Calibri"/>
              <a:cs typeface="Calibri"/>
            </a:endParaRPr>
          </a:p>
          <a:p>
            <a:pPr defTabSz="900593">
              <a:defRPr/>
            </a:pPr>
            <a:r>
              <a:rPr lang="en-US" dirty="0">
                <a:solidFill>
                  <a:srgbClr val="000000"/>
                </a:solidFill>
                <a:latin typeface="Montserrat Light"/>
              </a:rPr>
              <a:t>Despite seeing an </a:t>
            </a:r>
            <a:r>
              <a:rPr lang="en-US" b="1" dirty="0">
                <a:solidFill>
                  <a:srgbClr val="000000"/>
                </a:solidFill>
                <a:latin typeface="Montserrat Light"/>
              </a:rPr>
              <a:t>increase in chat demand</a:t>
            </a:r>
            <a:r>
              <a:rPr lang="en-US" dirty="0">
                <a:solidFill>
                  <a:srgbClr val="000000"/>
                </a:solidFill>
                <a:latin typeface="Montserrat Light"/>
              </a:rPr>
              <a:t>, with a </a:t>
            </a:r>
            <a:r>
              <a:rPr lang="en-US" b="1" dirty="0">
                <a:solidFill>
                  <a:srgbClr val="000000"/>
                </a:solidFill>
                <a:latin typeface="Montserrat Light"/>
              </a:rPr>
              <a:t>declining Close Rate (90% MoM) </a:t>
            </a:r>
            <a:r>
              <a:rPr lang="en-US" dirty="0">
                <a:solidFill>
                  <a:srgbClr val="000000"/>
                </a:solidFill>
                <a:latin typeface="Montserrat Light"/>
              </a:rPr>
              <a:t>resulted in overall chat sales performance (121% MoM) helping offset BF start sales (64% MoM).</a:t>
            </a:r>
          </a:p>
          <a:p>
            <a:pPr defTabSz="900593">
              <a:defRPr/>
            </a:pPr>
            <a:r>
              <a:rPr lang="en-US" dirty="0">
                <a:solidFill>
                  <a:srgbClr val="000000"/>
                </a:solidFill>
                <a:latin typeface="Montserrat Light"/>
                <a:ea typeface="Calibri"/>
              </a:rPr>
              <a:t>Buyflow starts starting to recover, but sales from BF soft since BBLs </a:t>
            </a:r>
          </a:p>
          <a:p>
            <a:endParaRPr lang="en-US" dirty="0">
              <a:ea typeface="Calibri"/>
              <a:cs typeface="Calibri"/>
            </a:endParaRPr>
          </a:p>
        </p:txBody>
      </p:sp>
      <p:sp>
        <p:nvSpPr>
          <p:cNvPr id="4" name="Slide Number Placeholder 3"/>
          <p:cNvSpPr>
            <a:spLocks noGrp="1"/>
          </p:cNvSpPr>
          <p:nvPr>
            <p:ph type="sldNum" sz="quarter" idx="5"/>
          </p:nvPr>
        </p:nvSpPr>
        <p:spPr/>
        <p:txBody>
          <a:bodyPr/>
          <a:lstStyle/>
          <a:p>
            <a:pPr defTabSz="900593">
              <a:defRPr/>
            </a:pPr>
            <a:fld id="{A4934784-C513-4FF4-89AD-7338A136AAFE}" type="slidenum">
              <a:rPr lang="en-US">
                <a:solidFill>
                  <a:prstClr val="black"/>
                </a:solidFill>
                <a:latin typeface="Calibri" panose="020F0502020204030204"/>
              </a:rPr>
              <a:pPr defTabSz="900593">
                <a:defRPr/>
              </a:pPr>
              <a:t>17</a:t>
            </a:fld>
            <a:endParaRPr lang="en-US">
              <a:solidFill>
                <a:prstClr val="black"/>
              </a:solidFill>
              <a:latin typeface="Calibri" panose="020F0502020204030204"/>
            </a:endParaRPr>
          </a:p>
        </p:txBody>
      </p:sp>
    </p:spTree>
    <p:extLst>
      <p:ext uri="{BB962C8B-B14F-4D97-AF65-F5344CB8AC3E}">
        <p14:creationId xmlns:p14="http://schemas.microsoft.com/office/powerpoint/2010/main" val="175622528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726" indent="-171726" defTabSz="544488">
              <a:buFont typeface="Arial" panose="020B0604020202020204" pitchFamily="34" charset="0"/>
              <a:buChar char="•"/>
              <a:defRPr/>
            </a:pPr>
            <a:r>
              <a:rPr lang="en-US" dirty="0">
                <a:solidFill>
                  <a:prstClr val="black"/>
                </a:solidFill>
                <a:latin typeface="Arial" panose="020B0604020202020204" pitchFamily="34" charset="0"/>
                <a:cs typeface="Arial" panose="020B0604020202020204" pitchFamily="34" charset="0"/>
              </a:rPr>
              <a:t>Web leads –</a:t>
            </a:r>
            <a:endParaRPr lang="en-US">
              <a:solidFill>
                <a:prstClr val="black"/>
              </a:solidFill>
              <a:latin typeface="Arial" panose="020B0604020202020204" pitchFamily="34" charset="0"/>
              <a:cs typeface="Arial" panose="020B0604020202020204" pitchFamily="34" charset="0"/>
            </a:endParaRPr>
          </a:p>
          <a:p>
            <a:pPr marL="629662" lvl="1" indent="-171726" defTabSz="544488">
              <a:buFont typeface="Arial" panose="020B0604020202020204" pitchFamily="34" charset="0"/>
              <a:buChar char="•"/>
              <a:defRPr/>
            </a:pPr>
            <a:r>
              <a:rPr lang="en-US" dirty="0">
                <a:solidFill>
                  <a:prstClr val="black"/>
                </a:solidFill>
                <a:latin typeface="Arial" panose="020B0604020202020204" pitchFamily="34" charset="0"/>
                <a:cs typeface="Arial" panose="020B0604020202020204" pitchFamily="34" charset="0"/>
              </a:rPr>
              <a:t>Wunderkind </a:t>
            </a:r>
            <a:r>
              <a:rPr lang="en-US" dirty="0" err="1">
                <a:solidFill>
                  <a:prstClr val="black"/>
                </a:solidFill>
                <a:latin typeface="Arial" panose="020B0604020202020204" pitchFamily="34" charset="0"/>
                <a:cs typeface="Arial" panose="020B0604020202020204" pitchFamily="34" charset="0"/>
              </a:rPr>
              <a:t>fka</a:t>
            </a:r>
            <a:r>
              <a:rPr lang="en-US" dirty="0">
                <a:solidFill>
                  <a:prstClr val="black"/>
                </a:solidFill>
                <a:latin typeface="Arial" panose="020B0604020202020204" pitchFamily="34" charset="0"/>
                <a:cs typeface="Arial" panose="020B0604020202020204" pitchFamily="34" charset="0"/>
              </a:rPr>
              <a:t> </a:t>
            </a:r>
            <a:r>
              <a:rPr lang="en-US" dirty="0" err="1">
                <a:solidFill>
                  <a:prstClr val="black"/>
                </a:solidFill>
                <a:latin typeface="Arial" panose="020B0604020202020204" pitchFamily="34" charset="0"/>
                <a:cs typeface="Arial" panose="020B0604020202020204" pitchFamily="34" charset="0"/>
              </a:rPr>
              <a:t>BounceX</a:t>
            </a:r>
            <a:r>
              <a:rPr lang="en-US" dirty="0">
                <a:solidFill>
                  <a:prstClr val="black"/>
                </a:solidFill>
                <a:latin typeface="Arial" panose="020B0604020202020204" pitchFamily="34" charset="0"/>
                <a:cs typeface="Arial" panose="020B0604020202020204" pitchFamily="34" charset="0"/>
              </a:rPr>
              <a:t> lead – any SB prospect that submits info on a email capture form (email capture form is triggered by user behavior)</a:t>
            </a:r>
            <a:endParaRPr lang="en-US">
              <a:solidFill>
                <a:prstClr val="black"/>
              </a:solidFill>
              <a:latin typeface="Arial" panose="020B0604020202020204" pitchFamily="34" charset="0"/>
              <a:cs typeface="Arial" panose="020B0604020202020204" pitchFamily="34" charset="0"/>
            </a:endParaRPr>
          </a:p>
          <a:p>
            <a:pPr marL="716213" lvl="1" indent="-171726" defTabSz="544488">
              <a:buFont typeface="Arial" panose="020B0604020202020204" pitchFamily="34" charset="0"/>
              <a:buChar char="•"/>
              <a:defRPr/>
            </a:pPr>
            <a:r>
              <a:rPr lang="en-US" dirty="0">
                <a:solidFill>
                  <a:prstClr val="black"/>
                </a:solidFill>
                <a:latin typeface="Arial" panose="020B0604020202020204" pitchFamily="34" charset="0"/>
                <a:cs typeface="Arial" panose="020B0604020202020204" pitchFamily="34" charset="0"/>
              </a:rPr>
              <a:t>Pricing/info lead - any SB prospect that submits info on a 2-step lead gen. form (enter name, email, business address etc.)</a:t>
            </a:r>
            <a:endParaRPr lang="en-US">
              <a:solidFill>
                <a:prstClr val="black"/>
              </a:solidFill>
              <a:latin typeface="Arial" panose="020B0604020202020204" pitchFamily="34" charset="0"/>
              <a:cs typeface="Arial" panose="020B0604020202020204" pitchFamily="34" charset="0"/>
            </a:endParaRPr>
          </a:p>
          <a:p>
            <a:pPr marL="716213" lvl="1" indent="-171726" defTabSz="544488">
              <a:buFont typeface="Arial" panose="020B0604020202020204" pitchFamily="34" charset="0"/>
              <a:buChar char="•"/>
              <a:defRPr/>
            </a:pPr>
            <a:r>
              <a:rPr lang="en-US" dirty="0" err="1">
                <a:solidFill>
                  <a:prstClr val="black"/>
                </a:solidFill>
                <a:latin typeface="Arial" panose="020B0604020202020204" pitchFamily="34" charset="0"/>
                <a:cs typeface="Arial" panose="020B0604020202020204" pitchFamily="34" charset="0"/>
              </a:rPr>
              <a:t>Buyflow</a:t>
            </a:r>
            <a:r>
              <a:rPr lang="en-US" dirty="0">
                <a:solidFill>
                  <a:prstClr val="black"/>
                </a:solidFill>
                <a:latin typeface="Arial" panose="020B0604020202020204" pitchFamily="34" charset="0"/>
                <a:cs typeface="Arial" panose="020B0604020202020204" pitchFamily="34" charset="0"/>
              </a:rPr>
              <a:t> leads – any SB prospect that submits an eCommerce order via online checkout process that requires agent intervention due to several technical factors or cart abandon</a:t>
            </a:r>
            <a:endParaRPr lang="en-US">
              <a:solidFill>
                <a:prstClr val="black"/>
              </a:solidFill>
              <a:latin typeface="Arial" panose="020B0604020202020204" pitchFamily="34" charset="0"/>
              <a:cs typeface="Arial" panose="020B0604020202020204" pitchFamily="34" charset="0"/>
            </a:endParaRPr>
          </a:p>
          <a:p>
            <a:pPr marL="171726" indent="-171726" defTabSz="544488">
              <a:buFont typeface="Arial" panose="020B0604020202020204" pitchFamily="34" charset="0"/>
              <a:buChar char="•"/>
              <a:defRPr/>
            </a:pPr>
            <a:r>
              <a:rPr lang="en-US" dirty="0">
                <a:solidFill>
                  <a:prstClr val="black"/>
                </a:solidFill>
                <a:latin typeface="Arial" panose="020B0604020202020204" pitchFamily="34" charset="0"/>
                <a:cs typeface="Arial" panose="020B0604020202020204" pitchFamily="34" charset="0"/>
              </a:rPr>
              <a:t>Chats handled – any sb prospect that interacts with a chat agent (at least 1 back/forth message) that is ultimately entered into Salesforce</a:t>
            </a:r>
            <a:endParaRPr lang="en-US">
              <a:solidFill>
                <a:prstClr val="black"/>
              </a:solidFill>
              <a:latin typeface="Arial" panose="020B0604020202020204" pitchFamily="34" charset="0"/>
              <a:cs typeface="Arial" panose="020B0604020202020204" pitchFamily="34" charset="0"/>
            </a:endParaRPr>
          </a:p>
          <a:p>
            <a:pPr marL="171726" indent="-171726" defTabSz="544488">
              <a:buFont typeface="Arial" panose="020B0604020202020204" pitchFamily="34" charset="0"/>
              <a:buChar char="•"/>
              <a:defRPr/>
            </a:pPr>
            <a:r>
              <a:rPr lang="en-US" dirty="0">
                <a:solidFill>
                  <a:prstClr val="black"/>
                </a:solidFill>
                <a:latin typeface="Arial" panose="020B0604020202020204" pitchFamily="34" charset="0"/>
                <a:cs typeface="Arial" panose="020B0604020202020204" pitchFamily="34" charset="0"/>
              </a:rPr>
              <a:t>Online calls handled – any SB prospect that calls into sales center via an online phone #, answers prompts and is connected to an agent as a viable sales opportunity </a:t>
            </a:r>
            <a:endParaRPr lang="en-US">
              <a:solidFill>
                <a:prstClr val="black"/>
              </a:solidFill>
              <a:latin typeface="Arial" panose="020B0604020202020204" pitchFamily="34" charset="0"/>
              <a:cs typeface="Arial" panose="020B0604020202020204" pitchFamily="34" charset="0"/>
            </a:endParaRPr>
          </a:p>
          <a:p>
            <a:endParaRPr lang="en-US" dirty="0"/>
          </a:p>
          <a:p>
            <a:endParaRPr lang="en-US" i="1" dirty="0"/>
          </a:p>
        </p:txBody>
      </p:sp>
      <p:sp>
        <p:nvSpPr>
          <p:cNvPr id="4" name="Slide Number Placeholder 3"/>
          <p:cNvSpPr>
            <a:spLocks noGrp="1"/>
          </p:cNvSpPr>
          <p:nvPr>
            <p:ph type="sldNum" sz="quarter" idx="5"/>
          </p:nvPr>
        </p:nvSpPr>
        <p:spPr/>
        <p:txBody>
          <a:bodyPr/>
          <a:lstStyle/>
          <a:p>
            <a:fld id="{50A2E811-7C00-42A8-A9BC-8C35B0EFB259}" type="slidenum">
              <a:rPr lang="en-US" smtClean="0"/>
              <a:t>19</a:t>
            </a:fld>
            <a:endParaRPr lang="en-US"/>
          </a:p>
        </p:txBody>
      </p:sp>
    </p:spTree>
    <p:extLst>
      <p:ext uri="{BB962C8B-B14F-4D97-AF65-F5344CB8AC3E}">
        <p14:creationId xmlns:p14="http://schemas.microsoft.com/office/powerpoint/2010/main" val="25721739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69133" indent="-169133" defTabSz="536266">
              <a:buFont typeface="Arial" panose="020B0604020202020204" pitchFamily="34" charset="0"/>
              <a:buChar char="•"/>
              <a:defRPr/>
            </a:pPr>
            <a:r>
              <a:rPr lang="en-US" dirty="0">
                <a:solidFill>
                  <a:prstClr val="black"/>
                </a:solidFill>
                <a:latin typeface="Arial" panose="020B0604020202020204" pitchFamily="34" charset="0"/>
                <a:cs typeface="Arial" panose="020B0604020202020204" pitchFamily="34" charset="0"/>
              </a:rPr>
              <a:t>Web leads –</a:t>
            </a:r>
          </a:p>
          <a:p>
            <a:pPr marL="620154" lvl="1" indent="-169133" defTabSz="536266">
              <a:buFont typeface="Arial" panose="020B0604020202020204" pitchFamily="34" charset="0"/>
              <a:buChar char="•"/>
              <a:defRPr/>
            </a:pPr>
            <a:r>
              <a:rPr lang="en-US" dirty="0">
                <a:solidFill>
                  <a:prstClr val="black"/>
                </a:solidFill>
                <a:latin typeface="Arial" panose="020B0604020202020204" pitchFamily="34" charset="0"/>
                <a:cs typeface="Arial" panose="020B0604020202020204" pitchFamily="34" charset="0"/>
              </a:rPr>
              <a:t>Wunderkind </a:t>
            </a:r>
            <a:r>
              <a:rPr lang="en-US" dirty="0" err="1">
                <a:solidFill>
                  <a:prstClr val="black"/>
                </a:solidFill>
                <a:latin typeface="Arial" panose="020B0604020202020204" pitchFamily="34" charset="0"/>
                <a:cs typeface="Arial" panose="020B0604020202020204" pitchFamily="34" charset="0"/>
              </a:rPr>
              <a:t>fka</a:t>
            </a:r>
            <a:r>
              <a:rPr lang="en-US" dirty="0">
                <a:solidFill>
                  <a:prstClr val="black"/>
                </a:solidFill>
                <a:latin typeface="Arial" panose="020B0604020202020204" pitchFamily="34" charset="0"/>
                <a:cs typeface="Arial" panose="020B0604020202020204" pitchFamily="34" charset="0"/>
              </a:rPr>
              <a:t> </a:t>
            </a:r>
            <a:r>
              <a:rPr lang="en-US" dirty="0" err="1">
                <a:solidFill>
                  <a:prstClr val="black"/>
                </a:solidFill>
                <a:latin typeface="Arial" panose="020B0604020202020204" pitchFamily="34" charset="0"/>
                <a:cs typeface="Arial" panose="020B0604020202020204" pitchFamily="34" charset="0"/>
              </a:rPr>
              <a:t>BounceX</a:t>
            </a:r>
            <a:r>
              <a:rPr lang="en-US" dirty="0">
                <a:solidFill>
                  <a:prstClr val="black"/>
                </a:solidFill>
                <a:latin typeface="Arial" panose="020B0604020202020204" pitchFamily="34" charset="0"/>
                <a:cs typeface="Arial" panose="020B0604020202020204" pitchFamily="34" charset="0"/>
              </a:rPr>
              <a:t> lead – any SB prospect that submits info on a email capture form (email capture form is triggered by user behavior)</a:t>
            </a:r>
          </a:p>
          <a:p>
            <a:pPr marL="705398" lvl="1" indent="-169133" defTabSz="536266">
              <a:buFont typeface="Arial" panose="020B0604020202020204" pitchFamily="34" charset="0"/>
              <a:buChar char="•"/>
              <a:defRPr/>
            </a:pPr>
            <a:r>
              <a:rPr lang="en-US" dirty="0">
                <a:solidFill>
                  <a:prstClr val="black"/>
                </a:solidFill>
                <a:latin typeface="Arial" panose="020B0604020202020204" pitchFamily="34" charset="0"/>
                <a:cs typeface="Arial" panose="020B0604020202020204" pitchFamily="34" charset="0"/>
              </a:rPr>
              <a:t>Pricing/info lead - any SB prospect that submits info on a 2-step lead gen. form (enter name, email, business address etc.)</a:t>
            </a:r>
          </a:p>
          <a:p>
            <a:pPr marL="705398" lvl="1" indent="-169133" defTabSz="536266">
              <a:buFont typeface="Arial" panose="020B0604020202020204" pitchFamily="34" charset="0"/>
              <a:buChar char="•"/>
              <a:defRPr/>
            </a:pPr>
            <a:r>
              <a:rPr lang="en-US" dirty="0">
                <a:solidFill>
                  <a:prstClr val="black"/>
                </a:solidFill>
                <a:latin typeface="Arial" panose="020B0604020202020204" pitchFamily="34" charset="0"/>
                <a:cs typeface="Arial" panose="020B0604020202020204" pitchFamily="34" charset="0"/>
              </a:rPr>
              <a:t>Buyflow leads – any SB prospect that submits an eCommerce order via online checkout process that requires agent intervention due to several technical factors or cart abandon</a:t>
            </a:r>
          </a:p>
          <a:p>
            <a:pPr marL="169133" indent="-169133" defTabSz="536266">
              <a:buFont typeface="Arial" panose="020B0604020202020204" pitchFamily="34" charset="0"/>
              <a:buChar char="•"/>
              <a:defRPr/>
            </a:pPr>
            <a:r>
              <a:rPr lang="en-US" dirty="0">
                <a:solidFill>
                  <a:prstClr val="black"/>
                </a:solidFill>
                <a:latin typeface="Arial" panose="020B0604020202020204" pitchFamily="34" charset="0"/>
                <a:cs typeface="Arial" panose="020B0604020202020204" pitchFamily="34" charset="0"/>
              </a:rPr>
              <a:t>Chats handled – any sb prospect that interacts with a chat agent (at least 1 back/forth message) that is ultimately entered into Salesforce</a:t>
            </a:r>
          </a:p>
          <a:p>
            <a:pPr marL="169133" indent="-169133" defTabSz="536266">
              <a:buFont typeface="Arial" panose="020B0604020202020204" pitchFamily="34" charset="0"/>
              <a:buChar char="•"/>
              <a:defRPr/>
            </a:pPr>
            <a:r>
              <a:rPr lang="en-US" dirty="0">
                <a:solidFill>
                  <a:prstClr val="black"/>
                </a:solidFill>
                <a:latin typeface="Arial" panose="020B0604020202020204" pitchFamily="34" charset="0"/>
                <a:cs typeface="Arial" panose="020B0604020202020204" pitchFamily="34" charset="0"/>
              </a:rPr>
              <a:t>Online calls handled – any SB prospect that calls into sales center via an online phone #, answers prompts and is connected to an agent as a viable sales opportunity </a:t>
            </a:r>
          </a:p>
          <a:p>
            <a:endParaRPr lang="en-US" dirty="0"/>
          </a:p>
          <a:p>
            <a:endParaRPr lang="en-US" i="1" dirty="0"/>
          </a:p>
        </p:txBody>
      </p:sp>
      <p:sp>
        <p:nvSpPr>
          <p:cNvPr id="4" name="Slide Number Placeholder 3"/>
          <p:cNvSpPr>
            <a:spLocks noGrp="1"/>
          </p:cNvSpPr>
          <p:nvPr>
            <p:ph type="sldNum" sz="quarter" idx="5"/>
          </p:nvPr>
        </p:nvSpPr>
        <p:spPr/>
        <p:txBody>
          <a:bodyPr/>
          <a:lstStyle/>
          <a:p>
            <a:fld id="{50A2E811-7C00-42A8-A9BC-8C35B0EFB259}" type="slidenum">
              <a:rPr lang="en-US" smtClean="0"/>
              <a:t>2</a:t>
            </a:fld>
            <a:endParaRPr lang="en-US"/>
          </a:p>
        </p:txBody>
      </p:sp>
    </p:spTree>
    <p:extLst>
      <p:ext uri="{BB962C8B-B14F-4D97-AF65-F5344CB8AC3E}">
        <p14:creationId xmlns:p14="http://schemas.microsoft.com/office/powerpoint/2010/main" val="25721739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Top of funnel issue</a:t>
            </a:r>
          </a:p>
          <a:p>
            <a:r>
              <a:rPr lang="en-US" b="1" dirty="0"/>
              <a:t>Gross Traffic</a:t>
            </a:r>
            <a:r>
              <a:rPr lang="en-US" dirty="0"/>
              <a:t>:  Reduced media spend (display and social) from Carly Dahl and team – went from $150K in calendar Dec to $94K in calendar Jan to $60K in calendar Feb.  Focus in December was Finance, Hospitality, F&amp;B, and Manufacturing.  Focus in January was Finance and Retail, primarily focused around NRF.  Focus in February was Finance and Retail and healthcare (to promote </a:t>
            </a:r>
            <a:r>
              <a:rPr lang="en-US" dirty="0" err="1"/>
              <a:t>Vive</a:t>
            </a:r>
            <a:r>
              <a:rPr lang="en-US" dirty="0"/>
              <a:t> conference – in progress).  [Calendar Dec would include Fiscal Jan; Calendar Jan would include Fiscal Feb].  Based on timing, </a:t>
            </a:r>
            <a:r>
              <a:rPr lang="en-US" dirty="0" err="1"/>
              <a:t>Vive</a:t>
            </a:r>
            <a:r>
              <a:rPr lang="en-US" dirty="0"/>
              <a:t> conference will more likely impact performance in Fiscal March.  Media teams do not follow fiscal month breakouts.  No noticeable change in Paid Search media spend or performance, based on data provided by SEM team.</a:t>
            </a:r>
          </a:p>
          <a:p>
            <a:endParaRPr lang="en-US" i="1" dirty="0"/>
          </a:p>
        </p:txBody>
      </p:sp>
      <p:sp>
        <p:nvSpPr>
          <p:cNvPr id="4" name="Slide Number Placeholder 3"/>
          <p:cNvSpPr>
            <a:spLocks noGrp="1"/>
          </p:cNvSpPr>
          <p:nvPr>
            <p:ph type="sldNum" sz="quarter" idx="5"/>
          </p:nvPr>
        </p:nvSpPr>
        <p:spPr/>
        <p:txBody>
          <a:bodyPr/>
          <a:lstStyle/>
          <a:p>
            <a:fld id="{50A2E811-7C00-42A8-A9BC-8C35B0EFB259}" type="slidenum">
              <a:rPr lang="en-US" smtClean="0"/>
              <a:t>3</a:t>
            </a:fld>
            <a:endParaRPr lang="en-US"/>
          </a:p>
        </p:txBody>
      </p:sp>
    </p:spTree>
    <p:extLst>
      <p:ext uri="{BB962C8B-B14F-4D97-AF65-F5344CB8AC3E}">
        <p14:creationId xmlns:p14="http://schemas.microsoft.com/office/powerpoint/2010/main" val="36017681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1" dirty="0"/>
              <a:t>Add DIR</a:t>
            </a:r>
          </a:p>
        </p:txBody>
      </p:sp>
      <p:sp>
        <p:nvSpPr>
          <p:cNvPr id="4" name="Slide Number Placeholder 3"/>
          <p:cNvSpPr>
            <a:spLocks noGrp="1"/>
          </p:cNvSpPr>
          <p:nvPr>
            <p:ph type="sldNum" sz="quarter" idx="5"/>
          </p:nvPr>
        </p:nvSpPr>
        <p:spPr/>
        <p:txBody>
          <a:bodyPr/>
          <a:lstStyle/>
          <a:p>
            <a:fld id="{50A2E811-7C00-42A8-A9BC-8C35B0EFB259}" type="slidenum">
              <a:rPr lang="en-US" smtClean="0"/>
              <a:t>4</a:t>
            </a:fld>
            <a:endParaRPr lang="en-US"/>
          </a:p>
        </p:txBody>
      </p:sp>
    </p:spTree>
    <p:extLst>
      <p:ext uri="{BB962C8B-B14F-4D97-AF65-F5344CB8AC3E}">
        <p14:creationId xmlns:p14="http://schemas.microsoft.com/office/powerpoint/2010/main" val="1515656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7526B6-7504-8CB7-F05F-C0ADC7C42C9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A61A6C1-766C-B6F6-D58F-DF103C1A42E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F4C18E1-87F8-07EF-C40F-9E577C53BA8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C230166-3A4B-9D28-7602-014D1A27D991}"/>
              </a:ext>
            </a:extLst>
          </p:cNvPr>
          <p:cNvSpPr>
            <a:spLocks noGrp="1"/>
          </p:cNvSpPr>
          <p:nvPr>
            <p:ph type="sldNum" sz="quarter" idx="5"/>
          </p:nvPr>
        </p:nvSpPr>
        <p:spPr/>
        <p:txBody>
          <a:bodyPr/>
          <a:lstStyle/>
          <a:p>
            <a:fld id="{A4934784-C513-4FF4-89AD-7338A136AAFE}" type="slidenum">
              <a:rPr lang="en-US" smtClean="0"/>
              <a:t>5</a:t>
            </a:fld>
            <a:endParaRPr lang="en-US"/>
          </a:p>
        </p:txBody>
      </p:sp>
    </p:spTree>
    <p:extLst>
      <p:ext uri="{BB962C8B-B14F-4D97-AF65-F5344CB8AC3E}">
        <p14:creationId xmlns:p14="http://schemas.microsoft.com/office/powerpoint/2010/main" val="17261575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1" dirty="0"/>
              <a:t>Note:  Traffic and Lead metrics are from Adobe Analytics.  Leads &amp; Sales metrics include display.  Digital Line Connects, Close Rate (Account Sales portion), and Digital Share are from official Sales Operations numbers.</a:t>
            </a:r>
          </a:p>
          <a:p>
            <a:endParaRPr lang="en-US" i="1" dirty="0"/>
          </a:p>
          <a:p>
            <a:r>
              <a:rPr lang="en-US" i="1" dirty="0"/>
              <a:t>Social media gross traffic was cut in half 2/14 turn off YouTube – higher engagement, so good change</a:t>
            </a:r>
          </a:p>
          <a:p>
            <a:r>
              <a:rPr lang="en-US" dirty="0"/>
              <a:t>28% MoM is due to having 72,883 visits excluding display in Fiscal March versus 287,311 visits excluding display in Fiscal February</a:t>
            </a:r>
            <a:endParaRPr lang="en-US" i="1" dirty="0"/>
          </a:p>
          <a:p>
            <a:endParaRPr lang="en-US" i="1" dirty="0"/>
          </a:p>
          <a:p>
            <a:r>
              <a:rPr lang="en-US" i="1" dirty="0"/>
              <a:t>New $400 offer</a:t>
            </a:r>
          </a:p>
        </p:txBody>
      </p:sp>
      <p:sp>
        <p:nvSpPr>
          <p:cNvPr id="4" name="Slide Number Placeholder 3"/>
          <p:cNvSpPr>
            <a:spLocks noGrp="1"/>
          </p:cNvSpPr>
          <p:nvPr>
            <p:ph type="sldNum" sz="quarter" idx="5"/>
          </p:nvPr>
        </p:nvSpPr>
        <p:spPr/>
        <p:txBody>
          <a:bodyPr/>
          <a:lstStyle/>
          <a:p>
            <a:fld id="{A4934784-C513-4FF4-89AD-7338A136AAFE}" type="slidenum">
              <a:rPr lang="en-US" smtClean="0"/>
              <a:t>6</a:t>
            </a:fld>
            <a:endParaRPr lang="en-US"/>
          </a:p>
        </p:txBody>
      </p:sp>
    </p:spTree>
    <p:extLst>
      <p:ext uri="{BB962C8B-B14F-4D97-AF65-F5344CB8AC3E}">
        <p14:creationId xmlns:p14="http://schemas.microsoft.com/office/powerpoint/2010/main" val="6681240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i="1"/>
          </a:p>
        </p:txBody>
      </p:sp>
      <p:sp>
        <p:nvSpPr>
          <p:cNvPr id="4" name="Slide Number Placeholder 3"/>
          <p:cNvSpPr>
            <a:spLocks noGrp="1"/>
          </p:cNvSpPr>
          <p:nvPr>
            <p:ph type="sldNum" sz="quarter" idx="5"/>
          </p:nvPr>
        </p:nvSpPr>
        <p:spPr/>
        <p:txBody>
          <a:bodyPr/>
          <a:lstStyle/>
          <a:p>
            <a:fld id="{A4934784-C513-4FF4-89AD-7338A136AAFE}" type="slidenum">
              <a:rPr lang="en-US" smtClean="0"/>
              <a:t>7</a:t>
            </a:fld>
            <a:endParaRPr lang="en-US"/>
          </a:p>
        </p:txBody>
      </p:sp>
    </p:spTree>
    <p:extLst>
      <p:ext uri="{BB962C8B-B14F-4D97-AF65-F5344CB8AC3E}">
        <p14:creationId xmlns:p14="http://schemas.microsoft.com/office/powerpoint/2010/main" val="8750136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aid search provides a lot of the qualified traffic – reduction in Paid search media spend – calling out that search is a huge part of driving leads </a:t>
            </a:r>
          </a:p>
          <a:p>
            <a:r>
              <a:rPr lang="en-US" dirty="0"/>
              <a:t>Add weekly breakout for 8 weeks</a:t>
            </a:r>
          </a:p>
          <a:p>
            <a:r>
              <a:rPr lang="en-US" dirty="0"/>
              <a:t>This is to total demand budget, not to Digital Budget? Should we be showing trended share of Digital Leads here instead? </a:t>
            </a:r>
          </a:p>
          <a:p>
            <a:r>
              <a:rPr lang="en-US" dirty="0"/>
              <a:t>Maybe overlay with Gross Traffic? Engaged? </a:t>
            </a:r>
          </a:p>
        </p:txBody>
      </p:sp>
      <p:sp>
        <p:nvSpPr>
          <p:cNvPr id="4" name="Slide Number Placeholder 3"/>
          <p:cNvSpPr>
            <a:spLocks noGrp="1"/>
          </p:cNvSpPr>
          <p:nvPr>
            <p:ph type="sldNum" sz="quarter" idx="5"/>
          </p:nvPr>
        </p:nvSpPr>
        <p:spPr/>
        <p:txBody>
          <a:bodyPr/>
          <a:lstStyle/>
          <a:p>
            <a:fld id="{A4934784-C513-4FF4-89AD-7338A136AAFE}" type="slidenum">
              <a:rPr lang="en-US" smtClean="0"/>
              <a:t>8</a:t>
            </a:fld>
            <a:endParaRPr lang="en-US"/>
          </a:p>
        </p:txBody>
      </p:sp>
    </p:spTree>
    <p:extLst>
      <p:ext uri="{BB962C8B-B14F-4D97-AF65-F5344CB8AC3E}">
        <p14:creationId xmlns:p14="http://schemas.microsoft.com/office/powerpoint/2010/main" val="30338938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4934784-C513-4FF4-89AD-7338A136AAFE}" type="slidenum">
              <a:rPr lang="en-US" smtClean="0"/>
              <a:t>9</a:t>
            </a:fld>
            <a:endParaRPr lang="en-US"/>
          </a:p>
        </p:txBody>
      </p:sp>
    </p:spTree>
    <p:extLst>
      <p:ext uri="{BB962C8B-B14F-4D97-AF65-F5344CB8AC3E}">
        <p14:creationId xmlns:p14="http://schemas.microsoft.com/office/powerpoint/2010/main" val="10734890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5.xml"/><Relationship Id="rId4" Type="http://schemas.openxmlformats.org/officeDocument/2006/relationships/image" Target="../media/image16.png"/></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1">
    <p:bg>
      <p:bgPr>
        <a:solidFill>
          <a:schemeClr val="bg2"/>
        </a:solidFill>
        <a:effectLst/>
      </p:bgPr>
    </p:bg>
    <p:spTree>
      <p:nvGrpSpPr>
        <p:cNvPr id="1" name=""/>
        <p:cNvGrpSpPr/>
        <p:nvPr/>
      </p:nvGrpSpPr>
      <p:grpSpPr>
        <a:xfrm>
          <a:off x="0" y="0"/>
          <a:ext cx="0" cy="0"/>
          <a:chOff x="0" y="0"/>
          <a:chExt cx="0" cy="0"/>
        </a:xfrm>
      </p:grpSpPr>
      <p:sp>
        <p:nvSpPr>
          <p:cNvPr id="60" name="Rectangle 59">
            <a:extLst>
              <a:ext uri="{FF2B5EF4-FFF2-40B4-BE49-F238E27FC236}">
                <a16:creationId xmlns:a16="http://schemas.microsoft.com/office/drawing/2014/main" id="{D2D2B093-F202-7B1C-0AC4-DF26CF46B1B5}"/>
              </a:ext>
            </a:extLst>
          </p:cNvPr>
          <p:cNvSpPr/>
          <p:nvPr userDrawn="1"/>
        </p:nvSpPr>
        <p:spPr>
          <a:xfrm>
            <a:off x="0" y="0"/>
            <a:ext cx="6258296"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Picture Placeholder 13">
            <a:extLst>
              <a:ext uri="{FF2B5EF4-FFF2-40B4-BE49-F238E27FC236}">
                <a16:creationId xmlns:a16="http://schemas.microsoft.com/office/drawing/2014/main" id="{5CF400B9-D5A9-D3EF-2FF5-F2291659B9C2}"/>
              </a:ext>
            </a:extLst>
          </p:cNvPr>
          <p:cNvSpPr>
            <a:spLocks noGrp="1"/>
          </p:cNvSpPr>
          <p:nvPr>
            <p:ph type="pic" sz="quarter" idx="11" hasCustomPrompt="1"/>
          </p:nvPr>
        </p:nvSpPr>
        <p:spPr>
          <a:xfrm>
            <a:off x="2829298" y="0"/>
            <a:ext cx="8614395" cy="6857998"/>
          </a:xfrm>
          <a:custGeom>
            <a:avLst/>
            <a:gdLst>
              <a:gd name="connsiteX0" fmla="*/ 0 w 8614395"/>
              <a:gd name="connsiteY0" fmla="*/ 0 h 6857998"/>
              <a:gd name="connsiteX1" fmla="*/ 5185395 w 8614395"/>
              <a:gd name="connsiteY1" fmla="*/ 0 h 6857998"/>
              <a:gd name="connsiteX2" fmla="*/ 8614395 w 8614395"/>
              <a:gd name="connsiteY2" fmla="*/ 3428999 h 6857998"/>
              <a:gd name="connsiteX3" fmla="*/ 8460234 w 8614395"/>
              <a:gd name="connsiteY3" fmla="*/ 4448679 h 6857998"/>
              <a:gd name="connsiteX4" fmla="*/ 8419485 w 8614395"/>
              <a:gd name="connsiteY4" fmla="*/ 4560012 h 6857998"/>
              <a:gd name="connsiteX5" fmla="*/ 7840460 w 8614395"/>
              <a:gd name="connsiteY5" fmla="*/ 4560012 h 6857998"/>
              <a:gd name="connsiteX6" fmla="*/ 6932828 w 8614395"/>
              <a:gd name="connsiteY6" fmla="*/ 5379072 h 6857998"/>
              <a:gd name="connsiteX7" fmla="*/ 6928118 w 8614395"/>
              <a:gd name="connsiteY7" fmla="*/ 5472354 h 6857998"/>
              <a:gd name="connsiteX8" fmla="*/ 6932828 w 8614395"/>
              <a:gd name="connsiteY8" fmla="*/ 5565635 h 6857998"/>
              <a:gd name="connsiteX9" fmla="*/ 7227021 w 8614395"/>
              <a:gd name="connsiteY9" fmla="*/ 6147685 h 6857998"/>
              <a:gd name="connsiteX10" fmla="*/ 7248047 w 8614395"/>
              <a:gd name="connsiteY10" fmla="*/ 6163602 h 6857998"/>
              <a:gd name="connsiteX11" fmla="*/ 7102581 w 8614395"/>
              <a:gd name="connsiteY11" fmla="*/ 6272379 h 6857998"/>
              <a:gd name="connsiteX12" fmla="*/ 5185395 w 8614395"/>
              <a:gd name="connsiteY12" fmla="*/ 6857998 h 6857998"/>
              <a:gd name="connsiteX13" fmla="*/ 80 w 8614395"/>
              <a:gd name="connsiteY13" fmla="*/ 6857998 h 6857998"/>
              <a:gd name="connsiteX14" fmla="*/ 176455 w 8614395"/>
              <a:gd name="connsiteY14" fmla="*/ 6853538 h 6857998"/>
              <a:gd name="connsiteX15" fmla="*/ 3428999 w 8614395"/>
              <a:gd name="connsiteY15" fmla="*/ 3429000 h 6857998"/>
              <a:gd name="connsiteX16" fmla="*/ 0 w 8614395"/>
              <a:gd name="connsiteY16" fmla="*/ 0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614395" h="6857998">
                <a:moveTo>
                  <a:pt x="0" y="0"/>
                </a:moveTo>
                <a:lnTo>
                  <a:pt x="5185395" y="0"/>
                </a:lnTo>
                <a:cubicBezTo>
                  <a:pt x="7079179" y="0"/>
                  <a:pt x="8614395" y="1535215"/>
                  <a:pt x="8614395" y="3428999"/>
                </a:cubicBezTo>
                <a:cubicBezTo>
                  <a:pt x="8614395" y="3784084"/>
                  <a:pt x="8560423" y="4126562"/>
                  <a:pt x="8460234" y="4448679"/>
                </a:cubicBezTo>
                <a:lnTo>
                  <a:pt x="8419485" y="4560012"/>
                </a:lnTo>
                <a:lnTo>
                  <a:pt x="7840460" y="4560012"/>
                </a:lnTo>
                <a:cubicBezTo>
                  <a:pt x="7368079" y="4560012"/>
                  <a:pt x="6979549" y="4919018"/>
                  <a:pt x="6932828" y="5379072"/>
                </a:cubicBezTo>
                <a:lnTo>
                  <a:pt x="6928118" y="5472354"/>
                </a:lnTo>
                <a:lnTo>
                  <a:pt x="6932828" y="5565635"/>
                </a:lnTo>
                <a:cubicBezTo>
                  <a:pt x="6956188" y="5795662"/>
                  <a:pt x="7065001" y="6000427"/>
                  <a:pt x="7227021" y="6147685"/>
                </a:cubicBezTo>
                <a:lnTo>
                  <a:pt x="7248047" y="6163602"/>
                </a:lnTo>
                <a:lnTo>
                  <a:pt x="7102581" y="6272379"/>
                </a:lnTo>
                <a:cubicBezTo>
                  <a:pt x="6555309" y="6642109"/>
                  <a:pt x="5895564" y="6857998"/>
                  <a:pt x="5185395" y="6857998"/>
                </a:cubicBezTo>
                <a:lnTo>
                  <a:pt x="80" y="6857998"/>
                </a:lnTo>
                <a:lnTo>
                  <a:pt x="176455" y="6853538"/>
                </a:lnTo>
                <a:cubicBezTo>
                  <a:pt x="1988235" y="6761699"/>
                  <a:pt x="3428999" y="5263603"/>
                  <a:pt x="3428999" y="3429000"/>
                </a:cubicBezTo>
                <a:cubicBezTo>
                  <a:pt x="3428999" y="1535216"/>
                  <a:pt x="1893784" y="0"/>
                  <a:pt x="0" y="0"/>
                </a:cubicBezTo>
                <a:close/>
              </a:path>
            </a:pathLst>
          </a:custGeom>
          <a:solidFill>
            <a:schemeClr val="bg1">
              <a:lumMod val="95000"/>
            </a:schemeClr>
          </a:solidFill>
        </p:spPr>
        <p:txBody>
          <a:bodyPr wrap="square" lIns="3108960" bIns="1371600" anchor="ctr">
            <a:noAutofit/>
          </a:bodyPr>
          <a:lstStyle>
            <a:lvl1pPr marL="0" marR="0" indent="0" algn="ctr" defTabSz="914400" rtl="0" eaLnBrk="1" fontAlgn="base" latinLnBrk="0" hangingPunct="1">
              <a:lnSpc>
                <a:spcPct val="95000"/>
              </a:lnSpc>
              <a:spcBef>
                <a:spcPts val="1000"/>
              </a:spcBef>
              <a:spcAft>
                <a:spcPct val="0"/>
              </a:spcAft>
              <a:buClrTx/>
              <a:buSzTx/>
              <a:buFont typeface="Arial" panose="020B0604020202020204" pitchFamily="34" charset="0"/>
              <a:buNone/>
              <a:tabLst/>
              <a:defRPr>
                <a:solidFill>
                  <a:schemeClr val="accent1"/>
                </a:solidFill>
              </a:defRPr>
            </a:lvl1pPr>
          </a:lstStyle>
          <a:p>
            <a:r>
              <a:rPr lang="en-US"/>
              <a:t>Drag picture to placeholder</a:t>
            </a:r>
            <a:br>
              <a:rPr lang="en-US"/>
            </a:br>
            <a:r>
              <a:rPr lang="en-US"/>
              <a:t>or click icon to add.</a:t>
            </a:r>
          </a:p>
        </p:txBody>
      </p:sp>
      <p:sp>
        <p:nvSpPr>
          <p:cNvPr id="12" name="Freeform 11">
            <a:extLst>
              <a:ext uri="{FF2B5EF4-FFF2-40B4-BE49-F238E27FC236}">
                <a16:creationId xmlns:a16="http://schemas.microsoft.com/office/drawing/2014/main" id="{0A0EA6BB-F6D4-3648-5AFF-D4F39A3C5357}"/>
              </a:ext>
            </a:extLst>
          </p:cNvPr>
          <p:cNvSpPr/>
          <p:nvPr userDrawn="1"/>
        </p:nvSpPr>
        <p:spPr>
          <a:xfrm>
            <a:off x="9757416" y="4560012"/>
            <a:ext cx="2434584" cy="1824684"/>
          </a:xfrm>
          <a:custGeom>
            <a:avLst/>
            <a:gdLst>
              <a:gd name="connsiteX0" fmla="*/ 912342 w 2434584"/>
              <a:gd name="connsiteY0" fmla="*/ 0 h 1824684"/>
              <a:gd name="connsiteX1" fmla="*/ 2434584 w 2434584"/>
              <a:gd name="connsiteY1" fmla="*/ 0 h 1824684"/>
              <a:gd name="connsiteX2" fmla="*/ 2434584 w 2434584"/>
              <a:gd name="connsiteY2" fmla="*/ 1824684 h 1824684"/>
              <a:gd name="connsiteX3" fmla="*/ 912342 w 2434584"/>
              <a:gd name="connsiteY3" fmla="*/ 1824683 h 1824684"/>
              <a:gd name="connsiteX4" fmla="*/ 4710 w 2434584"/>
              <a:gd name="connsiteY4" fmla="*/ 1005623 h 1824684"/>
              <a:gd name="connsiteX5" fmla="*/ 0 w 2434584"/>
              <a:gd name="connsiteY5" fmla="*/ 912342 h 1824684"/>
              <a:gd name="connsiteX6" fmla="*/ 4710 w 2434584"/>
              <a:gd name="connsiteY6" fmla="*/ 819060 h 1824684"/>
              <a:gd name="connsiteX7" fmla="*/ 912342 w 2434584"/>
              <a:gd name="connsiteY7" fmla="*/ 0 h 1824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4584" h="1824684">
                <a:moveTo>
                  <a:pt x="912342" y="0"/>
                </a:moveTo>
                <a:lnTo>
                  <a:pt x="2434584" y="0"/>
                </a:lnTo>
                <a:lnTo>
                  <a:pt x="2434584" y="1824684"/>
                </a:lnTo>
                <a:lnTo>
                  <a:pt x="912342" y="1824683"/>
                </a:lnTo>
                <a:cubicBezTo>
                  <a:pt x="439961" y="1824683"/>
                  <a:pt x="51431" y="1465677"/>
                  <a:pt x="4710" y="1005623"/>
                </a:cubicBezTo>
                <a:lnTo>
                  <a:pt x="0" y="912342"/>
                </a:lnTo>
                <a:lnTo>
                  <a:pt x="4710" y="819060"/>
                </a:lnTo>
                <a:cubicBezTo>
                  <a:pt x="51431" y="359006"/>
                  <a:pt x="439961" y="0"/>
                  <a:pt x="912342" y="0"/>
                </a:cubicBezTo>
                <a:close/>
              </a:path>
            </a:pathLst>
          </a:custGeom>
          <a:solidFill>
            <a:srgbClr val="A89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p:cNvSpPr>
            <a:spLocks noGrp="1"/>
          </p:cNvSpPr>
          <p:nvPr userDrawn="1">
            <p:ph type="ctrTitle"/>
          </p:nvPr>
        </p:nvSpPr>
        <p:spPr>
          <a:xfrm>
            <a:off x="374092" y="1439868"/>
            <a:ext cx="5029181" cy="2880360"/>
          </a:xfrm>
          <a:prstGeom prst="rect">
            <a:avLst/>
          </a:prstGeom>
        </p:spPr>
        <p:txBody>
          <a:bodyPr anchor="b">
            <a:noAutofit/>
          </a:bodyPr>
          <a:lstStyle>
            <a:lvl1pPr algn="l">
              <a:defRPr sz="5400" b="1" i="0">
                <a:solidFill>
                  <a:schemeClr val="bg2"/>
                </a:solidFill>
                <a:latin typeface="Montserrat" pitchFamily="2" charset="77"/>
              </a:defRPr>
            </a:lvl1pPr>
          </a:lstStyle>
          <a:p>
            <a:r>
              <a:rPr lang="en-US"/>
              <a:t>Click to edit Master title style</a:t>
            </a:r>
            <a:endParaRPr lang="en-GB"/>
          </a:p>
        </p:txBody>
      </p:sp>
      <p:sp>
        <p:nvSpPr>
          <p:cNvPr id="3" name="Subtitle 2"/>
          <p:cNvSpPr>
            <a:spLocks noGrp="1"/>
          </p:cNvSpPr>
          <p:nvPr userDrawn="1">
            <p:ph type="subTitle" idx="1"/>
          </p:nvPr>
        </p:nvSpPr>
        <p:spPr>
          <a:xfrm>
            <a:off x="374092" y="4568825"/>
            <a:ext cx="5264886" cy="641350"/>
          </a:xfrm>
          <a:prstGeom prst="rect">
            <a:avLst/>
          </a:prstGeom>
        </p:spPr>
        <p:txBody>
          <a:bodyPr>
            <a:noAutofit/>
          </a:bodyPr>
          <a:lstStyle>
            <a:lvl1pPr marL="0" indent="0" algn="l">
              <a:buNone/>
              <a:defRPr sz="2400">
                <a:solidFill>
                  <a:schemeClr val="accent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5" name="Date Placeholder 3">
            <a:extLst>
              <a:ext uri="{FF2B5EF4-FFF2-40B4-BE49-F238E27FC236}">
                <a16:creationId xmlns:a16="http://schemas.microsoft.com/office/drawing/2014/main" id="{FD78CF55-0C25-4C23-2C35-E1A9DABADB84}"/>
              </a:ext>
            </a:extLst>
          </p:cNvPr>
          <p:cNvSpPr>
            <a:spLocks noGrp="1"/>
          </p:cNvSpPr>
          <p:nvPr userDrawn="1">
            <p:ph type="dt" sz="half" idx="10"/>
          </p:nvPr>
        </p:nvSpPr>
        <p:spPr>
          <a:xfrm>
            <a:off x="457200" y="6108700"/>
            <a:ext cx="4114800" cy="274638"/>
          </a:xfrm>
          <a:prstGeom prst="rect">
            <a:avLst/>
          </a:prstGeom>
        </p:spPr>
        <p:txBody>
          <a:bodyPr/>
          <a:lstStyle>
            <a:lvl1pPr>
              <a:defRPr sz="1400">
                <a:solidFill>
                  <a:schemeClr val="accent2"/>
                </a:solidFill>
              </a:defRPr>
            </a:lvl1pPr>
          </a:lstStyle>
          <a:p>
            <a:pPr>
              <a:defRPr/>
            </a:pPr>
            <a:endParaRPr lang="en-US"/>
          </a:p>
        </p:txBody>
      </p:sp>
      <p:pic>
        <p:nvPicPr>
          <p:cNvPr id="4" name="Content Placeholder 13">
            <a:extLst>
              <a:ext uri="{FF2B5EF4-FFF2-40B4-BE49-F238E27FC236}">
                <a16:creationId xmlns:a16="http://schemas.microsoft.com/office/drawing/2014/main" id="{205693FC-DAC5-88EE-D25E-73AC2C050FBE}"/>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auto">
          <a:xfrm>
            <a:off x="9974092" y="4464969"/>
            <a:ext cx="2144112" cy="2144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2670892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Slide - 2 Col w/Image Left">
    <p:spTree>
      <p:nvGrpSpPr>
        <p:cNvPr id="1" name=""/>
        <p:cNvGrpSpPr/>
        <p:nvPr/>
      </p:nvGrpSpPr>
      <p:grpSpPr>
        <a:xfrm>
          <a:off x="0" y="0"/>
          <a:ext cx="0" cy="0"/>
          <a:chOff x="0" y="0"/>
          <a:chExt cx="0" cy="0"/>
        </a:xfrm>
      </p:grpSpPr>
      <p:sp>
        <p:nvSpPr>
          <p:cNvPr id="19" name="Text Placeholder 5">
            <a:extLst>
              <a:ext uri="{FF2B5EF4-FFF2-40B4-BE49-F238E27FC236}">
                <a16:creationId xmlns:a16="http://schemas.microsoft.com/office/drawing/2014/main" id="{3F686C8C-E081-5242-90B9-38796068D595}"/>
              </a:ext>
            </a:extLst>
          </p:cNvPr>
          <p:cNvSpPr>
            <a:spLocks noGrp="1"/>
          </p:cNvSpPr>
          <p:nvPr>
            <p:ph type="body" sz="quarter" idx="26"/>
          </p:nvPr>
        </p:nvSpPr>
        <p:spPr>
          <a:xfrm>
            <a:off x="6102349" y="1339033"/>
            <a:ext cx="5632450" cy="4630408"/>
          </a:xfrm>
          <a:prstGeom prst="rect">
            <a:avLst/>
          </a:prstGeom>
        </p:spPr>
        <p:txBody>
          <a:bodyPr lIns="0" tIns="0" rIns="0" bIns="0"/>
          <a:lstStyle>
            <a:lvl1pPr marL="0" indent="0" algn="l">
              <a:buNone/>
              <a:defRPr sz="1800" b="0" i="0">
                <a:latin typeface="Montserrat Light" pitchFamily="2" charset="77"/>
                <a:cs typeface="Montserrat Light" pitchFamily="2" charset="77"/>
              </a:defRPr>
            </a:lvl1pPr>
            <a:lvl2pPr marL="174625" indent="-174625" algn="l">
              <a:spcBef>
                <a:spcPts val="1200"/>
              </a:spcBef>
              <a:buFont typeface="Arial" panose="020B0604020202020204" pitchFamily="34" charset="0"/>
              <a:buChar char="•"/>
              <a:tabLst/>
              <a:defRPr sz="1800" b="0" i="0">
                <a:latin typeface="Montserrat Light" pitchFamily="2" charset="77"/>
                <a:cs typeface="Montserrat Light" pitchFamily="2" charset="77"/>
              </a:defRPr>
            </a:lvl2pPr>
            <a:lvl3pPr marL="560070" indent="-285750" algn="l">
              <a:spcBef>
                <a:spcPts val="1200"/>
              </a:spcBef>
              <a:buFont typeface="Montserrat" panose="00000500000000000000" pitchFamily="2" charset="0"/>
              <a:buChar char="–"/>
              <a:defRPr sz="1800" b="0" i="0">
                <a:latin typeface="Montserrat Light" pitchFamily="2" charset="77"/>
                <a:cs typeface="Montserrat Light" pitchFamily="2" charset="77"/>
              </a:defRPr>
            </a:lvl3pPr>
            <a:lvl4pPr marL="834390" indent="-285750" algn="l">
              <a:spcBef>
                <a:spcPts val="1200"/>
              </a:spcBef>
              <a:buFont typeface="Courier New" panose="02070309020205020404" pitchFamily="49" charset="0"/>
              <a:buChar char="o"/>
              <a:defRPr sz="1600" b="0" i="0">
                <a:latin typeface="Montserrat Light" pitchFamily="2" charset="77"/>
                <a:cs typeface="Montserrat Light" pitchFamily="2" charset="77"/>
              </a:defRPr>
            </a:lvl4pPr>
            <a:lvl5pPr marL="1108710" indent="-285750" algn="l">
              <a:defRPr lang="en-US" sz="1400" b="0" i="0" u="none" strike="noStrike" cap="none" spc="0" baseline="0" dirty="0">
                <a:solidFill>
                  <a:srgbClr val="000000"/>
                </a:solidFill>
                <a:uFillTx/>
                <a:latin typeface="Montserrat Light" pitchFamily="2" charset="77"/>
                <a:ea typeface="Montserrat" panose="00000500000000000000" pitchFamily="2" charset="0"/>
                <a:cs typeface="Montserrat Light" pitchFamily="2" charset="77"/>
                <a:sym typeface="Montserrat"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a:extLst>
              <a:ext uri="{FF2B5EF4-FFF2-40B4-BE49-F238E27FC236}">
                <a16:creationId xmlns:a16="http://schemas.microsoft.com/office/drawing/2014/main" id="{F21AE09E-697C-FC45-9E96-2E45E76886AB}"/>
              </a:ext>
            </a:extLst>
          </p:cNvPr>
          <p:cNvSpPr>
            <a:spLocks noGrp="1"/>
          </p:cNvSpPr>
          <p:nvPr>
            <p:ph type="title"/>
          </p:nvPr>
        </p:nvSpPr>
        <p:spPr>
          <a:xfrm>
            <a:off x="463548" y="514928"/>
            <a:ext cx="11271251" cy="365760"/>
          </a:xfrm>
          <a:prstGeom prst="rect">
            <a:avLst/>
          </a:prstGeom>
        </p:spPr>
        <p:txBody>
          <a:bodyPr lIns="0" tIns="0" rIns="0" bIns="0" anchor="t"/>
          <a:lstStyle>
            <a:lvl1pPr marL="0" marR="0" indent="0" algn="l" defTabSz="412750" rtl="0" latinLnBrk="0">
              <a:lnSpc>
                <a:spcPct val="100000"/>
              </a:lnSpc>
              <a:spcBef>
                <a:spcPts val="0"/>
              </a:spcBef>
              <a:spcAft>
                <a:spcPts val="0"/>
              </a:spcAft>
              <a:buClrTx/>
              <a:buSzTx/>
              <a:buFontTx/>
              <a:buNone/>
              <a:tabLst/>
              <a:defRPr lang="en-US" sz="2200" b="1" i="0" u="none" strike="noStrike" cap="none" spc="0" baseline="0" dirty="0" smtClean="0">
                <a:solidFill>
                  <a:srgbClr val="000000"/>
                </a:solidFill>
                <a:uFillTx/>
                <a:latin typeface="Montserrat" panose="00000500000000000000" pitchFamily="2" charset="0"/>
                <a:ea typeface="Montserrat" panose="00000500000000000000" pitchFamily="2" charset="0"/>
                <a:cs typeface="Montserrat" panose="00000500000000000000" pitchFamily="2" charset="0"/>
                <a:sym typeface="Montserrat" panose="00000500000000000000" pitchFamily="2" charset="0"/>
              </a:defRPr>
            </a:lvl1pPr>
          </a:lstStyle>
          <a:p>
            <a:r>
              <a:rPr lang="en-US"/>
              <a:t>Click to edit Master title style</a:t>
            </a:r>
          </a:p>
        </p:txBody>
      </p:sp>
      <p:sp>
        <p:nvSpPr>
          <p:cNvPr id="10" name="Text Placeholder 2">
            <a:extLst>
              <a:ext uri="{FF2B5EF4-FFF2-40B4-BE49-F238E27FC236}">
                <a16:creationId xmlns:a16="http://schemas.microsoft.com/office/drawing/2014/main" id="{E4AEF971-9BCB-1E42-9E22-F8D1F1044C95}"/>
              </a:ext>
            </a:extLst>
          </p:cNvPr>
          <p:cNvSpPr>
            <a:spLocks noGrp="1"/>
          </p:cNvSpPr>
          <p:nvPr>
            <p:ph type="body" sz="quarter" idx="25" hasCustomPrompt="1"/>
          </p:nvPr>
        </p:nvSpPr>
        <p:spPr>
          <a:xfrm>
            <a:off x="463548" y="255612"/>
            <a:ext cx="11271251" cy="201168"/>
          </a:xfrm>
          <a:prstGeom prst="rect">
            <a:avLst/>
          </a:prstGeom>
        </p:spPr>
        <p:txBody>
          <a:bodyPr lIns="0" tIns="0" rIns="0" bIns="0" anchor="ctr"/>
          <a:lstStyle>
            <a:lvl1pPr marL="0" indent="0" algn="l">
              <a:buNone/>
              <a:defRPr lang="en-US" sz="1000" b="0" i="0" cap="all" spc="200" baseline="0" dirty="0">
                <a:solidFill>
                  <a:schemeClr val="accent1"/>
                </a:solidFill>
                <a:latin typeface="Montserrat" panose="00000500000000000000" pitchFamily="2" charset="0"/>
                <a:ea typeface="Montserrat" panose="00000500000000000000" pitchFamily="2" charset="0"/>
                <a:cs typeface="Montserrat" panose="00000500000000000000" pitchFamily="2" charset="0"/>
              </a:defRPr>
            </a:lvl1pPr>
          </a:lstStyle>
          <a:p>
            <a:pPr lvl="0" algn="l"/>
            <a:r>
              <a:rPr lang="en-US"/>
              <a:t>OPTIONAL BREADCRUMB HERE</a:t>
            </a:r>
          </a:p>
        </p:txBody>
      </p:sp>
      <p:sp>
        <p:nvSpPr>
          <p:cNvPr id="8" name="Slide Number Placeholder 5">
            <a:extLst>
              <a:ext uri="{FF2B5EF4-FFF2-40B4-BE49-F238E27FC236}">
                <a16:creationId xmlns:a16="http://schemas.microsoft.com/office/drawing/2014/main" id="{3DB84E04-7731-345F-77EA-3F29E135A0BC}"/>
              </a:ext>
            </a:extLst>
          </p:cNvPr>
          <p:cNvSpPr txBox="1">
            <a:spLocks/>
          </p:cNvSpPr>
          <p:nvPr userDrawn="1"/>
        </p:nvSpPr>
        <p:spPr>
          <a:xfrm>
            <a:off x="11341100" y="6424613"/>
            <a:ext cx="393700" cy="200025"/>
          </a:xfrm>
          <a:prstGeom prst="rect">
            <a:avLst/>
          </a:prstGeom>
        </p:spPr>
        <p:txBody>
          <a:bodyPr vert="horz" lIns="0" tIns="0" rIns="0" bIns="0" rtlCol="0" anchor="ctr">
            <a:noAutofit/>
          </a:bodyPr>
          <a:lstStyle>
            <a:defPPr>
              <a:defRPr lang="en-US"/>
            </a:defPPr>
            <a:lvl1pPr algn="r" rtl="0" eaLnBrk="1" fontAlgn="auto" hangingPunct="1">
              <a:spcBef>
                <a:spcPts val="0"/>
              </a:spcBef>
              <a:spcAft>
                <a:spcPts val="0"/>
              </a:spcAft>
              <a:defRPr sz="800" kern="1200">
                <a:solidFill>
                  <a:schemeClr val="tx2"/>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fld id="{5F05AE8C-CF5F-4A4E-B69B-C9D8FA4EC18A}" type="slidenum">
              <a:rPr lang="en-US" smtClean="0">
                <a:solidFill>
                  <a:srgbClr val="112F64"/>
                </a:solidFill>
                <a:latin typeface="Montserrat" panose="00000500000000000000" pitchFamily="2" charset="0"/>
              </a:rPr>
              <a:pPr>
                <a:defRPr/>
              </a:pPr>
              <a:t>‹#›</a:t>
            </a:fld>
            <a:endParaRPr lang="en-US">
              <a:solidFill>
                <a:srgbClr val="112F64"/>
              </a:solidFill>
              <a:latin typeface="Montserrat" panose="00000500000000000000" pitchFamily="2" charset="0"/>
            </a:endParaRPr>
          </a:p>
        </p:txBody>
      </p:sp>
      <p:sp>
        <p:nvSpPr>
          <p:cNvPr id="11" name="Footer Placeholder 4">
            <a:extLst>
              <a:ext uri="{FF2B5EF4-FFF2-40B4-BE49-F238E27FC236}">
                <a16:creationId xmlns:a16="http://schemas.microsoft.com/office/drawing/2014/main" id="{75064991-9187-8694-627F-2FECE8244915}"/>
              </a:ext>
            </a:extLst>
          </p:cNvPr>
          <p:cNvSpPr txBox="1">
            <a:spLocks/>
          </p:cNvSpPr>
          <p:nvPr userDrawn="1"/>
        </p:nvSpPr>
        <p:spPr>
          <a:xfrm>
            <a:off x="463550" y="6427788"/>
            <a:ext cx="4114800" cy="198437"/>
          </a:xfrm>
          <a:prstGeom prst="rect">
            <a:avLst/>
          </a:prstGeom>
        </p:spPr>
        <p:txBody>
          <a:bodyPr vert="horz" lIns="0" tIns="0" rIns="0" bIns="0" rtlCol="0" anchor="ctr">
            <a:noAutofit/>
          </a:bodyPr>
          <a:lstStyle>
            <a:defPPr>
              <a:defRPr lang="en-US"/>
            </a:defPPr>
            <a:lvl1pPr algn="l" rtl="0" eaLnBrk="1" fontAlgn="auto" hangingPunct="1">
              <a:spcBef>
                <a:spcPts val="0"/>
              </a:spcBef>
              <a:spcAft>
                <a:spcPts val="0"/>
              </a:spcAft>
              <a:defRPr sz="800" kern="1200">
                <a:solidFill>
                  <a:schemeClr val="tx1"/>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r>
              <a:rPr lang="en-US">
                <a:solidFill>
                  <a:srgbClr val="000000"/>
                </a:solidFill>
                <a:latin typeface="Montserrat" panose="00000500000000000000" pitchFamily="2" charset="0"/>
              </a:rPr>
              <a:t>© 2024 Comcast. All rights reserved.</a:t>
            </a:r>
          </a:p>
        </p:txBody>
      </p:sp>
      <p:sp>
        <p:nvSpPr>
          <p:cNvPr id="5" name="Picture Placeholder 4">
            <a:extLst>
              <a:ext uri="{FF2B5EF4-FFF2-40B4-BE49-F238E27FC236}">
                <a16:creationId xmlns:a16="http://schemas.microsoft.com/office/drawing/2014/main" id="{D056465B-E1E1-AEA6-53A4-7E88177F3B48}"/>
              </a:ext>
            </a:extLst>
          </p:cNvPr>
          <p:cNvSpPr>
            <a:spLocks noGrp="1"/>
          </p:cNvSpPr>
          <p:nvPr>
            <p:ph type="pic" sz="quarter" idx="28" hasCustomPrompt="1"/>
          </p:nvPr>
        </p:nvSpPr>
        <p:spPr>
          <a:xfrm>
            <a:off x="0" y="1339034"/>
            <a:ext cx="5632450" cy="4630408"/>
          </a:xfrm>
          <a:custGeom>
            <a:avLst/>
            <a:gdLst>
              <a:gd name="connsiteX0" fmla="*/ 0 w 5632450"/>
              <a:gd name="connsiteY0" fmla="*/ 0 h 4630408"/>
              <a:gd name="connsiteX1" fmla="*/ 3317246 w 5632450"/>
              <a:gd name="connsiteY1" fmla="*/ 0 h 4630408"/>
              <a:gd name="connsiteX2" fmla="*/ 5632450 w 5632450"/>
              <a:gd name="connsiteY2" fmla="*/ 2315204 h 4630408"/>
              <a:gd name="connsiteX3" fmla="*/ 3317246 w 5632450"/>
              <a:gd name="connsiteY3" fmla="*/ 4630408 h 4630408"/>
              <a:gd name="connsiteX4" fmla="*/ 0 w 5632450"/>
              <a:gd name="connsiteY4" fmla="*/ 4630408 h 4630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32450" h="4630408">
                <a:moveTo>
                  <a:pt x="0" y="0"/>
                </a:moveTo>
                <a:lnTo>
                  <a:pt x="3317246" y="0"/>
                </a:lnTo>
                <a:cubicBezTo>
                  <a:pt x="4595898" y="0"/>
                  <a:pt x="5632450" y="1036552"/>
                  <a:pt x="5632450" y="2315204"/>
                </a:cubicBezTo>
                <a:cubicBezTo>
                  <a:pt x="5632450" y="3593856"/>
                  <a:pt x="4595898" y="4630408"/>
                  <a:pt x="3317246" y="4630408"/>
                </a:cubicBezTo>
                <a:lnTo>
                  <a:pt x="0" y="4630408"/>
                </a:lnTo>
                <a:close/>
              </a:path>
            </a:pathLst>
          </a:custGeom>
          <a:solidFill>
            <a:schemeClr val="bg1">
              <a:lumMod val="95000"/>
            </a:schemeClr>
          </a:solidFill>
        </p:spPr>
        <p:txBody>
          <a:bodyPr wrap="square" bIns="1371600" anchor="ctr">
            <a:noAutofit/>
          </a:bodyPr>
          <a:lstStyle>
            <a:lvl1pPr marL="0" marR="0" indent="0" algn="ctr" defTabSz="914400" rtl="0" eaLnBrk="1" fontAlgn="base" latinLnBrk="0" hangingPunct="1">
              <a:lnSpc>
                <a:spcPct val="95000"/>
              </a:lnSpc>
              <a:spcBef>
                <a:spcPts val="1000"/>
              </a:spcBef>
              <a:spcAft>
                <a:spcPct val="0"/>
              </a:spcAft>
              <a:buClrTx/>
              <a:buSzTx/>
              <a:buFont typeface="Arial" panose="020B0604020202020204" pitchFamily="34" charset="0"/>
              <a:buNone/>
              <a:tabLst/>
              <a:defRPr>
                <a:solidFill>
                  <a:schemeClr val="accent1"/>
                </a:solidFill>
              </a:defRPr>
            </a:lvl1pPr>
          </a:lstStyle>
          <a:p>
            <a:r>
              <a:rPr lang="en-US"/>
              <a:t>Drag picture to placeholder</a:t>
            </a:r>
            <a:br>
              <a:rPr lang="en-US"/>
            </a:br>
            <a:r>
              <a:rPr lang="en-US"/>
              <a:t>or click icon to add.</a:t>
            </a:r>
          </a:p>
        </p:txBody>
      </p:sp>
    </p:spTree>
    <p:extLst>
      <p:ext uri="{BB962C8B-B14F-4D97-AF65-F5344CB8AC3E}">
        <p14:creationId xmlns:p14="http://schemas.microsoft.com/office/powerpoint/2010/main" val="484666903"/>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432">
          <p15:clr>
            <a:srgbClr val="FBAE40"/>
          </p15:clr>
        </p15:guide>
        <p15:guide id="3" pos="7248">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userDrawn="1">
  <p:cSld name="Section Divide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2788" y="685800"/>
            <a:ext cx="8411651" cy="2971800"/>
          </a:xfrm>
          <a:prstGeom prst="rect">
            <a:avLst/>
          </a:prstGeom>
        </p:spPr>
        <p:txBody>
          <a:bodyPr anchor="b"/>
          <a:lstStyle>
            <a:lvl1pPr>
              <a:defRPr sz="5400" b="1" i="0">
                <a:solidFill>
                  <a:schemeClr val="bg2"/>
                </a:solidFill>
                <a:latin typeface="Arial" panose="020B0604020202020204" pitchFamily="34" charset="0"/>
              </a:defRPr>
            </a:lvl1pPr>
          </a:lstStyle>
          <a:p>
            <a:r>
              <a:rPr lang="en-US"/>
              <a:t>Click to edit Master title style</a:t>
            </a:r>
          </a:p>
        </p:txBody>
      </p:sp>
      <p:sp>
        <p:nvSpPr>
          <p:cNvPr id="3" name="Text Placeholder 2"/>
          <p:cNvSpPr>
            <a:spLocks noGrp="1"/>
          </p:cNvSpPr>
          <p:nvPr>
            <p:ph type="body" idx="1"/>
          </p:nvPr>
        </p:nvSpPr>
        <p:spPr>
          <a:xfrm>
            <a:off x="432618" y="4101321"/>
            <a:ext cx="8401818" cy="641350"/>
          </a:xfrm>
          <a:prstGeom prst="rect">
            <a:avLst/>
          </a:prstGeom>
        </p:spPr>
        <p:txBody>
          <a:bodyPr/>
          <a:lstStyle>
            <a:lvl1pPr marL="0" indent="0">
              <a:buNone/>
              <a:defRPr sz="2400">
                <a:solidFill>
                  <a:schemeClr val="accent2"/>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5" name="Slide Number Placeholder 5">
            <a:extLst>
              <a:ext uri="{FF2B5EF4-FFF2-40B4-BE49-F238E27FC236}">
                <a16:creationId xmlns:a16="http://schemas.microsoft.com/office/drawing/2014/main" id="{577A0D8B-1D3E-F6EA-5B2E-C53771D309BA}"/>
              </a:ext>
            </a:extLst>
          </p:cNvPr>
          <p:cNvSpPr>
            <a:spLocks noGrp="1"/>
          </p:cNvSpPr>
          <p:nvPr>
            <p:ph type="sldNum" sz="quarter" idx="10"/>
          </p:nvPr>
        </p:nvSpPr>
        <p:spPr/>
        <p:txBody>
          <a:bodyPr/>
          <a:lstStyle>
            <a:lvl1pPr>
              <a:defRPr>
                <a:solidFill>
                  <a:schemeClr val="accent2"/>
                </a:solidFill>
              </a:defRPr>
            </a:lvl1pPr>
          </a:lstStyle>
          <a:p>
            <a:pPr>
              <a:defRPr/>
            </a:pPr>
            <a:fld id="{E147F4B0-95A8-43DB-BFB5-8B095617379B}" type="slidenum">
              <a:rPr lang="en-US"/>
              <a:pPr>
                <a:defRPr/>
              </a:pPr>
              <a:t>‹#›</a:t>
            </a:fld>
            <a:endParaRPr lang="en-US"/>
          </a:p>
        </p:txBody>
      </p:sp>
      <p:sp>
        <p:nvSpPr>
          <p:cNvPr id="6" name="Footer Placeholder 4">
            <a:extLst>
              <a:ext uri="{FF2B5EF4-FFF2-40B4-BE49-F238E27FC236}">
                <a16:creationId xmlns:a16="http://schemas.microsoft.com/office/drawing/2014/main" id="{F59C2888-9FE2-8C71-954F-1E30CF83D8E4}"/>
              </a:ext>
            </a:extLst>
          </p:cNvPr>
          <p:cNvSpPr>
            <a:spLocks noGrp="1"/>
          </p:cNvSpPr>
          <p:nvPr>
            <p:ph type="ftr" sz="quarter" idx="11"/>
          </p:nvPr>
        </p:nvSpPr>
        <p:spPr/>
        <p:txBody>
          <a:bodyPr/>
          <a:lstStyle>
            <a:lvl1pPr algn="l" eaLnBrk="1" fontAlgn="auto" hangingPunct="1">
              <a:spcBef>
                <a:spcPts val="0"/>
              </a:spcBef>
              <a:spcAft>
                <a:spcPts val="0"/>
              </a:spcAft>
              <a:defRPr sz="800">
                <a:solidFill>
                  <a:schemeClr val="bg2"/>
                </a:solidFill>
                <a:latin typeface="+mn-lt"/>
              </a:defRPr>
            </a:lvl1pPr>
          </a:lstStyle>
          <a:p>
            <a:pPr>
              <a:defRPr/>
            </a:pPr>
            <a:r>
              <a:rPr lang="en-US"/>
              <a:t>© 2023 Comcast. All rights reserved.</a:t>
            </a:r>
          </a:p>
        </p:txBody>
      </p:sp>
      <p:sp>
        <p:nvSpPr>
          <p:cNvPr id="9" name="Freeform 8">
            <a:extLst>
              <a:ext uri="{FF2B5EF4-FFF2-40B4-BE49-F238E27FC236}">
                <a16:creationId xmlns:a16="http://schemas.microsoft.com/office/drawing/2014/main" id="{ACB0759A-FE16-52B0-954C-A43DA66BC1DD}"/>
              </a:ext>
            </a:extLst>
          </p:cNvPr>
          <p:cNvSpPr/>
          <p:nvPr userDrawn="1"/>
        </p:nvSpPr>
        <p:spPr>
          <a:xfrm>
            <a:off x="9983595" y="5254908"/>
            <a:ext cx="1982224" cy="1603093"/>
          </a:xfrm>
          <a:custGeom>
            <a:avLst/>
            <a:gdLst>
              <a:gd name="connsiteX0" fmla="*/ 991112 w 1982224"/>
              <a:gd name="connsiteY0" fmla="*/ 0 h 1603093"/>
              <a:gd name="connsiteX1" fmla="*/ 1982224 w 1982224"/>
              <a:gd name="connsiteY1" fmla="*/ 991112 h 1603093"/>
              <a:gd name="connsiteX2" fmla="*/ 1812958 w 1982224"/>
              <a:gd name="connsiteY2" fmla="*/ 1545252 h 1603093"/>
              <a:gd name="connsiteX3" fmla="*/ 1765235 w 1982224"/>
              <a:gd name="connsiteY3" fmla="*/ 1603093 h 1603093"/>
              <a:gd name="connsiteX4" fmla="*/ 216990 w 1982224"/>
              <a:gd name="connsiteY4" fmla="*/ 1603093 h 1603093"/>
              <a:gd name="connsiteX5" fmla="*/ 169267 w 1982224"/>
              <a:gd name="connsiteY5" fmla="*/ 1545252 h 1603093"/>
              <a:gd name="connsiteX6" fmla="*/ 0 w 1982224"/>
              <a:gd name="connsiteY6" fmla="*/ 991112 h 1603093"/>
              <a:gd name="connsiteX7" fmla="*/ 991112 w 1982224"/>
              <a:gd name="connsiteY7" fmla="*/ 0 h 1603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82224" h="1603093">
                <a:moveTo>
                  <a:pt x="991112" y="0"/>
                </a:moveTo>
                <a:cubicBezTo>
                  <a:pt x="1538488" y="0"/>
                  <a:pt x="1982224" y="443736"/>
                  <a:pt x="1982224" y="991112"/>
                </a:cubicBezTo>
                <a:cubicBezTo>
                  <a:pt x="1982224" y="1196378"/>
                  <a:pt x="1919824" y="1387070"/>
                  <a:pt x="1812958" y="1545252"/>
                </a:cubicBezTo>
                <a:lnTo>
                  <a:pt x="1765235" y="1603093"/>
                </a:lnTo>
                <a:lnTo>
                  <a:pt x="216990" y="1603093"/>
                </a:lnTo>
                <a:lnTo>
                  <a:pt x="169267" y="1545252"/>
                </a:lnTo>
                <a:cubicBezTo>
                  <a:pt x="62401" y="1387070"/>
                  <a:pt x="0" y="1196378"/>
                  <a:pt x="0" y="991112"/>
                </a:cubicBezTo>
                <a:cubicBezTo>
                  <a:pt x="0" y="443736"/>
                  <a:pt x="443736" y="0"/>
                  <a:pt x="991112"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8" name="Picture 9">
            <a:extLst>
              <a:ext uri="{FF2B5EF4-FFF2-40B4-BE49-F238E27FC236}">
                <a16:creationId xmlns:a16="http://schemas.microsoft.com/office/drawing/2014/main" id="{4E6EC784-379C-ED99-3F2A-B1E817518B7E}"/>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155237" y="5927062"/>
            <a:ext cx="1579563" cy="801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1136133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1_Two Column Slide">
    <p:spTree>
      <p:nvGrpSpPr>
        <p:cNvPr id="1" name=""/>
        <p:cNvGrpSpPr/>
        <p:nvPr/>
      </p:nvGrpSpPr>
      <p:grpSpPr>
        <a:xfrm>
          <a:off x="0" y="0"/>
          <a:ext cx="0" cy="0"/>
          <a:chOff x="0" y="0"/>
          <a:chExt cx="0" cy="0"/>
        </a:xfrm>
      </p:grpSpPr>
      <p:sp>
        <p:nvSpPr>
          <p:cNvPr id="15" name="Rectangle">
            <a:extLst>
              <a:ext uri="{FF2B5EF4-FFF2-40B4-BE49-F238E27FC236}">
                <a16:creationId xmlns:a16="http://schemas.microsoft.com/office/drawing/2014/main" id="{A624A1C5-9AA4-6C47-80CC-AEA9A4061280}"/>
              </a:ext>
            </a:extLst>
          </p:cNvPr>
          <p:cNvSpPr/>
          <p:nvPr userDrawn="1"/>
        </p:nvSpPr>
        <p:spPr>
          <a:xfrm>
            <a:off x="0" y="6800850"/>
            <a:ext cx="12192000" cy="57151"/>
          </a:xfrm>
          <a:prstGeom prst="rect">
            <a:avLst/>
          </a:prstGeom>
          <a:gradFill>
            <a:gsLst>
              <a:gs pos="0">
                <a:schemeClr val="accent2"/>
              </a:gs>
              <a:gs pos="100000">
                <a:srgbClr val="4E88FF"/>
              </a:gs>
            </a:gsLst>
            <a:lin ang="19200000"/>
          </a:gradFill>
          <a:ln w="12700">
            <a:miter lim="400000"/>
          </a:ln>
        </p:spPr>
        <p:txBody>
          <a:bodyPr lIns="0" tIns="0" rIns="0" bIns="0" anchor="ctr"/>
          <a:lstStyle/>
          <a:p>
            <a:pPr lvl="0"/>
            <a:endParaRPr sz="1600" b="0">
              <a:solidFill>
                <a:srgbClr val="FFFFFF"/>
              </a:solidFill>
              <a:latin typeface="Xfinity Brown" panose="02010504010101010104" pitchFamily="2" charset="77"/>
              <a:ea typeface="+mn-ea"/>
              <a:cs typeface="Xfinity Brown" panose="02010504010101010104" pitchFamily="2" charset="77"/>
            </a:endParaRPr>
          </a:p>
        </p:txBody>
      </p:sp>
      <p:sp>
        <p:nvSpPr>
          <p:cNvPr id="10" name="Title 1">
            <a:extLst>
              <a:ext uri="{FF2B5EF4-FFF2-40B4-BE49-F238E27FC236}">
                <a16:creationId xmlns:a16="http://schemas.microsoft.com/office/drawing/2014/main" id="{5F343C3F-0B31-0043-8DED-28018FD60043}"/>
              </a:ext>
            </a:extLst>
          </p:cNvPr>
          <p:cNvSpPr>
            <a:spLocks noGrp="1"/>
          </p:cNvSpPr>
          <p:nvPr>
            <p:ph type="title" hasCustomPrompt="1"/>
          </p:nvPr>
        </p:nvSpPr>
        <p:spPr>
          <a:xfrm>
            <a:off x="683286" y="514928"/>
            <a:ext cx="10822913" cy="736356"/>
          </a:xfrm>
          <a:prstGeom prst="rect">
            <a:avLst/>
          </a:prstGeom>
        </p:spPr>
        <p:txBody>
          <a:bodyPr lIns="0" tIns="0" rIns="0" bIns="0" anchor="t"/>
          <a:lstStyle>
            <a:lvl1pPr marL="0" marR="0" indent="0" algn="l" defTabSz="412750" rtl="0" latinLnBrk="0">
              <a:lnSpc>
                <a:spcPct val="100000"/>
              </a:lnSpc>
              <a:spcBef>
                <a:spcPts val="0"/>
              </a:spcBef>
              <a:spcAft>
                <a:spcPts val="0"/>
              </a:spcAft>
              <a:buClrTx/>
              <a:buSzTx/>
              <a:buFontTx/>
              <a:buNone/>
              <a:tabLst/>
              <a:defRPr lang="en-US" sz="2400" b="1" i="0" u="none" strike="noStrike" cap="none" spc="0" baseline="0" dirty="0" smtClean="0">
                <a:solidFill>
                  <a:srgbClr val="000000"/>
                </a:solidFill>
                <a:uFillTx/>
                <a:latin typeface="Xfinity Brown"/>
                <a:ea typeface="Xfinity Brown"/>
                <a:cs typeface="Xfinity Brown"/>
                <a:sym typeface="Helvetica Neue"/>
              </a:defRPr>
            </a:lvl1pPr>
          </a:lstStyle>
          <a:p>
            <a:r>
              <a:rPr lang="en-US"/>
              <a:t>Click to edit </a:t>
            </a:r>
            <a:br>
              <a:rPr lang="en-US"/>
            </a:br>
            <a:r>
              <a:rPr lang="en-US"/>
              <a:t>Master title style</a:t>
            </a:r>
          </a:p>
        </p:txBody>
      </p:sp>
      <p:sp>
        <p:nvSpPr>
          <p:cNvPr id="13" name="Text Placeholder 2">
            <a:extLst>
              <a:ext uri="{FF2B5EF4-FFF2-40B4-BE49-F238E27FC236}">
                <a16:creationId xmlns:a16="http://schemas.microsoft.com/office/drawing/2014/main" id="{9C0A0041-E178-904B-B6E5-268856FAD7ED}"/>
              </a:ext>
            </a:extLst>
          </p:cNvPr>
          <p:cNvSpPr>
            <a:spLocks noGrp="1"/>
          </p:cNvSpPr>
          <p:nvPr>
            <p:ph type="body" sz="quarter" idx="25" hasCustomPrompt="1"/>
          </p:nvPr>
        </p:nvSpPr>
        <p:spPr>
          <a:xfrm>
            <a:off x="683286" y="255612"/>
            <a:ext cx="10822913" cy="201168"/>
          </a:xfrm>
          <a:prstGeom prst="rect">
            <a:avLst/>
          </a:prstGeom>
        </p:spPr>
        <p:txBody>
          <a:bodyPr lIns="0" tIns="0" rIns="0" bIns="0" anchor="ctr"/>
          <a:lstStyle>
            <a:lvl1pPr algn="l">
              <a:defRPr lang="en-US" sz="1000" b="1" cap="all" spc="200" baseline="0" dirty="0">
                <a:solidFill>
                  <a:schemeClr val="accent2"/>
                </a:solidFill>
                <a:latin typeface="Xfinity Brown"/>
                <a:ea typeface="Xfinity Brown"/>
                <a:cs typeface="Xfinity Brown"/>
              </a:defRPr>
            </a:lvl1pPr>
          </a:lstStyle>
          <a:p>
            <a:pPr lvl="0" algn="l"/>
            <a:r>
              <a:rPr lang="en-US"/>
              <a:t>OPTIONAL BREADCRUMB HERE</a:t>
            </a:r>
          </a:p>
        </p:txBody>
      </p:sp>
      <p:sp>
        <p:nvSpPr>
          <p:cNvPr id="21" name="Text Placeholder 5">
            <a:extLst>
              <a:ext uri="{FF2B5EF4-FFF2-40B4-BE49-F238E27FC236}">
                <a16:creationId xmlns:a16="http://schemas.microsoft.com/office/drawing/2014/main" id="{258D18E2-A226-F046-BB6F-02AB8806EECB}"/>
              </a:ext>
            </a:extLst>
          </p:cNvPr>
          <p:cNvSpPr>
            <a:spLocks noGrp="1"/>
          </p:cNvSpPr>
          <p:nvPr>
            <p:ph type="body" sz="quarter" idx="26"/>
          </p:nvPr>
        </p:nvSpPr>
        <p:spPr>
          <a:xfrm>
            <a:off x="683288" y="1636060"/>
            <a:ext cx="5123952" cy="4394350"/>
          </a:xfrm>
          <a:prstGeom prst="rect">
            <a:avLst/>
          </a:prstGeom>
        </p:spPr>
        <p:txBody>
          <a:bodyPr lIns="0" tIns="0" rIns="0" bIns="0"/>
          <a:lstStyle>
            <a:lvl1pPr algn="l">
              <a:defRPr sz="1600" b="0" i="0">
                <a:latin typeface="Xfinity Brown Light" panose="02010404010101010103" pitchFamily="2" charset="77"/>
                <a:cs typeface="Xfinity Brown Light" panose="02010404010101010103" pitchFamily="2" charset="77"/>
              </a:defRPr>
            </a:lvl1pPr>
            <a:lvl2pPr marL="274320" indent="-274320" algn="l">
              <a:spcBef>
                <a:spcPts val="600"/>
              </a:spcBef>
              <a:buFont typeface="Arial" panose="020B0604020202020204" pitchFamily="34" charset="0"/>
              <a:buChar char="•"/>
              <a:defRPr sz="1600" b="0" i="0">
                <a:latin typeface="Xfinity Brown Light" panose="02010404010101010103" pitchFamily="2" charset="77"/>
                <a:cs typeface="Xfinity Brown Light" panose="02010404010101010103" pitchFamily="2" charset="77"/>
              </a:defRPr>
            </a:lvl2pPr>
            <a:lvl3pPr marL="560070" indent="-285750" algn="l">
              <a:spcBef>
                <a:spcPts val="600"/>
              </a:spcBef>
              <a:buFont typeface="System Font Regular"/>
              <a:buChar char="–"/>
              <a:defRPr sz="1600" b="0" i="0">
                <a:latin typeface="Xfinity Brown Light" panose="02010404010101010103" pitchFamily="2" charset="77"/>
                <a:cs typeface="Xfinity Brown Light" panose="02010404010101010103" pitchFamily="2" charset="77"/>
              </a:defRPr>
            </a:lvl3pPr>
            <a:lvl4pPr marL="834390" indent="-285750" algn="l">
              <a:spcBef>
                <a:spcPts val="600"/>
              </a:spcBef>
              <a:buFont typeface="Courier New" panose="02070309020205020404" pitchFamily="49" charset="0"/>
              <a:buChar char="o"/>
              <a:defRPr sz="1600" b="0" i="0">
                <a:latin typeface="Xfinity Brown Light" panose="02010404010101010103" pitchFamily="2" charset="77"/>
                <a:cs typeface="Xfinity Brown Light" panose="02010404010101010103" pitchFamily="2" charset="77"/>
              </a:defRPr>
            </a:lvl4pPr>
            <a:lvl5pPr marL="1097280" indent="-274320" algn="l">
              <a:spcBef>
                <a:spcPts val="600"/>
              </a:spcBef>
              <a:buFont typeface="System Font Regular"/>
              <a:buChar char="–"/>
              <a:defRPr sz="1600" b="0" i="0">
                <a:latin typeface="Xfinity Brown Light" panose="02010404010101010103" pitchFamily="2" charset="77"/>
                <a:cs typeface="Xfinity Brown Light" panose="02010404010101010103"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5">
            <a:extLst>
              <a:ext uri="{FF2B5EF4-FFF2-40B4-BE49-F238E27FC236}">
                <a16:creationId xmlns:a16="http://schemas.microsoft.com/office/drawing/2014/main" id="{4419A683-EE38-0B4A-98C9-8C7A2C7CD0DA}"/>
              </a:ext>
            </a:extLst>
          </p:cNvPr>
          <p:cNvSpPr>
            <a:spLocks noGrp="1"/>
          </p:cNvSpPr>
          <p:nvPr>
            <p:ph type="body" sz="quarter" idx="31"/>
          </p:nvPr>
        </p:nvSpPr>
        <p:spPr>
          <a:xfrm>
            <a:off x="6442404" y="1636060"/>
            <a:ext cx="5063795" cy="4394350"/>
          </a:xfrm>
          <a:prstGeom prst="rect">
            <a:avLst/>
          </a:prstGeom>
        </p:spPr>
        <p:txBody>
          <a:bodyPr lIns="0" tIns="0" rIns="0" bIns="0"/>
          <a:lstStyle>
            <a:lvl1pPr algn="l">
              <a:defRPr sz="1600" b="0" i="0">
                <a:latin typeface="Xfinity Brown Light" panose="02010404010101010103" pitchFamily="2" charset="77"/>
                <a:cs typeface="Xfinity Brown Light" panose="02010404010101010103" pitchFamily="2" charset="77"/>
              </a:defRPr>
            </a:lvl1pPr>
            <a:lvl2pPr marL="274320" indent="-274320" algn="l">
              <a:spcBef>
                <a:spcPts val="600"/>
              </a:spcBef>
              <a:buFont typeface="Arial" panose="020B0604020202020204" pitchFamily="34" charset="0"/>
              <a:buChar char="•"/>
              <a:defRPr sz="1600" b="0" i="0">
                <a:latin typeface="Xfinity Brown Light" panose="02010404010101010103" pitchFamily="2" charset="77"/>
                <a:cs typeface="Xfinity Brown Light" panose="02010404010101010103" pitchFamily="2" charset="77"/>
              </a:defRPr>
            </a:lvl2pPr>
            <a:lvl3pPr marL="560070" indent="-285750" algn="l">
              <a:spcBef>
                <a:spcPts val="600"/>
              </a:spcBef>
              <a:buFont typeface="System Font Regular"/>
              <a:buChar char="–"/>
              <a:defRPr sz="1600" b="0" i="0">
                <a:latin typeface="Xfinity Brown Light" panose="02010404010101010103" pitchFamily="2" charset="77"/>
                <a:cs typeface="Xfinity Brown Light" panose="02010404010101010103" pitchFamily="2" charset="77"/>
              </a:defRPr>
            </a:lvl3pPr>
            <a:lvl4pPr marL="834390" indent="-285750" algn="l">
              <a:spcBef>
                <a:spcPts val="600"/>
              </a:spcBef>
              <a:buFont typeface="Courier New" panose="02070309020205020404" pitchFamily="49" charset="0"/>
              <a:buChar char="o"/>
              <a:defRPr sz="1600" b="0" i="0">
                <a:latin typeface="Xfinity Brown Light" panose="02010404010101010103" pitchFamily="2" charset="77"/>
                <a:cs typeface="Xfinity Brown Light" panose="02010404010101010103" pitchFamily="2" charset="77"/>
              </a:defRPr>
            </a:lvl4pPr>
            <a:lvl5pPr marL="1108710" indent="-285750" algn="l">
              <a:spcBef>
                <a:spcPts val="600"/>
              </a:spcBef>
              <a:buFont typeface="System Font Regular"/>
              <a:buChar char="–"/>
              <a:defRPr lang="en-US" sz="1600" b="0" i="0" u="none" strike="noStrike" cap="none" spc="0" baseline="0" dirty="0">
                <a:solidFill>
                  <a:srgbClr val="000000"/>
                </a:solidFill>
                <a:uFillTx/>
                <a:latin typeface="Xfinity Brown Light" panose="02010404010101010103" pitchFamily="2" charset="77"/>
                <a:ea typeface="Helvetica Neue"/>
                <a:cs typeface="Xfinity Brown Light" panose="02010404010101010103" pitchFamily="2" charset="77"/>
                <a:sym typeface="Helvetica Neu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Slide Number">
            <a:extLst>
              <a:ext uri="{FF2B5EF4-FFF2-40B4-BE49-F238E27FC236}">
                <a16:creationId xmlns:a16="http://schemas.microsoft.com/office/drawing/2014/main" id="{9B9D73A5-C9D4-4948-B0F2-B16B98106134}"/>
              </a:ext>
            </a:extLst>
          </p:cNvPr>
          <p:cNvSpPr txBox="1">
            <a:spLocks/>
          </p:cNvSpPr>
          <p:nvPr userDrawn="1"/>
        </p:nvSpPr>
        <p:spPr>
          <a:xfrm>
            <a:off x="11706508" y="6529515"/>
            <a:ext cx="241949" cy="128016"/>
          </a:xfrm>
          <a:prstGeom prst="rect">
            <a:avLst/>
          </a:prstGeom>
        </p:spPr>
        <p:txBody>
          <a:bodyPr lIns="0" tIns="0" rIns="0" bIns="0" anchor="ct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l" defTabSz="412750" rtl="0" fontAlgn="auto" latinLnBrk="0"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latin typeface="Xfinity Brown" panose="02010504010101010104" pitchFamily="2" charset="77"/>
                <a:ea typeface="Helvetica Neue"/>
                <a:cs typeface="Xfinity Brown" panose="02010504010101010104" pitchFamily="2" charset="77"/>
                <a:sym typeface="Helvetica Neue"/>
              </a:defRPr>
            </a:lvl1pPr>
            <a:lvl2pPr marL="0" marR="0" indent="1143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2pPr>
            <a:lvl3pPr marL="0" marR="0" indent="2286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3pPr>
            <a:lvl4pPr marL="0" marR="0" indent="3429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4pPr>
            <a:lvl5pPr marL="0" marR="0" indent="4572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5pPr>
            <a:lvl6pPr marL="0" marR="0" indent="5715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6pPr>
            <a:lvl7pPr marL="0" marR="0" indent="6858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7pPr>
            <a:lvl8pPr marL="0" marR="0" indent="8001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8pPr>
            <a:lvl9pPr marL="0" marR="0" indent="9144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9pPr>
          </a:lstStyle>
          <a:p>
            <a:fld id="{86CB4B4D-7CA3-9044-876B-883B54F8677D}" type="slidenum">
              <a:rPr lang="en-US" smtClean="0">
                <a:solidFill>
                  <a:schemeClr val="bg1">
                    <a:lumMod val="75000"/>
                  </a:schemeClr>
                </a:solidFill>
              </a:rPr>
              <a:pPr/>
              <a:t>‹#›</a:t>
            </a:fld>
            <a:endParaRPr lang="en-US">
              <a:solidFill>
                <a:schemeClr val="bg1">
                  <a:lumMod val="75000"/>
                </a:schemeClr>
              </a:solidFill>
            </a:endParaRPr>
          </a:p>
        </p:txBody>
      </p:sp>
      <p:cxnSp>
        <p:nvCxnSpPr>
          <p:cNvPr id="14" name="Straight Connector 13">
            <a:extLst>
              <a:ext uri="{FF2B5EF4-FFF2-40B4-BE49-F238E27FC236}">
                <a16:creationId xmlns:a16="http://schemas.microsoft.com/office/drawing/2014/main" id="{CA82CEF8-E78E-6241-ACEF-02E0F485B572}"/>
              </a:ext>
            </a:extLst>
          </p:cNvPr>
          <p:cNvCxnSpPr/>
          <p:nvPr userDrawn="1"/>
        </p:nvCxnSpPr>
        <p:spPr>
          <a:xfrm>
            <a:off x="11609074" y="6530688"/>
            <a:ext cx="0" cy="128016"/>
          </a:xfrm>
          <a:prstGeom prst="line">
            <a:avLst/>
          </a:prstGeom>
          <a:noFill/>
          <a:ln w="12700" cap="flat">
            <a:solidFill>
              <a:schemeClr val="bg1">
                <a:lumMod val="75000"/>
              </a:schemeClr>
            </a:solidFill>
            <a:prstDash val="solid"/>
            <a:miter lim="400000"/>
          </a:ln>
          <a:effectLst/>
          <a:sp3d/>
        </p:spPr>
        <p:style>
          <a:lnRef idx="0">
            <a:scrgbClr r="0" g="0" b="0"/>
          </a:lnRef>
          <a:fillRef idx="0">
            <a:scrgbClr r="0" g="0" b="0"/>
          </a:fillRef>
          <a:effectRef idx="0">
            <a:scrgbClr r="0" g="0" b="0"/>
          </a:effectRef>
          <a:fontRef idx="none"/>
        </p:style>
      </p:cxnSp>
      <p:pic>
        <p:nvPicPr>
          <p:cNvPr id="17" name="Graphic 16">
            <a:extLst>
              <a:ext uri="{FF2B5EF4-FFF2-40B4-BE49-F238E27FC236}">
                <a16:creationId xmlns:a16="http://schemas.microsoft.com/office/drawing/2014/main" id="{DBFD92AD-9B62-1040-899C-0EF2AF08919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795512" y="6401209"/>
            <a:ext cx="692704" cy="243383"/>
          </a:xfrm>
          <a:prstGeom prst="rect">
            <a:avLst/>
          </a:prstGeom>
        </p:spPr>
      </p:pic>
      <p:sp>
        <p:nvSpPr>
          <p:cNvPr id="23" name="Shape 338">
            <a:extLst>
              <a:ext uri="{FF2B5EF4-FFF2-40B4-BE49-F238E27FC236}">
                <a16:creationId xmlns:a16="http://schemas.microsoft.com/office/drawing/2014/main" id="{81B8EEB8-AA9B-3C48-97E0-2274760D0B6B}"/>
              </a:ext>
            </a:extLst>
          </p:cNvPr>
          <p:cNvSpPr txBox="1">
            <a:spLocks/>
          </p:cNvSpPr>
          <p:nvPr userDrawn="1"/>
        </p:nvSpPr>
        <p:spPr>
          <a:xfrm>
            <a:off x="4649562" y="6545532"/>
            <a:ext cx="2969075" cy="342900"/>
          </a:xfrm>
          <a:prstGeom prst="rect">
            <a:avLst/>
          </a:prstGeom>
          <a:ln w="12700">
            <a:miter lim="400000"/>
          </a:ln>
          <a:extLst>
            <a:ext uri="{C572A759-6A51-4108-AA02-DFA0A04FC94B}">
              <ma14:wrappingTextBoxFlag xmlns:ma14="http://schemas.microsoft.com/office/mac/drawingml/2011/main" xmlns="" val="1"/>
            </a:ext>
          </a:extLst>
        </p:spPr>
        <p:txBody>
          <a:bodyPr wrap="none" lIns="19048" tIns="19048" rIns="19048" bIns="19048">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825500" rtl="0" fontAlgn="auto" latinLnBrk="0" hangingPunct="0">
              <a:lnSpc>
                <a:spcPct val="100000"/>
              </a:lnSpc>
              <a:spcBef>
                <a:spcPts val="0"/>
              </a:spcBef>
              <a:spcAft>
                <a:spcPts val="0"/>
              </a:spcAft>
              <a:buClrTx/>
              <a:buSzTx/>
              <a:buFontTx/>
              <a:buNone/>
              <a:tabLst/>
              <a:defRPr kumimoji="0" sz="2800" b="0" i="0" u="none" strike="noStrike" cap="none" spc="0" normalizeH="0" baseline="0">
                <a:ln>
                  <a:noFill/>
                </a:ln>
                <a:solidFill>
                  <a:srgbClr val="FFFFFF"/>
                </a:solidFill>
                <a:effectLst/>
                <a:uFillTx/>
                <a:latin typeface="+mj-lt"/>
                <a:ea typeface="+mj-ea"/>
                <a:cs typeface="+mj-cs"/>
                <a:sym typeface="Gotham Light"/>
              </a:defRPr>
            </a:lvl1pPr>
            <a:lvl2pPr marL="0" marR="0" indent="3429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2pPr>
            <a:lvl3pPr marL="0" marR="0" indent="6858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3pPr>
            <a:lvl4pPr marL="0" marR="0" indent="10287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4pPr>
            <a:lvl5pPr marL="0" marR="0" indent="13716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5pPr>
            <a:lvl6pPr marL="0" marR="0" indent="17145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6pPr>
            <a:lvl7pPr marL="0" marR="0" indent="20574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7pPr>
            <a:lvl8pPr marL="0" marR="0" indent="24003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8pPr>
            <a:lvl9pPr marL="0" marR="0" indent="27432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9pPr>
          </a:lstStyle>
          <a:p>
            <a:pPr algn="l" defTabSz="309546">
              <a:defRPr/>
            </a:pPr>
            <a:r>
              <a:rPr lang="en-US" sz="600" b="0" i="0" cap="all" spc="113">
                <a:solidFill>
                  <a:schemeClr val="bg2"/>
                </a:solidFill>
                <a:latin typeface="Xfinity Brown" panose="02010504010101010104" pitchFamily="2" charset="77"/>
                <a:ea typeface="Helvetica Neue" charset="0"/>
                <a:cs typeface="Xfinity Brown" panose="02010504010101010104" pitchFamily="2" charset="77"/>
              </a:rPr>
              <a:t>Comcast | Confidential and proprietary information</a:t>
            </a:r>
          </a:p>
        </p:txBody>
      </p:sp>
      <p:pic>
        <p:nvPicPr>
          <p:cNvPr id="2" name="Picture 1">
            <a:extLst>
              <a:ext uri="{FF2B5EF4-FFF2-40B4-BE49-F238E27FC236}">
                <a16:creationId xmlns:a16="http://schemas.microsoft.com/office/drawing/2014/main" id="{5138F37C-39E4-F796-5A6D-AC44F99E8C45}"/>
              </a:ext>
            </a:extLst>
          </p:cNvPr>
          <p:cNvPicPr>
            <a:picLocks noChangeAspect="1"/>
          </p:cNvPicPr>
          <p:nvPr userDrawn="1"/>
        </p:nvPicPr>
        <p:blipFill>
          <a:blip r:embed="rId4"/>
          <a:srcRect/>
          <a:stretch/>
        </p:blipFill>
        <p:spPr>
          <a:xfrm>
            <a:off x="272536" y="6368055"/>
            <a:ext cx="1200151" cy="342900"/>
          </a:xfrm>
          <a:prstGeom prst="rect">
            <a:avLst/>
          </a:prstGeom>
        </p:spPr>
      </p:pic>
    </p:spTree>
    <p:extLst>
      <p:ext uri="{BB962C8B-B14F-4D97-AF65-F5344CB8AC3E}">
        <p14:creationId xmlns:p14="http://schemas.microsoft.com/office/powerpoint/2010/main" val="1711108307"/>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432">
          <p15:clr>
            <a:srgbClr val="FBAE40"/>
          </p15:clr>
        </p15:guide>
        <p15:guide id="3" pos="7248">
          <p15:clr>
            <a:srgbClr val="FBAE40"/>
          </p15:clr>
        </p15:guide>
        <p15:guide id="4" orient="horz" pos="1008">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Content Slide - 2 Col w/Image Left">
    <p:spTree>
      <p:nvGrpSpPr>
        <p:cNvPr id="1" name=""/>
        <p:cNvGrpSpPr/>
        <p:nvPr/>
      </p:nvGrpSpPr>
      <p:grpSpPr>
        <a:xfrm>
          <a:off x="0" y="0"/>
          <a:ext cx="0" cy="0"/>
          <a:chOff x="0" y="0"/>
          <a:chExt cx="0" cy="0"/>
        </a:xfrm>
      </p:grpSpPr>
      <p:sp>
        <p:nvSpPr>
          <p:cNvPr id="19" name="Text Placeholder 5">
            <a:extLst>
              <a:ext uri="{FF2B5EF4-FFF2-40B4-BE49-F238E27FC236}">
                <a16:creationId xmlns:a16="http://schemas.microsoft.com/office/drawing/2014/main" id="{3F686C8C-E081-5242-90B9-38796068D595}"/>
              </a:ext>
            </a:extLst>
          </p:cNvPr>
          <p:cNvSpPr>
            <a:spLocks noGrp="1"/>
          </p:cNvSpPr>
          <p:nvPr>
            <p:ph type="body" sz="quarter" idx="26"/>
          </p:nvPr>
        </p:nvSpPr>
        <p:spPr>
          <a:xfrm>
            <a:off x="6102349" y="1339033"/>
            <a:ext cx="5632450" cy="4630408"/>
          </a:xfrm>
          <a:prstGeom prst="rect">
            <a:avLst/>
          </a:prstGeom>
        </p:spPr>
        <p:txBody>
          <a:bodyPr lIns="0" tIns="0" rIns="0" bIns="0"/>
          <a:lstStyle>
            <a:lvl1pPr marL="0" indent="0" algn="l">
              <a:buNone/>
              <a:defRPr sz="1800" b="0" i="0">
                <a:latin typeface="Arial" panose="020B0604020202020204" pitchFamily="34" charset="0"/>
                <a:cs typeface="Arial" panose="020B0604020202020204" pitchFamily="34" charset="0"/>
              </a:defRPr>
            </a:lvl1pPr>
            <a:lvl2pPr marL="174625" indent="-174625" algn="l">
              <a:spcBef>
                <a:spcPts val="1200"/>
              </a:spcBef>
              <a:buFont typeface="Arial" panose="020B0604020202020204" pitchFamily="34" charset="0"/>
              <a:buChar char="•"/>
              <a:tabLst/>
              <a:defRPr sz="1800" b="0" i="0">
                <a:latin typeface="Arial" panose="020B0604020202020204" pitchFamily="34" charset="0"/>
                <a:cs typeface="Arial" panose="020B0604020202020204" pitchFamily="34" charset="0"/>
              </a:defRPr>
            </a:lvl2pPr>
            <a:lvl3pPr marL="560070" indent="-285750" algn="l">
              <a:spcBef>
                <a:spcPts val="1200"/>
              </a:spcBef>
              <a:buFont typeface="Arial" panose="020B0604020202020204" pitchFamily="34" charset="0"/>
              <a:buChar char="–"/>
              <a:defRPr sz="1800" b="0" i="0">
                <a:latin typeface="Arial" panose="020B0604020202020204" pitchFamily="34" charset="0"/>
                <a:cs typeface="Arial" panose="020B0604020202020204" pitchFamily="34" charset="0"/>
              </a:defRPr>
            </a:lvl3pPr>
            <a:lvl4pPr marL="834390" indent="-285750" algn="l">
              <a:spcBef>
                <a:spcPts val="1200"/>
              </a:spcBef>
              <a:buFont typeface="Arial" panose="020B0604020202020204" pitchFamily="34" charset="0"/>
              <a:buChar char="o"/>
              <a:defRPr sz="1600" b="0" i="0">
                <a:latin typeface="Arial" panose="020B0604020202020204" pitchFamily="34" charset="0"/>
                <a:cs typeface="Arial" panose="020B0604020202020204" pitchFamily="34" charset="0"/>
              </a:defRPr>
            </a:lvl4pPr>
            <a:lvl5pPr marL="1108710" indent="-285750" algn="l">
              <a:defRPr lang="en-US" sz="1400" b="0" i="0" u="none" strike="noStrike" cap="none" spc="0" baseline="0" dirty="0">
                <a:solidFill>
                  <a:srgbClr val="000000"/>
                </a:solidFill>
                <a:uFillTx/>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a:extLst>
              <a:ext uri="{FF2B5EF4-FFF2-40B4-BE49-F238E27FC236}">
                <a16:creationId xmlns:a16="http://schemas.microsoft.com/office/drawing/2014/main" id="{F21AE09E-697C-FC45-9E96-2E45E76886AB}"/>
              </a:ext>
            </a:extLst>
          </p:cNvPr>
          <p:cNvSpPr>
            <a:spLocks noGrp="1"/>
          </p:cNvSpPr>
          <p:nvPr>
            <p:ph type="title"/>
          </p:nvPr>
        </p:nvSpPr>
        <p:spPr>
          <a:xfrm>
            <a:off x="463548" y="514928"/>
            <a:ext cx="11271251" cy="365760"/>
          </a:xfrm>
          <a:prstGeom prst="rect">
            <a:avLst/>
          </a:prstGeom>
        </p:spPr>
        <p:txBody>
          <a:bodyPr lIns="0" tIns="0" rIns="0" bIns="0" anchor="t"/>
          <a:lstStyle>
            <a:lvl1pPr marL="0" marR="0" indent="0" algn="l" defTabSz="412750" rtl="0" latinLnBrk="0">
              <a:lnSpc>
                <a:spcPct val="100000"/>
              </a:lnSpc>
              <a:spcBef>
                <a:spcPts val="0"/>
              </a:spcBef>
              <a:spcAft>
                <a:spcPts val="0"/>
              </a:spcAft>
              <a:buClrTx/>
              <a:buSzTx/>
              <a:buFontTx/>
              <a:buNone/>
              <a:tabLst/>
              <a:defRPr lang="en-US" sz="2200" b="1" i="0" u="none" strike="noStrike" cap="none" spc="0" baseline="0" dirty="0" smtClean="0">
                <a:solidFill>
                  <a:srgbClr val="000000"/>
                </a:solidFill>
                <a:uFillTx/>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stStyle>
          <a:p>
            <a:r>
              <a:rPr lang="en-US"/>
              <a:t>Click to edit Master title style</a:t>
            </a:r>
          </a:p>
        </p:txBody>
      </p:sp>
      <p:sp>
        <p:nvSpPr>
          <p:cNvPr id="10" name="Text Placeholder 2">
            <a:extLst>
              <a:ext uri="{FF2B5EF4-FFF2-40B4-BE49-F238E27FC236}">
                <a16:creationId xmlns:a16="http://schemas.microsoft.com/office/drawing/2014/main" id="{E4AEF971-9BCB-1E42-9E22-F8D1F1044C95}"/>
              </a:ext>
            </a:extLst>
          </p:cNvPr>
          <p:cNvSpPr>
            <a:spLocks noGrp="1"/>
          </p:cNvSpPr>
          <p:nvPr>
            <p:ph type="body" sz="quarter" idx="25" hasCustomPrompt="1"/>
          </p:nvPr>
        </p:nvSpPr>
        <p:spPr>
          <a:xfrm>
            <a:off x="463548" y="255612"/>
            <a:ext cx="11271251" cy="201168"/>
          </a:xfrm>
          <a:prstGeom prst="rect">
            <a:avLst/>
          </a:prstGeom>
        </p:spPr>
        <p:txBody>
          <a:bodyPr lIns="0" tIns="0" rIns="0" bIns="0" anchor="ctr"/>
          <a:lstStyle>
            <a:lvl1pPr marL="0" indent="0" algn="l">
              <a:buNone/>
              <a:defRPr lang="en-US" sz="1000" b="0" i="0" cap="all" spc="200" baseline="0" dirty="0">
                <a:solidFill>
                  <a:schemeClr val="accent1"/>
                </a:solidFill>
                <a:latin typeface="Arial" panose="020B0604020202020204" pitchFamily="34" charset="0"/>
                <a:ea typeface="Arial" panose="020B0604020202020204" pitchFamily="34" charset="0"/>
                <a:cs typeface="Arial" panose="020B0604020202020204" pitchFamily="34" charset="0"/>
              </a:defRPr>
            </a:lvl1pPr>
          </a:lstStyle>
          <a:p>
            <a:pPr lvl="0" algn="l"/>
            <a:r>
              <a:rPr lang="en-US"/>
              <a:t>OPTIONAL BREADCRUMB HERE</a:t>
            </a:r>
          </a:p>
        </p:txBody>
      </p:sp>
      <p:sp>
        <p:nvSpPr>
          <p:cNvPr id="8" name="Slide Number Placeholder 5">
            <a:extLst>
              <a:ext uri="{FF2B5EF4-FFF2-40B4-BE49-F238E27FC236}">
                <a16:creationId xmlns:a16="http://schemas.microsoft.com/office/drawing/2014/main" id="{3DB84E04-7731-345F-77EA-3F29E135A0BC}"/>
              </a:ext>
            </a:extLst>
          </p:cNvPr>
          <p:cNvSpPr txBox="1">
            <a:spLocks/>
          </p:cNvSpPr>
          <p:nvPr userDrawn="1"/>
        </p:nvSpPr>
        <p:spPr>
          <a:xfrm>
            <a:off x="11341100" y="6424613"/>
            <a:ext cx="393700" cy="200025"/>
          </a:xfrm>
          <a:prstGeom prst="rect">
            <a:avLst/>
          </a:prstGeom>
        </p:spPr>
        <p:txBody>
          <a:bodyPr vert="horz" lIns="0" tIns="0" rIns="0" bIns="0" rtlCol="0" anchor="ctr">
            <a:noAutofit/>
          </a:bodyPr>
          <a:lstStyle>
            <a:defPPr>
              <a:defRPr lang="en-US"/>
            </a:defPPr>
            <a:lvl1pPr algn="r" rtl="0" eaLnBrk="1" fontAlgn="auto" hangingPunct="1">
              <a:spcBef>
                <a:spcPts val="0"/>
              </a:spcBef>
              <a:spcAft>
                <a:spcPts val="0"/>
              </a:spcAft>
              <a:defRPr sz="800" kern="1200">
                <a:solidFill>
                  <a:schemeClr val="tx2"/>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defRPr/>
            </a:pPr>
            <a:fld id="{5F05AE8C-CF5F-4A4E-B69B-C9D8FA4EC18A}" type="slidenum">
              <a:rPr lang="en-US" smtClean="0">
                <a:solidFill>
                  <a:srgbClr val="112F64"/>
                </a:solidFill>
                <a:latin typeface="Arial" panose="020B0604020202020204" pitchFamily="34" charset="0"/>
              </a:rPr>
              <a:pPr>
                <a:defRPr/>
              </a:pPr>
              <a:t>‹#›</a:t>
            </a:fld>
            <a:endParaRPr lang="en-US">
              <a:solidFill>
                <a:srgbClr val="112F64"/>
              </a:solidFill>
              <a:latin typeface="Arial" panose="020B0604020202020204" pitchFamily="34" charset="0"/>
            </a:endParaRPr>
          </a:p>
        </p:txBody>
      </p:sp>
      <p:sp>
        <p:nvSpPr>
          <p:cNvPr id="11" name="Footer Placeholder 4">
            <a:extLst>
              <a:ext uri="{FF2B5EF4-FFF2-40B4-BE49-F238E27FC236}">
                <a16:creationId xmlns:a16="http://schemas.microsoft.com/office/drawing/2014/main" id="{75064991-9187-8694-627F-2FECE8244915}"/>
              </a:ext>
            </a:extLst>
          </p:cNvPr>
          <p:cNvSpPr txBox="1">
            <a:spLocks/>
          </p:cNvSpPr>
          <p:nvPr userDrawn="1"/>
        </p:nvSpPr>
        <p:spPr>
          <a:xfrm>
            <a:off x="463550" y="6427788"/>
            <a:ext cx="4114800" cy="198437"/>
          </a:xfrm>
          <a:prstGeom prst="rect">
            <a:avLst/>
          </a:prstGeom>
        </p:spPr>
        <p:txBody>
          <a:bodyPr vert="horz" lIns="0" tIns="0" rIns="0" bIns="0" rtlCol="0" anchor="ctr">
            <a:noAutofit/>
          </a:bodyPr>
          <a:lstStyle>
            <a:defPPr>
              <a:defRPr lang="en-US"/>
            </a:defPPr>
            <a:lvl1pPr algn="l" rtl="0" eaLnBrk="1" fontAlgn="auto" hangingPunct="1">
              <a:spcBef>
                <a:spcPts val="0"/>
              </a:spcBef>
              <a:spcAft>
                <a:spcPts val="0"/>
              </a:spcAft>
              <a:defRPr sz="800" kern="1200">
                <a:solidFill>
                  <a:schemeClr val="tx1"/>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defRPr/>
            </a:pPr>
            <a:r>
              <a:rPr lang="en-US">
                <a:solidFill>
                  <a:srgbClr val="000000"/>
                </a:solidFill>
                <a:latin typeface="Arial" panose="020B0604020202020204" pitchFamily="34" charset="0"/>
              </a:rPr>
              <a:t>© 2023 Comcast. All rights reserved.</a:t>
            </a:r>
          </a:p>
        </p:txBody>
      </p:sp>
      <p:sp>
        <p:nvSpPr>
          <p:cNvPr id="5" name="Picture Placeholder 4">
            <a:extLst>
              <a:ext uri="{FF2B5EF4-FFF2-40B4-BE49-F238E27FC236}">
                <a16:creationId xmlns:a16="http://schemas.microsoft.com/office/drawing/2014/main" id="{D056465B-E1E1-AEA6-53A4-7E88177F3B48}"/>
              </a:ext>
            </a:extLst>
          </p:cNvPr>
          <p:cNvSpPr>
            <a:spLocks noGrp="1"/>
          </p:cNvSpPr>
          <p:nvPr>
            <p:ph type="pic" sz="quarter" idx="28" hasCustomPrompt="1"/>
          </p:nvPr>
        </p:nvSpPr>
        <p:spPr>
          <a:xfrm>
            <a:off x="0" y="1339034"/>
            <a:ext cx="5632450" cy="4630408"/>
          </a:xfrm>
          <a:custGeom>
            <a:avLst/>
            <a:gdLst>
              <a:gd name="connsiteX0" fmla="*/ 0 w 5632450"/>
              <a:gd name="connsiteY0" fmla="*/ 0 h 4630408"/>
              <a:gd name="connsiteX1" fmla="*/ 3317246 w 5632450"/>
              <a:gd name="connsiteY1" fmla="*/ 0 h 4630408"/>
              <a:gd name="connsiteX2" fmla="*/ 5632450 w 5632450"/>
              <a:gd name="connsiteY2" fmla="*/ 2315204 h 4630408"/>
              <a:gd name="connsiteX3" fmla="*/ 3317246 w 5632450"/>
              <a:gd name="connsiteY3" fmla="*/ 4630408 h 4630408"/>
              <a:gd name="connsiteX4" fmla="*/ 0 w 5632450"/>
              <a:gd name="connsiteY4" fmla="*/ 4630408 h 4630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32450" h="4630408">
                <a:moveTo>
                  <a:pt x="0" y="0"/>
                </a:moveTo>
                <a:lnTo>
                  <a:pt x="3317246" y="0"/>
                </a:lnTo>
                <a:cubicBezTo>
                  <a:pt x="4595898" y="0"/>
                  <a:pt x="5632450" y="1036552"/>
                  <a:pt x="5632450" y="2315204"/>
                </a:cubicBezTo>
                <a:cubicBezTo>
                  <a:pt x="5632450" y="3593856"/>
                  <a:pt x="4595898" y="4630408"/>
                  <a:pt x="3317246" y="4630408"/>
                </a:cubicBezTo>
                <a:lnTo>
                  <a:pt x="0" y="4630408"/>
                </a:lnTo>
                <a:close/>
              </a:path>
            </a:pathLst>
          </a:custGeom>
          <a:solidFill>
            <a:schemeClr val="bg1">
              <a:lumMod val="95000"/>
            </a:schemeClr>
          </a:solidFill>
        </p:spPr>
        <p:txBody>
          <a:bodyPr wrap="square" bIns="1371600" anchor="ctr">
            <a:noAutofit/>
          </a:bodyPr>
          <a:lstStyle>
            <a:lvl1pPr marL="0" marR="0" indent="0" algn="ctr" defTabSz="914400" rtl="0" eaLnBrk="1" fontAlgn="base" latinLnBrk="0" hangingPunct="1">
              <a:lnSpc>
                <a:spcPct val="95000"/>
              </a:lnSpc>
              <a:spcBef>
                <a:spcPts val="1000"/>
              </a:spcBef>
              <a:spcAft>
                <a:spcPct val="0"/>
              </a:spcAft>
              <a:buClrTx/>
              <a:buSzTx/>
              <a:buFont typeface="Arial" panose="020B0604020202020204" pitchFamily="34" charset="0"/>
              <a:buNone/>
              <a:tabLst/>
              <a:defRPr>
                <a:solidFill>
                  <a:schemeClr val="accent1"/>
                </a:solidFill>
              </a:defRPr>
            </a:lvl1pPr>
          </a:lstStyle>
          <a:p>
            <a:r>
              <a:rPr lang="en-US"/>
              <a:t>Drag picture to placeholder</a:t>
            </a:r>
            <a:br>
              <a:rPr lang="en-US"/>
            </a:br>
            <a:r>
              <a:rPr lang="en-US"/>
              <a:t>or click icon to add.</a:t>
            </a:r>
          </a:p>
        </p:txBody>
      </p:sp>
    </p:spTree>
    <p:extLst>
      <p:ext uri="{BB962C8B-B14F-4D97-AF65-F5344CB8AC3E}">
        <p14:creationId xmlns:p14="http://schemas.microsoft.com/office/powerpoint/2010/main" val="1553805774"/>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432">
          <p15:clr>
            <a:srgbClr val="FBAE40"/>
          </p15:clr>
        </p15:guide>
        <p15:guide id="3" pos="7248">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3">
            <a:extLst>
              <a:ext uri="{FF2B5EF4-FFF2-40B4-BE49-F238E27FC236}">
                <a16:creationId xmlns:a16="http://schemas.microsoft.com/office/drawing/2014/main" id="{A5F56953-5C19-44BA-876B-533BF103DC43}"/>
              </a:ext>
            </a:extLst>
          </p:cNvPr>
          <p:cNvSpPr>
            <a:spLocks noGrp="1"/>
          </p:cNvSpPr>
          <p:nvPr>
            <p:ph type="sldNum" sz="quarter" idx="10"/>
          </p:nvPr>
        </p:nvSpPr>
        <p:spPr/>
        <p:txBody>
          <a:bodyPr/>
          <a:lstStyle>
            <a:lvl1pPr>
              <a:defRPr/>
            </a:lvl1pPr>
          </a:lstStyle>
          <a:p>
            <a:pPr>
              <a:defRPr/>
            </a:pPr>
            <a:fld id="{4B0ED8DB-84B1-4EAA-BC65-0B9B530EC627}" type="slidenum">
              <a:rPr lang="en-US"/>
              <a:pPr>
                <a:defRPr/>
              </a:pPr>
              <a:t>‹#›</a:t>
            </a:fld>
            <a:endParaRPr lang="en-US"/>
          </a:p>
        </p:txBody>
      </p:sp>
      <p:sp>
        <p:nvSpPr>
          <p:cNvPr id="3" name="Footer Placeholder 4">
            <a:extLst>
              <a:ext uri="{FF2B5EF4-FFF2-40B4-BE49-F238E27FC236}">
                <a16:creationId xmlns:a16="http://schemas.microsoft.com/office/drawing/2014/main" id="{7379CE49-110A-409A-B246-2599257D74BF}"/>
              </a:ext>
            </a:extLst>
          </p:cNvPr>
          <p:cNvSpPr>
            <a:spLocks noGrp="1"/>
          </p:cNvSpPr>
          <p:nvPr>
            <p:ph type="ftr" sz="quarter" idx="11"/>
          </p:nvPr>
        </p:nvSpPr>
        <p:spPr/>
        <p:txBody>
          <a:bodyPr/>
          <a:lstStyle>
            <a:lvl1pPr algn="l" eaLnBrk="1" fontAlgn="auto" hangingPunct="1">
              <a:spcBef>
                <a:spcPts val="0"/>
              </a:spcBef>
              <a:spcAft>
                <a:spcPts val="0"/>
              </a:spcAft>
              <a:defRPr sz="800">
                <a:solidFill>
                  <a:schemeClr val="tx1"/>
                </a:solidFill>
                <a:latin typeface="+mn-lt"/>
              </a:defRPr>
            </a:lvl1pPr>
          </a:lstStyle>
          <a:p>
            <a:pPr>
              <a:defRPr/>
            </a:pPr>
            <a:r>
              <a:rPr lang="en-US"/>
              <a:t>© 2024 Comcast. All rights reserved.</a:t>
            </a:r>
          </a:p>
        </p:txBody>
      </p:sp>
    </p:spTree>
    <p:extLst>
      <p:ext uri="{BB962C8B-B14F-4D97-AF65-F5344CB8AC3E}">
        <p14:creationId xmlns:p14="http://schemas.microsoft.com/office/powerpoint/2010/main" val="35061097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BA7648-A50A-5CBA-7663-7809FFE1D22C}"/>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87280CDB-6753-A59F-6391-DB45B36A93F3}"/>
              </a:ext>
            </a:extLst>
          </p:cNvPr>
          <p:cNvSpPr>
            <a:spLocks noGrp="1"/>
          </p:cNvSpPr>
          <p:nvPr>
            <p:ph idx="1"/>
          </p:nvPr>
        </p:nvSpPr>
        <p:spPr>
          <a:xfrm>
            <a:off x="838200" y="1825625"/>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7FD05194-11EE-7E0A-E461-EE94E3929E98}"/>
              </a:ext>
            </a:extLst>
          </p:cNvPr>
          <p:cNvSpPr>
            <a:spLocks noGrp="1"/>
          </p:cNvSpPr>
          <p:nvPr>
            <p:ph type="ftr" sz="quarter" idx="10"/>
          </p:nvPr>
        </p:nvSpPr>
        <p:spPr/>
        <p:txBody>
          <a:bodyPr/>
          <a:lstStyle/>
          <a:p>
            <a:pPr>
              <a:defRPr/>
            </a:pPr>
            <a:r>
              <a:rPr lang="en-US"/>
              <a:t>© 2024 Comcast. All rights reserved.</a:t>
            </a:r>
          </a:p>
        </p:txBody>
      </p:sp>
      <p:sp>
        <p:nvSpPr>
          <p:cNvPr id="5" name="Slide Number Placeholder 4">
            <a:extLst>
              <a:ext uri="{FF2B5EF4-FFF2-40B4-BE49-F238E27FC236}">
                <a16:creationId xmlns:a16="http://schemas.microsoft.com/office/drawing/2014/main" id="{AF55B47E-3A6F-FE4F-A98A-DDAC7FB32037}"/>
              </a:ext>
            </a:extLst>
          </p:cNvPr>
          <p:cNvSpPr>
            <a:spLocks noGrp="1"/>
          </p:cNvSpPr>
          <p:nvPr>
            <p:ph type="sldNum" sz="quarter" idx="11"/>
          </p:nvPr>
        </p:nvSpPr>
        <p:spPr/>
        <p:txBody>
          <a:bodyPr/>
          <a:lstStyle/>
          <a:p>
            <a:pPr>
              <a:defRPr/>
            </a:pPr>
            <a:fld id="{0328BF2B-1211-4EAA-8AE9-62488A2F8B31}" type="slidenum">
              <a:rPr lang="en-US" smtClean="0"/>
              <a:pPr>
                <a:defRPr/>
              </a:pPr>
              <a:t>‹#›</a:t>
            </a:fld>
            <a:endParaRPr lang="en-US"/>
          </a:p>
        </p:txBody>
      </p:sp>
    </p:spTree>
    <p:extLst>
      <p:ext uri="{BB962C8B-B14F-4D97-AF65-F5344CB8AC3E}">
        <p14:creationId xmlns:p14="http://schemas.microsoft.com/office/powerpoint/2010/main" val="245585486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1">
    <p:bg>
      <p:bgPr>
        <a:solidFill>
          <a:schemeClr val="bg2"/>
        </a:solidFill>
        <a:effectLst/>
      </p:bgPr>
    </p:bg>
    <p:spTree>
      <p:nvGrpSpPr>
        <p:cNvPr id="1" name=""/>
        <p:cNvGrpSpPr/>
        <p:nvPr/>
      </p:nvGrpSpPr>
      <p:grpSpPr>
        <a:xfrm>
          <a:off x="0" y="0"/>
          <a:ext cx="0" cy="0"/>
          <a:chOff x="0" y="0"/>
          <a:chExt cx="0" cy="0"/>
        </a:xfrm>
      </p:grpSpPr>
      <p:sp>
        <p:nvSpPr>
          <p:cNvPr id="60" name="Rectangle 59">
            <a:extLst>
              <a:ext uri="{FF2B5EF4-FFF2-40B4-BE49-F238E27FC236}">
                <a16:creationId xmlns:a16="http://schemas.microsoft.com/office/drawing/2014/main" id="{D2D2B093-F202-7B1C-0AC4-DF26CF46B1B5}"/>
              </a:ext>
            </a:extLst>
          </p:cNvPr>
          <p:cNvSpPr/>
          <p:nvPr userDrawn="1"/>
        </p:nvSpPr>
        <p:spPr>
          <a:xfrm>
            <a:off x="0" y="0"/>
            <a:ext cx="6258296"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Picture Placeholder 13">
            <a:extLst>
              <a:ext uri="{FF2B5EF4-FFF2-40B4-BE49-F238E27FC236}">
                <a16:creationId xmlns:a16="http://schemas.microsoft.com/office/drawing/2014/main" id="{5CF400B9-D5A9-D3EF-2FF5-F2291659B9C2}"/>
              </a:ext>
            </a:extLst>
          </p:cNvPr>
          <p:cNvSpPr>
            <a:spLocks noGrp="1"/>
          </p:cNvSpPr>
          <p:nvPr>
            <p:ph type="pic" sz="quarter" idx="11" hasCustomPrompt="1"/>
          </p:nvPr>
        </p:nvSpPr>
        <p:spPr>
          <a:xfrm>
            <a:off x="2829298" y="0"/>
            <a:ext cx="8614395" cy="6857998"/>
          </a:xfrm>
          <a:custGeom>
            <a:avLst/>
            <a:gdLst>
              <a:gd name="connsiteX0" fmla="*/ 0 w 8614395"/>
              <a:gd name="connsiteY0" fmla="*/ 0 h 6857998"/>
              <a:gd name="connsiteX1" fmla="*/ 5185395 w 8614395"/>
              <a:gd name="connsiteY1" fmla="*/ 0 h 6857998"/>
              <a:gd name="connsiteX2" fmla="*/ 8614395 w 8614395"/>
              <a:gd name="connsiteY2" fmla="*/ 3428999 h 6857998"/>
              <a:gd name="connsiteX3" fmla="*/ 8460234 w 8614395"/>
              <a:gd name="connsiteY3" fmla="*/ 4448679 h 6857998"/>
              <a:gd name="connsiteX4" fmla="*/ 8419485 w 8614395"/>
              <a:gd name="connsiteY4" fmla="*/ 4560012 h 6857998"/>
              <a:gd name="connsiteX5" fmla="*/ 7840460 w 8614395"/>
              <a:gd name="connsiteY5" fmla="*/ 4560012 h 6857998"/>
              <a:gd name="connsiteX6" fmla="*/ 6932828 w 8614395"/>
              <a:gd name="connsiteY6" fmla="*/ 5379072 h 6857998"/>
              <a:gd name="connsiteX7" fmla="*/ 6928118 w 8614395"/>
              <a:gd name="connsiteY7" fmla="*/ 5472354 h 6857998"/>
              <a:gd name="connsiteX8" fmla="*/ 6932828 w 8614395"/>
              <a:gd name="connsiteY8" fmla="*/ 5565635 h 6857998"/>
              <a:gd name="connsiteX9" fmla="*/ 7227021 w 8614395"/>
              <a:gd name="connsiteY9" fmla="*/ 6147685 h 6857998"/>
              <a:gd name="connsiteX10" fmla="*/ 7248047 w 8614395"/>
              <a:gd name="connsiteY10" fmla="*/ 6163602 h 6857998"/>
              <a:gd name="connsiteX11" fmla="*/ 7102581 w 8614395"/>
              <a:gd name="connsiteY11" fmla="*/ 6272379 h 6857998"/>
              <a:gd name="connsiteX12" fmla="*/ 5185395 w 8614395"/>
              <a:gd name="connsiteY12" fmla="*/ 6857998 h 6857998"/>
              <a:gd name="connsiteX13" fmla="*/ 80 w 8614395"/>
              <a:gd name="connsiteY13" fmla="*/ 6857998 h 6857998"/>
              <a:gd name="connsiteX14" fmla="*/ 176455 w 8614395"/>
              <a:gd name="connsiteY14" fmla="*/ 6853538 h 6857998"/>
              <a:gd name="connsiteX15" fmla="*/ 3428999 w 8614395"/>
              <a:gd name="connsiteY15" fmla="*/ 3429000 h 6857998"/>
              <a:gd name="connsiteX16" fmla="*/ 0 w 8614395"/>
              <a:gd name="connsiteY16" fmla="*/ 0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614395" h="6857998">
                <a:moveTo>
                  <a:pt x="0" y="0"/>
                </a:moveTo>
                <a:lnTo>
                  <a:pt x="5185395" y="0"/>
                </a:lnTo>
                <a:cubicBezTo>
                  <a:pt x="7079179" y="0"/>
                  <a:pt x="8614395" y="1535215"/>
                  <a:pt x="8614395" y="3428999"/>
                </a:cubicBezTo>
                <a:cubicBezTo>
                  <a:pt x="8614395" y="3784084"/>
                  <a:pt x="8560423" y="4126562"/>
                  <a:pt x="8460234" y="4448679"/>
                </a:cubicBezTo>
                <a:lnTo>
                  <a:pt x="8419485" y="4560012"/>
                </a:lnTo>
                <a:lnTo>
                  <a:pt x="7840460" y="4560012"/>
                </a:lnTo>
                <a:cubicBezTo>
                  <a:pt x="7368079" y="4560012"/>
                  <a:pt x="6979549" y="4919018"/>
                  <a:pt x="6932828" y="5379072"/>
                </a:cubicBezTo>
                <a:lnTo>
                  <a:pt x="6928118" y="5472354"/>
                </a:lnTo>
                <a:lnTo>
                  <a:pt x="6932828" y="5565635"/>
                </a:lnTo>
                <a:cubicBezTo>
                  <a:pt x="6956188" y="5795662"/>
                  <a:pt x="7065001" y="6000427"/>
                  <a:pt x="7227021" y="6147685"/>
                </a:cubicBezTo>
                <a:lnTo>
                  <a:pt x="7248047" y="6163602"/>
                </a:lnTo>
                <a:lnTo>
                  <a:pt x="7102581" y="6272379"/>
                </a:lnTo>
                <a:cubicBezTo>
                  <a:pt x="6555309" y="6642109"/>
                  <a:pt x="5895564" y="6857998"/>
                  <a:pt x="5185395" y="6857998"/>
                </a:cubicBezTo>
                <a:lnTo>
                  <a:pt x="80" y="6857998"/>
                </a:lnTo>
                <a:lnTo>
                  <a:pt x="176455" y="6853538"/>
                </a:lnTo>
                <a:cubicBezTo>
                  <a:pt x="1988235" y="6761699"/>
                  <a:pt x="3428999" y="5263603"/>
                  <a:pt x="3428999" y="3429000"/>
                </a:cubicBezTo>
                <a:cubicBezTo>
                  <a:pt x="3428999" y="1535216"/>
                  <a:pt x="1893784" y="0"/>
                  <a:pt x="0" y="0"/>
                </a:cubicBezTo>
                <a:close/>
              </a:path>
            </a:pathLst>
          </a:custGeom>
          <a:solidFill>
            <a:schemeClr val="bg1">
              <a:lumMod val="95000"/>
            </a:schemeClr>
          </a:solidFill>
        </p:spPr>
        <p:txBody>
          <a:bodyPr wrap="square" lIns="3108960" bIns="1371600" anchor="ctr">
            <a:noAutofit/>
          </a:bodyPr>
          <a:lstStyle>
            <a:lvl1pPr marL="0" marR="0" indent="0" algn="ctr" defTabSz="914400" rtl="0" eaLnBrk="1" fontAlgn="base" latinLnBrk="0" hangingPunct="1">
              <a:lnSpc>
                <a:spcPct val="95000"/>
              </a:lnSpc>
              <a:spcBef>
                <a:spcPts val="1000"/>
              </a:spcBef>
              <a:spcAft>
                <a:spcPct val="0"/>
              </a:spcAft>
              <a:buClrTx/>
              <a:buSzTx/>
              <a:buFont typeface="Arial" panose="020B0604020202020204" pitchFamily="34" charset="0"/>
              <a:buNone/>
              <a:tabLst/>
              <a:defRPr>
                <a:solidFill>
                  <a:schemeClr val="accent1"/>
                </a:solidFill>
              </a:defRPr>
            </a:lvl1pPr>
          </a:lstStyle>
          <a:p>
            <a:r>
              <a:rPr lang="en-US"/>
              <a:t>Drag picture to placeholder</a:t>
            </a:r>
            <a:br>
              <a:rPr lang="en-US"/>
            </a:br>
            <a:r>
              <a:rPr lang="en-US"/>
              <a:t>or click icon to add.</a:t>
            </a:r>
          </a:p>
        </p:txBody>
      </p:sp>
      <p:sp>
        <p:nvSpPr>
          <p:cNvPr id="12" name="Freeform 11">
            <a:extLst>
              <a:ext uri="{FF2B5EF4-FFF2-40B4-BE49-F238E27FC236}">
                <a16:creationId xmlns:a16="http://schemas.microsoft.com/office/drawing/2014/main" id="{0A0EA6BB-F6D4-3648-5AFF-D4F39A3C5357}"/>
              </a:ext>
            </a:extLst>
          </p:cNvPr>
          <p:cNvSpPr/>
          <p:nvPr userDrawn="1"/>
        </p:nvSpPr>
        <p:spPr>
          <a:xfrm>
            <a:off x="9757416" y="4560012"/>
            <a:ext cx="2434584" cy="1824684"/>
          </a:xfrm>
          <a:custGeom>
            <a:avLst/>
            <a:gdLst>
              <a:gd name="connsiteX0" fmla="*/ 912342 w 2434584"/>
              <a:gd name="connsiteY0" fmla="*/ 0 h 1824684"/>
              <a:gd name="connsiteX1" fmla="*/ 2434584 w 2434584"/>
              <a:gd name="connsiteY1" fmla="*/ 0 h 1824684"/>
              <a:gd name="connsiteX2" fmla="*/ 2434584 w 2434584"/>
              <a:gd name="connsiteY2" fmla="*/ 1824684 h 1824684"/>
              <a:gd name="connsiteX3" fmla="*/ 912342 w 2434584"/>
              <a:gd name="connsiteY3" fmla="*/ 1824683 h 1824684"/>
              <a:gd name="connsiteX4" fmla="*/ 4710 w 2434584"/>
              <a:gd name="connsiteY4" fmla="*/ 1005623 h 1824684"/>
              <a:gd name="connsiteX5" fmla="*/ 0 w 2434584"/>
              <a:gd name="connsiteY5" fmla="*/ 912342 h 1824684"/>
              <a:gd name="connsiteX6" fmla="*/ 4710 w 2434584"/>
              <a:gd name="connsiteY6" fmla="*/ 819060 h 1824684"/>
              <a:gd name="connsiteX7" fmla="*/ 912342 w 2434584"/>
              <a:gd name="connsiteY7" fmla="*/ 0 h 1824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4584" h="1824684">
                <a:moveTo>
                  <a:pt x="912342" y="0"/>
                </a:moveTo>
                <a:lnTo>
                  <a:pt x="2434584" y="0"/>
                </a:lnTo>
                <a:lnTo>
                  <a:pt x="2434584" y="1824684"/>
                </a:lnTo>
                <a:lnTo>
                  <a:pt x="912342" y="1824683"/>
                </a:lnTo>
                <a:cubicBezTo>
                  <a:pt x="439961" y="1824683"/>
                  <a:pt x="51431" y="1465677"/>
                  <a:pt x="4710" y="1005623"/>
                </a:cubicBezTo>
                <a:lnTo>
                  <a:pt x="0" y="912342"/>
                </a:lnTo>
                <a:lnTo>
                  <a:pt x="4710" y="819060"/>
                </a:lnTo>
                <a:cubicBezTo>
                  <a:pt x="51431" y="359006"/>
                  <a:pt x="439961" y="0"/>
                  <a:pt x="912342" y="0"/>
                </a:cubicBezTo>
                <a:close/>
              </a:path>
            </a:pathLst>
          </a:custGeom>
          <a:solidFill>
            <a:srgbClr val="A89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p:cNvSpPr>
            <a:spLocks noGrp="1"/>
          </p:cNvSpPr>
          <p:nvPr userDrawn="1">
            <p:ph type="ctrTitle"/>
          </p:nvPr>
        </p:nvSpPr>
        <p:spPr>
          <a:xfrm>
            <a:off x="374092" y="1439868"/>
            <a:ext cx="5029181" cy="2880360"/>
          </a:xfrm>
          <a:prstGeom prst="rect">
            <a:avLst/>
          </a:prstGeom>
        </p:spPr>
        <p:txBody>
          <a:bodyPr anchor="b">
            <a:noAutofit/>
          </a:bodyPr>
          <a:lstStyle>
            <a:lvl1pPr algn="l">
              <a:defRPr sz="5400" b="1" i="0">
                <a:solidFill>
                  <a:schemeClr val="bg2"/>
                </a:solidFill>
                <a:latin typeface="Montserrat" pitchFamily="2" charset="77"/>
              </a:defRPr>
            </a:lvl1pPr>
          </a:lstStyle>
          <a:p>
            <a:r>
              <a:rPr lang="en-US"/>
              <a:t>Click to edit Master title style</a:t>
            </a:r>
            <a:endParaRPr lang="en-GB"/>
          </a:p>
        </p:txBody>
      </p:sp>
      <p:sp>
        <p:nvSpPr>
          <p:cNvPr id="3" name="Subtitle 2"/>
          <p:cNvSpPr>
            <a:spLocks noGrp="1"/>
          </p:cNvSpPr>
          <p:nvPr userDrawn="1">
            <p:ph type="subTitle" idx="1"/>
          </p:nvPr>
        </p:nvSpPr>
        <p:spPr>
          <a:xfrm>
            <a:off x="374092" y="4568825"/>
            <a:ext cx="5264886" cy="641350"/>
          </a:xfrm>
          <a:prstGeom prst="rect">
            <a:avLst/>
          </a:prstGeom>
        </p:spPr>
        <p:txBody>
          <a:bodyPr>
            <a:noAutofit/>
          </a:bodyPr>
          <a:lstStyle>
            <a:lvl1pPr marL="0" indent="0" algn="l">
              <a:buNone/>
              <a:defRPr sz="2400">
                <a:solidFill>
                  <a:schemeClr val="accent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5" name="Date Placeholder 3">
            <a:extLst>
              <a:ext uri="{FF2B5EF4-FFF2-40B4-BE49-F238E27FC236}">
                <a16:creationId xmlns:a16="http://schemas.microsoft.com/office/drawing/2014/main" id="{FD78CF55-0C25-4C23-2C35-E1A9DABADB84}"/>
              </a:ext>
            </a:extLst>
          </p:cNvPr>
          <p:cNvSpPr>
            <a:spLocks noGrp="1"/>
          </p:cNvSpPr>
          <p:nvPr userDrawn="1">
            <p:ph type="dt" sz="half" idx="10"/>
          </p:nvPr>
        </p:nvSpPr>
        <p:spPr>
          <a:xfrm>
            <a:off x="457200" y="6108700"/>
            <a:ext cx="4114800" cy="274638"/>
          </a:xfrm>
          <a:prstGeom prst="rect">
            <a:avLst/>
          </a:prstGeom>
        </p:spPr>
        <p:txBody>
          <a:bodyPr/>
          <a:lstStyle>
            <a:lvl1pPr>
              <a:defRPr sz="1400">
                <a:solidFill>
                  <a:schemeClr val="accent2"/>
                </a:solidFill>
              </a:defRPr>
            </a:lvl1pPr>
          </a:lstStyle>
          <a:p>
            <a:pPr>
              <a:defRPr/>
            </a:pPr>
            <a:endParaRPr lang="en-US"/>
          </a:p>
        </p:txBody>
      </p:sp>
      <p:pic>
        <p:nvPicPr>
          <p:cNvPr id="4" name="Content Placeholder 13">
            <a:extLst>
              <a:ext uri="{FF2B5EF4-FFF2-40B4-BE49-F238E27FC236}">
                <a16:creationId xmlns:a16="http://schemas.microsoft.com/office/drawing/2014/main" id="{205693FC-DAC5-88EE-D25E-73AC2C050FBE}"/>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auto">
          <a:xfrm>
            <a:off x="9974092" y="4464969"/>
            <a:ext cx="2144112" cy="2144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5279881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Title Slide with Image 2">
    <p:bg>
      <p:bgPr>
        <a:solidFill>
          <a:schemeClr val="accent1"/>
        </a:solidFill>
        <a:effectLst/>
      </p:bgPr>
    </p:bg>
    <p:spTree>
      <p:nvGrpSpPr>
        <p:cNvPr id="1" name=""/>
        <p:cNvGrpSpPr/>
        <p:nvPr/>
      </p:nvGrpSpPr>
      <p:grpSpPr>
        <a:xfrm>
          <a:off x="0" y="0"/>
          <a:ext cx="0" cy="0"/>
          <a:chOff x="0" y="0"/>
          <a:chExt cx="0" cy="0"/>
        </a:xfrm>
      </p:grpSpPr>
      <p:sp>
        <p:nvSpPr>
          <p:cNvPr id="23" name="Freeform 22">
            <a:extLst>
              <a:ext uri="{FF2B5EF4-FFF2-40B4-BE49-F238E27FC236}">
                <a16:creationId xmlns:a16="http://schemas.microsoft.com/office/drawing/2014/main" id="{E0E59BF4-9AD4-3FCE-50AD-1B50108A4CEB}"/>
              </a:ext>
            </a:extLst>
          </p:cNvPr>
          <p:cNvSpPr/>
          <p:nvPr userDrawn="1"/>
        </p:nvSpPr>
        <p:spPr>
          <a:xfrm rot="16200000">
            <a:off x="4599083" y="1089215"/>
            <a:ext cx="6867144" cy="4670424"/>
          </a:xfrm>
          <a:custGeom>
            <a:avLst/>
            <a:gdLst>
              <a:gd name="connsiteX0" fmla="*/ 6867144 w 6867144"/>
              <a:gd name="connsiteY0" fmla="*/ 3433572 h 4670424"/>
              <a:gd name="connsiteX1" fmla="*/ 6867144 w 6867144"/>
              <a:gd name="connsiteY1" fmla="*/ 4670424 h 4670424"/>
              <a:gd name="connsiteX2" fmla="*/ 0 w 6867144"/>
              <a:gd name="connsiteY2" fmla="*/ 4670423 h 4670424"/>
              <a:gd name="connsiteX3" fmla="*/ 0 w 6867144"/>
              <a:gd name="connsiteY3" fmla="*/ 3433571 h 4670424"/>
              <a:gd name="connsiteX4" fmla="*/ 3433572 w 6867144"/>
              <a:gd name="connsiteY4" fmla="*/ 0 h 4670424"/>
              <a:gd name="connsiteX5" fmla="*/ 6867144 w 6867144"/>
              <a:gd name="connsiteY5" fmla="*/ 3433572 h 4670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7144" h="4670424">
                <a:moveTo>
                  <a:pt x="6867144" y="3433572"/>
                </a:moveTo>
                <a:lnTo>
                  <a:pt x="6867144" y="4670424"/>
                </a:lnTo>
                <a:lnTo>
                  <a:pt x="0" y="4670423"/>
                </a:lnTo>
                <a:lnTo>
                  <a:pt x="0" y="3433571"/>
                </a:lnTo>
                <a:cubicBezTo>
                  <a:pt x="0" y="1537263"/>
                  <a:pt x="1537263" y="0"/>
                  <a:pt x="3433572" y="0"/>
                </a:cubicBezTo>
                <a:cubicBezTo>
                  <a:pt x="5329881" y="0"/>
                  <a:pt x="6867144" y="1537263"/>
                  <a:pt x="6867144" y="3433572"/>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2" name="Freeform 21">
            <a:extLst>
              <a:ext uri="{FF2B5EF4-FFF2-40B4-BE49-F238E27FC236}">
                <a16:creationId xmlns:a16="http://schemas.microsoft.com/office/drawing/2014/main" id="{D057547C-9861-3930-F47B-D08A23233196}"/>
              </a:ext>
            </a:extLst>
          </p:cNvPr>
          <p:cNvSpPr/>
          <p:nvPr userDrawn="1"/>
        </p:nvSpPr>
        <p:spPr>
          <a:xfrm rot="16200000">
            <a:off x="4743541" y="1207583"/>
            <a:ext cx="6867144" cy="4433689"/>
          </a:xfrm>
          <a:custGeom>
            <a:avLst/>
            <a:gdLst>
              <a:gd name="connsiteX0" fmla="*/ 6867144 w 6867144"/>
              <a:gd name="connsiteY0" fmla="*/ 3433572 h 4433689"/>
              <a:gd name="connsiteX1" fmla="*/ 6867144 w 6867144"/>
              <a:gd name="connsiteY1" fmla="*/ 4433689 h 4433689"/>
              <a:gd name="connsiteX2" fmla="*/ 0 w 6867144"/>
              <a:gd name="connsiteY2" fmla="*/ 4433689 h 4433689"/>
              <a:gd name="connsiteX3" fmla="*/ 0 w 6867144"/>
              <a:gd name="connsiteY3" fmla="*/ 3433571 h 4433689"/>
              <a:gd name="connsiteX4" fmla="*/ 3433572 w 6867144"/>
              <a:gd name="connsiteY4" fmla="*/ 0 h 4433689"/>
              <a:gd name="connsiteX5" fmla="*/ 6867144 w 6867144"/>
              <a:gd name="connsiteY5" fmla="*/ 3433572 h 4433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7144" h="4433689">
                <a:moveTo>
                  <a:pt x="6867144" y="3433572"/>
                </a:moveTo>
                <a:lnTo>
                  <a:pt x="6867144" y="4433689"/>
                </a:lnTo>
                <a:lnTo>
                  <a:pt x="0" y="4433689"/>
                </a:lnTo>
                <a:lnTo>
                  <a:pt x="0" y="3433571"/>
                </a:lnTo>
                <a:cubicBezTo>
                  <a:pt x="0" y="1537263"/>
                  <a:pt x="1537263" y="0"/>
                  <a:pt x="3433572" y="0"/>
                </a:cubicBezTo>
                <a:cubicBezTo>
                  <a:pt x="5329881" y="0"/>
                  <a:pt x="6867144" y="1537263"/>
                  <a:pt x="6867144" y="3433572"/>
                </a:cubicBezTo>
                <a:close/>
              </a:path>
            </a:pathLst>
          </a:custGeom>
          <a:solidFill>
            <a:srgbClr val="A89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C201715D-BBCC-4185-A6D8-5FD229113338}"/>
              </a:ext>
            </a:extLst>
          </p:cNvPr>
          <p:cNvSpPr>
            <a:spLocks noGrp="1"/>
          </p:cNvSpPr>
          <p:nvPr>
            <p:ph type="ctrTitle" hasCustomPrompt="1"/>
          </p:nvPr>
        </p:nvSpPr>
        <p:spPr>
          <a:xfrm>
            <a:off x="374094" y="1746250"/>
            <a:ext cx="5227980" cy="2688589"/>
          </a:xfrm>
          <a:prstGeom prst="rect">
            <a:avLst/>
          </a:prstGeom>
        </p:spPr>
        <p:txBody>
          <a:bodyPr lIns="0" tIns="0" rIns="0" bIns="0" anchor="b">
            <a:noAutofit/>
          </a:bodyPr>
          <a:lstStyle>
            <a:lvl1pPr algn="l">
              <a:defRPr sz="5400" b="1" i="0">
                <a:solidFill>
                  <a:schemeClr val="bg2"/>
                </a:solidFill>
                <a:latin typeface="Montserrat" pitchFamily="2" charset="77"/>
              </a:defRPr>
            </a:lvl1pPr>
          </a:lstStyle>
          <a:p>
            <a:r>
              <a:rPr lang="en-GB"/>
              <a:t>Presentation title, Bold 54pt, max 3 lines</a:t>
            </a:r>
          </a:p>
        </p:txBody>
      </p:sp>
      <p:sp>
        <p:nvSpPr>
          <p:cNvPr id="3" name="Subtitle 2">
            <a:extLst>
              <a:ext uri="{FF2B5EF4-FFF2-40B4-BE49-F238E27FC236}">
                <a16:creationId xmlns:a16="http://schemas.microsoft.com/office/drawing/2014/main" id="{9ED5964E-2594-47EA-A0C0-745BE90F64D3}"/>
              </a:ext>
            </a:extLst>
          </p:cNvPr>
          <p:cNvSpPr>
            <a:spLocks noGrp="1"/>
          </p:cNvSpPr>
          <p:nvPr>
            <p:ph type="subTitle" idx="1" hasCustomPrompt="1"/>
          </p:nvPr>
        </p:nvSpPr>
        <p:spPr>
          <a:xfrm>
            <a:off x="429333" y="4663440"/>
            <a:ext cx="5429596" cy="641350"/>
          </a:xfrm>
          <a:prstGeom prst="rect">
            <a:avLst/>
          </a:prstGeom>
        </p:spPr>
        <p:txBody>
          <a:bodyPr lIns="0" tIns="0" rIns="0" bIns="0">
            <a:noAutofit/>
          </a:bodyPr>
          <a:lstStyle>
            <a:lvl1pPr marL="0" indent="0" algn="l">
              <a:buNone/>
              <a:defRPr sz="2400">
                <a:solidFill>
                  <a:schemeClr val="accent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Place subtitle here, Light 24pt</a:t>
            </a:r>
          </a:p>
        </p:txBody>
      </p:sp>
      <p:sp>
        <p:nvSpPr>
          <p:cNvPr id="4" name="Date Placeholder 3">
            <a:extLst>
              <a:ext uri="{FF2B5EF4-FFF2-40B4-BE49-F238E27FC236}">
                <a16:creationId xmlns:a16="http://schemas.microsoft.com/office/drawing/2014/main" id="{C7CCBB25-72E7-413F-B042-04DB03FC404C}"/>
              </a:ext>
            </a:extLst>
          </p:cNvPr>
          <p:cNvSpPr>
            <a:spLocks noGrp="1"/>
          </p:cNvSpPr>
          <p:nvPr>
            <p:ph type="dt" sz="half" idx="10"/>
          </p:nvPr>
        </p:nvSpPr>
        <p:spPr>
          <a:xfrm>
            <a:off x="457200" y="6107578"/>
            <a:ext cx="4114799" cy="274320"/>
          </a:xfrm>
          <a:prstGeom prst="rect">
            <a:avLst/>
          </a:prstGeom>
        </p:spPr>
        <p:txBody>
          <a:bodyPr lIns="0" tIns="0" rIns="0" bIns="0">
            <a:noAutofit/>
          </a:bodyPr>
          <a:lstStyle>
            <a:lvl1pPr>
              <a:defRPr sz="1400">
                <a:solidFill>
                  <a:schemeClr val="accent2"/>
                </a:solidFill>
              </a:defRPr>
            </a:lvl1pPr>
          </a:lstStyle>
          <a:p>
            <a:endParaRPr lang="en-US"/>
          </a:p>
        </p:txBody>
      </p:sp>
      <p:sp>
        <p:nvSpPr>
          <p:cNvPr id="13" name="Picture Placeholder 12">
            <a:extLst>
              <a:ext uri="{FF2B5EF4-FFF2-40B4-BE49-F238E27FC236}">
                <a16:creationId xmlns:a16="http://schemas.microsoft.com/office/drawing/2014/main" id="{5CBBC6C7-08E3-66CE-5760-7070750DD5BE}"/>
              </a:ext>
            </a:extLst>
          </p:cNvPr>
          <p:cNvSpPr>
            <a:spLocks noGrp="1" noChangeAspect="1"/>
          </p:cNvSpPr>
          <p:nvPr>
            <p:ph type="pic" sz="quarter" idx="15" hasCustomPrompt="1"/>
          </p:nvPr>
        </p:nvSpPr>
        <p:spPr bwMode="auto">
          <a:xfrm>
            <a:off x="6275636" y="-15450"/>
            <a:ext cx="5920103" cy="6888901"/>
          </a:xfrm>
          <a:custGeom>
            <a:avLst/>
            <a:gdLst>
              <a:gd name="connsiteX0" fmla="*/ 3429267 w 5920103"/>
              <a:gd name="connsiteY0" fmla="*/ 0 h 6886328"/>
              <a:gd name="connsiteX1" fmla="*/ 4040840 w 5920103"/>
              <a:gd name="connsiteY1" fmla="*/ 0 h 6886328"/>
              <a:gd name="connsiteX2" fmla="*/ 4040840 w 5920103"/>
              <a:gd name="connsiteY2" fmla="*/ 9142 h 6886328"/>
              <a:gd name="connsiteX3" fmla="*/ 4277575 w 5920103"/>
              <a:gd name="connsiteY3" fmla="*/ 9142 h 6886328"/>
              <a:gd name="connsiteX4" fmla="*/ 4277575 w 5920103"/>
              <a:gd name="connsiteY4" fmla="*/ 9141 h 6886328"/>
              <a:gd name="connsiteX5" fmla="*/ 5920103 w 5920103"/>
              <a:gd name="connsiteY5" fmla="*/ 9141 h 6886328"/>
              <a:gd name="connsiteX6" fmla="*/ 5920103 w 5920103"/>
              <a:gd name="connsiteY6" fmla="*/ 6886328 h 6886328"/>
              <a:gd name="connsiteX7" fmla="*/ 5135878 w 5920103"/>
              <a:gd name="connsiteY7" fmla="*/ 6886328 h 6886328"/>
              <a:gd name="connsiteX8" fmla="*/ 4277575 w 5920103"/>
              <a:gd name="connsiteY8" fmla="*/ 6886328 h 6886328"/>
              <a:gd name="connsiteX9" fmla="*/ 4040840 w 5920103"/>
              <a:gd name="connsiteY9" fmla="*/ 6886328 h 6886328"/>
              <a:gd name="connsiteX10" fmla="*/ 4040840 w 5920103"/>
              <a:gd name="connsiteY10" fmla="*/ 6877187 h 6886328"/>
              <a:gd name="connsiteX11" fmla="*/ 3854807 w 5920103"/>
              <a:gd name="connsiteY11" fmla="*/ 6876289 h 6886328"/>
              <a:gd name="connsiteX12" fmla="*/ 3854807 w 5920103"/>
              <a:gd name="connsiteY12" fmla="*/ 6876288 h 6886328"/>
              <a:gd name="connsiteX13" fmla="*/ 3429267 w 5920103"/>
              <a:gd name="connsiteY13" fmla="*/ 6876288 h 6886328"/>
              <a:gd name="connsiteX14" fmla="*/ 3429267 w 5920103"/>
              <a:gd name="connsiteY14" fmla="*/ 6875680 h 6886328"/>
              <a:gd name="connsiteX15" fmla="*/ 3219512 w 5920103"/>
              <a:gd name="connsiteY15" fmla="*/ 6869354 h 6886328"/>
              <a:gd name="connsiteX16" fmla="*/ 464211 w 5920103"/>
              <a:gd name="connsiteY16" fmla="*/ 5163415 h 6886328"/>
              <a:gd name="connsiteX17" fmla="*/ 458834 w 5920103"/>
              <a:gd name="connsiteY17" fmla="*/ 1722175 h 6886328"/>
              <a:gd name="connsiteX18" fmla="*/ 3208791 w 5920103"/>
              <a:gd name="connsiteY18" fmla="*/ 7637 h 6886328"/>
              <a:gd name="connsiteX19" fmla="*/ 3429267 w 5920103"/>
              <a:gd name="connsiteY19" fmla="*/ 298 h 6886328"/>
              <a:gd name="connsiteX0" fmla="*/ 3429267 w 5920103"/>
              <a:gd name="connsiteY0" fmla="*/ 0 h 6886328"/>
              <a:gd name="connsiteX1" fmla="*/ 4040840 w 5920103"/>
              <a:gd name="connsiteY1" fmla="*/ 0 h 6886328"/>
              <a:gd name="connsiteX2" fmla="*/ 4040840 w 5920103"/>
              <a:gd name="connsiteY2" fmla="*/ 9142 h 6886328"/>
              <a:gd name="connsiteX3" fmla="*/ 4277575 w 5920103"/>
              <a:gd name="connsiteY3" fmla="*/ 9142 h 6886328"/>
              <a:gd name="connsiteX4" fmla="*/ 4277575 w 5920103"/>
              <a:gd name="connsiteY4" fmla="*/ 9141 h 6886328"/>
              <a:gd name="connsiteX5" fmla="*/ 5920103 w 5920103"/>
              <a:gd name="connsiteY5" fmla="*/ 9141 h 6886328"/>
              <a:gd name="connsiteX6" fmla="*/ 5920103 w 5920103"/>
              <a:gd name="connsiteY6" fmla="*/ 6886328 h 6886328"/>
              <a:gd name="connsiteX7" fmla="*/ 5135878 w 5920103"/>
              <a:gd name="connsiteY7" fmla="*/ 6886328 h 6886328"/>
              <a:gd name="connsiteX8" fmla="*/ 4040840 w 5920103"/>
              <a:gd name="connsiteY8" fmla="*/ 6886328 h 6886328"/>
              <a:gd name="connsiteX9" fmla="*/ 4040840 w 5920103"/>
              <a:gd name="connsiteY9" fmla="*/ 6877187 h 6886328"/>
              <a:gd name="connsiteX10" fmla="*/ 3854807 w 5920103"/>
              <a:gd name="connsiteY10" fmla="*/ 6876289 h 6886328"/>
              <a:gd name="connsiteX11" fmla="*/ 3854807 w 5920103"/>
              <a:gd name="connsiteY11" fmla="*/ 6876288 h 6886328"/>
              <a:gd name="connsiteX12" fmla="*/ 3429267 w 5920103"/>
              <a:gd name="connsiteY12" fmla="*/ 6876288 h 6886328"/>
              <a:gd name="connsiteX13" fmla="*/ 3429267 w 5920103"/>
              <a:gd name="connsiteY13" fmla="*/ 6875680 h 6886328"/>
              <a:gd name="connsiteX14" fmla="*/ 3219512 w 5920103"/>
              <a:gd name="connsiteY14" fmla="*/ 6869354 h 6886328"/>
              <a:gd name="connsiteX15" fmla="*/ 464211 w 5920103"/>
              <a:gd name="connsiteY15" fmla="*/ 5163415 h 6886328"/>
              <a:gd name="connsiteX16" fmla="*/ 458834 w 5920103"/>
              <a:gd name="connsiteY16" fmla="*/ 1722175 h 6886328"/>
              <a:gd name="connsiteX17" fmla="*/ 3208791 w 5920103"/>
              <a:gd name="connsiteY17" fmla="*/ 7637 h 6886328"/>
              <a:gd name="connsiteX18" fmla="*/ 3429267 w 5920103"/>
              <a:gd name="connsiteY18" fmla="*/ 298 h 6886328"/>
              <a:gd name="connsiteX19" fmla="*/ 3429267 w 5920103"/>
              <a:gd name="connsiteY19" fmla="*/ 0 h 6886328"/>
              <a:gd name="connsiteX0" fmla="*/ 3429267 w 5920103"/>
              <a:gd name="connsiteY0" fmla="*/ 0 h 6886328"/>
              <a:gd name="connsiteX1" fmla="*/ 4040840 w 5920103"/>
              <a:gd name="connsiteY1" fmla="*/ 0 h 6886328"/>
              <a:gd name="connsiteX2" fmla="*/ 4040840 w 5920103"/>
              <a:gd name="connsiteY2" fmla="*/ 9142 h 6886328"/>
              <a:gd name="connsiteX3" fmla="*/ 4277575 w 5920103"/>
              <a:gd name="connsiteY3" fmla="*/ 9142 h 6886328"/>
              <a:gd name="connsiteX4" fmla="*/ 4277575 w 5920103"/>
              <a:gd name="connsiteY4" fmla="*/ 9141 h 6886328"/>
              <a:gd name="connsiteX5" fmla="*/ 5920103 w 5920103"/>
              <a:gd name="connsiteY5" fmla="*/ 9141 h 6886328"/>
              <a:gd name="connsiteX6" fmla="*/ 5920103 w 5920103"/>
              <a:gd name="connsiteY6" fmla="*/ 6886328 h 6886328"/>
              <a:gd name="connsiteX7" fmla="*/ 4040840 w 5920103"/>
              <a:gd name="connsiteY7" fmla="*/ 6886328 h 6886328"/>
              <a:gd name="connsiteX8" fmla="*/ 4040840 w 5920103"/>
              <a:gd name="connsiteY8" fmla="*/ 6877187 h 6886328"/>
              <a:gd name="connsiteX9" fmla="*/ 3854807 w 5920103"/>
              <a:gd name="connsiteY9" fmla="*/ 6876289 h 6886328"/>
              <a:gd name="connsiteX10" fmla="*/ 3854807 w 5920103"/>
              <a:gd name="connsiteY10" fmla="*/ 6876288 h 6886328"/>
              <a:gd name="connsiteX11" fmla="*/ 3429267 w 5920103"/>
              <a:gd name="connsiteY11" fmla="*/ 6876288 h 6886328"/>
              <a:gd name="connsiteX12" fmla="*/ 3429267 w 5920103"/>
              <a:gd name="connsiteY12" fmla="*/ 6875680 h 6886328"/>
              <a:gd name="connsiteX13" fmla="*/ 3219512 w 5920103"/>
              <a:gd name="connsiteY13" fmla="*/ 6869354 h 6886328"/>
              <a:gd name="connsiteX14" fmla="*/ 464211 w 5920103"/>
              <a:gd name="connsiteY14" fmla="*/ 5163415 h 6886328"/>
              <a:gd name="connsiteX15" fmla="*/ 458834 w 5920103"/>
              <a:gd name="connsiteY15" fmla="*/ 1722175 h 6886328"/>
              <a:gd name="connsiteX16" fmla="*/ 3208791 w 5920103"/>
              <a:gd name="connsiteY16" fmla="*/ 7637 h 6886328"/>
              <a:gd name="connsiteX17" fmla="*/ 3429267 w 5920103"/>
              <a:gd name="connsiteY17" fmla="*/ 298 h 6886328"/>
              <a:gd name="connsiteX18" fmla="*/ 3429267 w 5920103"/>
              <a:gd name="connsiteY18" fmla="*/ 0 h 6886328"/>
              <a:gd name="connsiteX0" fmla="*/ 3429267 w 5920103"/>
              <a:gd name="connsiteY0" fmla="*/ 0 h 6886328"/>
              <a:gd name="connsiteX1" fmla="*/ 4040840 w 5920103"/>
              <a:gd name="connsiteY1" fmla="*/ 0 h 6886328"/>
              <a:gd name="connsiteX2" fmla="*/ 4040840 w 5920103"/>
              <a:gd name="connsiteY2" fmla="*/ 9142 h 6886328"/>
              <a:gd name="connsiteX3" fmla="*/ 4277575 w 5920103"/>
              <a:gd name="connsiteY3" fmla="*/ 9142 h 6886328"/>
              <a:gd name="connsiteX4" fmla="*/ 4277575 w 5920103"/>
              <a:gd name="connsiteY4" fmla="*/ 9141 h 6886328"/>
              <a:gd name="connsiteX5" fmla="*/ 5920103 w 5920103"/>
              <a:gd name="connsiteY5" fmla="*/ 9141 h 6886328"/>
              <a:gd name="connsiteX6" fmla="*/ 5920103 w 5920103"/>
              <a:gd name="connsiteY6" fmla="*/ 6886328 h 6886328"/>
              <a:gd name="connsiteX7" fmla="*/ 4040840 w 5920103"/>
              <a:gd name="connsiteY7" fmla="*/ 6886328 h 6886328"/>
              <a:gd name="connsiteX8" fmla="*/ 3854807 w 5920103"/>
              <a:gd name="connsiteY8" fmla="*/ 6876289 h 6886328"/>
              <a:gd name="connsiteX9" fmla="*/ 3854807 w 5920103"/>
              <a:gd name="connsiteY9" fmla="*/ 6876288 h 6886328"/>
              <a:gd name="connsiteX10" fmla="*/ 3429267 w 5920103"/>
              <a:gd name="connsiteY10" fmla="*/ 6876288 h 6886328"/>
              <a:gd name="connsiteX11" fmla="*/ 3429267 w 5920103"/>
              <a:gd name="connsiteY11" fmla="*/ 6875680 h 6886328"/>
              <a:gd name="connsiteX12" fmla="*/ 3219512 w 5920103"/>
              <a:gd name="connsiteY12" fmla="*/ 6869354 h 6886328"/>
              <a:gd name="connsiteX13" fmla="*/ 464211 w 5920103"/>
              <a:gd name="connsiteY13" fmla="*/ 5163415 h 6886328"/>
              <a:gd name="connsiteX14" fmla="*/ 458834 w 5920103"/>
              <a:gd name="connsiteY14" fmla="*/ 1722175 h 6886328"/>
              <a:gd name="connsiteX15" fmla="*/ 3208791 w 5920103"/>
              <a:gd name="connsiteY15" fmla="*/ 7637 h 6886328"/>
              <a:gd name="connsiteX16" fmla="*/ 3429267 w 5920103"/>
              <a:gd name="connsiteY16" fmla="*/ 298 h 6886328"/>
              <a:gd name="connsiteX17" fmla="*/ 3429267 w 5920103"/>
              <a:gd name="connsiteY17" fmla="*/ 0 h 6886328"/>
              <a:gd name="connsiteX0" fmla="*/ 3429267 w 5920103"/>
              <a:gd name="connsiteY0" fmla="*/ 0 h 6886328"/>
              <a:gd name="connsiteX1" fmla="*/ 4040840 w 5920103"/>
              <a:gd name="connsiteY1" fmla="*/ 0 h 6886328"/>
              <a:gd name="connsiteX2" fmla="*/ 4040840 w 5920103"/>
              <a:gd name="connsiteY2" fmla="*/ 9142 h 6886328"/>
              <a:gd name="connsiteX3" fmla="*/ 4277575 w 5920103"/>
              <a:gd name="connsiteY3" fmla="*/ 9142 h 6886328"/>
              <a:gd name="connsiteX4" fmla="*/ 4277575 w 5920103"/>
              <a:gd name="connsiteY4" fmla="*/ 9141 h 6886328"/>
              <a:gd name="connsiteX5" fmla="*/ 5920103 w 5920103"/>
              <a:gd name="connsiteY5" fmla="*/ 9141 h 6886328"/>
              <a:gd name="connsiteX6" fmla="*/ 5920103 w 5920103"/>
              <a:gd name="connsiteY6" fmla="*/ 6886328 h 6886328"/>
              <a:gd name="connsiteX7" fmla="*/ 3854807 w 5920103"/>
              <a:gd name="connsiteY7" fmla="*/ 6876289 h 6886328"/>
              <a:gd name="connsiteX8" fmla="*/ 3854807 w 5920103"/>
              <a:gd name="connsiteY8" fmla="*/ 6876288 h 6886328"/>
              <a:gd name="connsiteX9" fmla="*/ 3429267 w 5920103"/>
              <a:gd name="connsiteY9" fmla="*/ 6876288 h 6886328"/>
              <a:gd name="connsiteX10" fmla="*/ 3429267 w 5920103"/>
              <a:gd name="connsiteY10" fmla="*/ 6875680 h 6886328"/>
              <a:gd name="connsiteX11" fmla="*/ 3219512 w 5920103"/>
              <a:gd name="connsiteY11" fmla="*/ 6869354 h 6886328"/>
              <a:gd name="connsiteX12" fmla="*/ 464211 w 5920103"/>
              <a:gd name="connsiteY12" fmla="*/ 5163415 h 6886328"/>
              <a:gd name="connsiteX13" fmla="*/ 458834 w 5920103"/>
              <a:gd name="connsiteY13" fmla="*/ 1722175 h 6886328"/>
              <a:gd name="connsiteX14" fmla="*/ 3208791 w 5920103"/>
              <a:gd name="connsiteY14" fmla="*/ 7637 h 6886328"/>
              <a:gd name="connsiteX15" fmla="*/ 3429267 w 5920103"/>
              <a:gd name="connsiteY15" fmla="*/ 298 h 6886328"/>
              <a:gd name="connsiteX16" fmla="*/ 3429267 w 5920103"/>
              <a:gd name="connsiteY16" fmla="*/ 0 h 6886328"/>
              <a:gd name="connsiteX0" fmla="*/ 3429267 w 5920103"/>
              <a:gd name="connsiteY0" fmla="*/ 0 h 6886328"/>
              <a:gd name="connsiteX1" fmla="*/ 4040840 w 5920103"/>
              <a:gd name="connsiteY1" fmla="*/ 0 h 6886328"/>
              <a:gd name="connsiteX2" fmla="*/ 4040840 w 5920103"/>
              <a:gd name="connsiteY2" fmla="*/ 9142 h 6886328"/>
              <a:gd name="connsiteX3" fmla="*/ 4277575 w 5920103"/>
              <a:gd name="connsiteY3" fmla="*/ 9142 h 6886328"/>
              <a:gd name="connsiteX4" fmla="*/ 4277575 w 5920103"/>
              <a:gd name="connsiteY4" fmla="*/ 9141 h 6886328"/>
              <a:gd name="connsiteX5" fmla="*/ 5920103 w 5920103"/>
              <a:gd name="connsiteY5" fmla="*/ 9141 h 6886328"/>
              <a:gd name="connsiteX6" fmla="*/ 5920103 w 5920103"/>
              <a:gd name="connsiteY6" fmla="*/ 6886328 h 6886328"/>
              <a:gd name="connsiteX7" fmla="*/ 3854807 w 5920103"/>
              <a:gd name="connsiteY7" fmla="*/ 6876289 h 6886328"/>
              <a:gd name="connsiteX8" fmla="*/ 3429267 w 5920103"/>
              <a:gd name="connsiteY8" fmla="*/ 6876288 h 6886328"/>
              <a:gd name="connsiteX9" fmla="*/ 3429267 w 5920103"/>
              <a:gd name="connsiteY9" fmla="*/ 6875680 h 6886328"/>
              <a:gd name="connsiteX10" fmla="*/ 3219512 w 5920103"/>
              <a:gd name="connsiteY10" fmla="*/ 6869354 h 6886328"/>
              <a:gd name="connsiteX11" fmla="*/ 464211 w 5920103"/>
              <a:gd name="connsiteY11" fmla="*/ 5163415 h 6886328"/>
              <a:gd name="connsiteX12" fmla="*/ 458834 w 5920103"/>
              <a:gd name="connsiteY12" fmla="*/ 1722175 h 6886328"/>
              <a:gd name="connsiteX13" fmla="*/ 3208791 w 5920103"/>
              <a:gd name="connsiteY13" fmla="*/ 7637 h 6886328"/>
              <a:gd name="connsiteX14" fmla="*/ 3429267 w 5920103"/>
              <a:gd name="connsiteY14" fmla="*/ 298 h 6886328"/>
              <a:gd name="connsiteX15" fmla="*/ 3429267 w 5920103"/>
              <a:gd name="connsiteY15" fmla="*/ 0 h 6886328"/>
              <a:gd name="connsiteX0" fmla="*/ 3429267 w 5920103"/>
              <a:gd name="connsiteY0" fmla="*/ 0 h 6888901"/>
              <a:gd name="connsiteX1" fmla="*/ 4040840 w 5920103"/>
              <a:gd name="connsiteY1" fmla="*/ 0 h 6888901"/>
              <a:gd name="connsiteX2" fmla="*/ 4040840 w 5920103"/>
              <a:gd name="connsiteY2" fmla="*/ 9142 h 6888901"/>
              <a:gd name="connsiteX3" fmla="*/ 4277575 w 5920103"/>
              <a:gd name="connsiteY3" fmla="*/ 9142 h 6888901"/>
              <a:gd name="connsiteX4" fmla="*/ 4277575 w 5920103"/>
              <a:gd name="connsiteY4" fmla="*/ 9141 h 6888901"/>
              <a:gd name="connsiteX5" fmla="*/ 5920103 w 5920103"/>
              <a:gd name="connsiteY5" fmla="*/ 9141 h 6888901"/>
              <a:gd name="connsiteX6" fmla="*/ 5920103 w 5920103"/>
              <a:gd name="connsiteY6" fmla="*/ 6886328 h 6888901"/>
              <a:gd name="connsiteX7" fmla="*/ 3880032 w 5920103"/>
              <a:gd name="connsiteY7" fmla="*/ 6888901 h 6888901"/>
              <a:gd name="connsiteX8" fmla="*/ 3429267 w 5920103"/>
              <a:gd name="connsiteY8" fmla="*/ 6876288 h 6888901"/>
              <a:gd name="connsiteX9" fmla="*/ 3429267 w 5920103"/>
              <a:gd name="connsiteY9" fmla="*/ 6875680 h 6888901"/>
              <a:gd name="connsiteX10" fmla="*/ 3219512 w 5920103"/>
              <a:gd name="connsiteY10" fmla="*/ 6869354 h 6888901"/>
              <a:gd name="connsiteX11" fmla="*/ 464211 w 5920103"/>
              <a:gd name="connsiteY11" fmla="*/ 5163415 h 6888901"/>
              <a:gd name="connsiteX12" fmla="*/ 458834 w 5920103"/>
              <a:gd name="connsiteY12" fmla="*/ 1722175 h 6888901"/>
              <a:gd name="connsiteX13" fmla="*/ 3208791 w 5920103"/>
              <a:gd name="connsiteY13" fmla="*/ 7637 h 6888901"/>
              <a:gd name="connsiteX14" fmla="*/ 3429267 w 5920103"/>
              <a:gd name="connsiteY14" fmla="*/ 298 h 6888901"/>
              <a:gd name="connsiteX15" fmla="*/ 3429267 w 5920103"/>
              <a:gd name="connsiteY15" fmla="*/ 0 h 6888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920103" h="6888901">
                <a:moveTo>
                  <a:pt x="3429267" y="0"/>
                </a:moveTo>
                <a:lnTo>
                  <a:pt x="4040840" y="0"/>
                </a:lnTo>
                <a:lnTo>
                  <a:pt x="4040840" y="9142"/>
                </a:lnTo>
                <a:lnTo>
                  <a:pt x="4277575" y="9142"/>
                </a:lnTo>
                <a:lnTo>
                  <a:pt x="4277575" y="9141"/>
                </a:lnTo>
                <a:lnTo>
                  <a:pt x="5920103" y="9141"/>
                </a:lnTo>
                <a:lnTo>
                  <a:pt x="5920103" y="6886328"/>
                </a:lnTo>
                <a:lnTo>
                  <a:pt x="3880032" y="6888901"/>
                </a:lnTo>
                <a:lnTo>
                  <a:pt x="3429267" y="6876288"/>
                </a:lnTo>
                <a:lnTo>
                  <a:pt x="3429267" y="6875680"/>
                </a:lnTo>
                <a:lnTo>
                  <a:pt x="3219512" y="6869354"/>
                </a:lnTo>
                <a:cubicBezTo>
                  <a:pt x="2079060" y="6796873"/>
                  <a:pt x="1042669" y="6160531"/>
                  <a:pt x="464211" y="5163415"/>
                </a:cubicBezTo>
                <a:cubicBezTo>
                  <a:pt x="-152812" y="4099825"/>
                  <a:pt x="-154861" y="2787689"/>
                  <a:pt x="458834" y="1722175"/>
                </a:cubicBezTo>
                <a:cubicBezTo>
                  <a:pt x="1034173" y="723258"/>
                  <a:pt x="2068572" y="83682"/>
                  <a:pt x="3208791" y="7637"/>
                </a:cubicBezTo>
                <a:lnTo>
                  <a:pt x="3429267" y="298"/>
                </a:lnTo>
                <a:lnTo>
                  <a:pt x="3429267"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1554480" tIns="2194560" rIns="1188720">
            <a:noAutofit/>
          </a:bodyPr>
          <a:lstStyle>
            <a:lvl1pPr marL="0" indent="0" algn="ctr">
              <a:buNone/>
              <a:defRPr sz="1800">
                <a:solidFill>
                  <a:schemeClr val="accent1"/>
                </a:solidFill>
              </a:defRPr>
            </a:lvl1pPr>
          </a:lstStyle>
          <a:p>
            <a:r>
              <a:rPr lang="en-GB"/>
              <a:t>Drag picture to placeholder or click icon to add.</a:t>
            </a:r>
            <a:endParaRPr lang="en-US"/>
          </a:p>
        </p:txBody>
      </p:sp>
      <p:pic>
        <p:nvPicPr>
          <p:cNvPr id="8" name="Content Placeholder 13">
            <a:extLst>
              <a:ext uri="{FF2B5EF4-FFF2-40B4-BE49-F238E27FC236}">
                <a16:creationId xmlns:a16="http://schemas.microsoft.com/office/drawing/2014/main" id="{037329A3-5BA8-2A62-1D53-B5A586F5724B}"/>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auto">
          <a:xfrm>
            <a:off x="128634" y="-166174"/>
            <a:ext cx="2144112" cy="214411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30321235"/>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Slide No Imag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2788" y="685800"/>
            <a:ext cx="8411651" cy="2971800"/>
          </a:xfrm>
          <a:prstGeom prst="rect">
            <a:avLst/>
          </a:prstGeom>
        </p:spPr>
        <p:txBody>
          <a:bodyPr anchor="b"/>
          <a:lstStyle>
            <a:lvl1pPr>
              <a:defRPr sz="5400" b="1" i="0">
                <a:solidFill>
                  <a:schemeClr val="bg2"/>
                </a:solidFill>
                <a:latin typeface="Montserrat SemiBold" pitchFamily="2" charset="77"/>
              </a:defRPr>
            </a:lvl1pPr>
          </a:lstStyle>
          <a:p>
            <a:r>
              <a:rPr lang="en-US"/>
              <a:t>Click to edit Master title style</a:t>
            </a:r>
          </a:p>
        </p:txBody>
      </p:sp>
      <p:sp>
        <p:nvSpPr>
          <p:cNvPr id="3" name="Text Placeholder 2"/>
          <p:cNvSpPr>
            <a:spLocks noGrp="1"/>
          </p:cNvSpPr>
          <p:nvPr>
            <p:ph type="body" idx="1"/>
          </p:nvPr>
        </p:nvSpPr>
        <p:spPr>
          <a:xfrm>
            <a:off x="432618" y="4101321"/>
            <a:ext cx="8401818" cy="641350"/>
          </a:xfrm>
          <a:prstGeom prst="rect">
            <a:avLst/>
          </a:prstGeom>
        </p:spPr>
        <p:txBody>
          <a:bodyPr/>
          <a:lstStyle>
            <a:lvl1pPr marL="0" indent="0">
              <a:buNone/>
              <a:defRPr sz="2400">
                <a:solidFill>
                  <a:schemeClr val="accent2"/>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5" name="Slide Number Placeholder 5">
            <a:extLst>
              <a:ext uri="{FF2B5EF4-FFF2-40B4-BE49-F238E27FC236}">
                <a16:creationId xmlns:a16="http://schemas.microsoft.com/office/drawing/2014/main" id="{577A0D8B-1D3E-F6EA-5B2E-C53771D309BA}"/>
              </a:ext>
            </a:extLst>
          </p:cNvPr>
          <p:cNvSpPr>
            <a:spLocks noGrp="1"/>
          </p:cNvSpPr>
          <p:nvPr>
            <p:ph type="sldNum" sz="quarter" idx="10"/>
          </p:nvPr>
        </p:nvSpPr>
        <p:spPr/>
        <p:txBody>
          <a:bodyPr/>
          <a:lstStyle>
            <a:lvl1pPr>
              <a:defRPr>
                <a:solidFill>
                  <a:schemeClr val="accent2"/>
                </a:solidFill>
              </a:defRPr>
            </a:lvl1pPr>
          </a:lstStyle>
          <a:p>
            <a:pPr>
              <a:defRPr/>
            </a:pPr>
            <a:fld id="{E147F4B0-95A8-43DB-BFB5-8B095617379B}" type="slidenum">
              <a:rPr lang="en-US"/>
              <a:pPr>
                <a:defRPr/>
              </a:pPr>
              <a:t>‹#›</a:t>
            </a:fld>
            <a:endParaRPr lang="en-US"/>
          </a:p>
        </p:txBody>
      </p:sp>
      <p:sp>
        <p:nvSpPr>
          <p:cNvPr id="6" name="Footer Placeholder 4">
            <a:extLst>
              <a:ext uri="{FF2B5EF4-FFF2-40B4-BE49-F238E27FC236}">
                <a16:creationId xmlns:a16="http://schemas.microsoft.com/office/drawing/2014/main" id="{F59C2888-9FE2-8C71-954F-1E30CF83D8E4}"/>
              </a:ext>
            </a:extLst>
          </p:cNvPr>
          <p:cNvSpPr>
            <a:spLocks noGrp="1"/>
          </p:cNvSpPr>
          <p:nvPr>
            <p:ph type="ftr" sz="quarter" idx="11"/>
          </p:nvPr>
        </p:nvSpPr>
        <p:spPr/>
        <p:txBody>
          <a:bodyPr/>
          <a:lstStyle>
            <a:lvl1pPr algn="l" eaLnBrk="1" fontAlgn="auto" hangingPunct="1">
              <a:spcBef>
                <a:spcPts val="0"/>
              </a:spcBef>
              <a:spcAft>
                <a:spcPts val="0"/>
              </a:spcAft>
              <a:defRPr sz="800">
                <a:solidFill>
                  <a:schemeClr val="bg2"/>
                </a:solidFill>
                <a:latin typeface="+mn-lt"/>
              </a:defRPr>
            </a:lvl1pPr>
          </a:lstStyle>
          <a:p>
            <a:pPr>
              <a:defRPr/>
            </a:pPr>
            <a:r>
              <a:rPr lang="en-US"/>
              <a:t>© 2024 Comcast. All rights reserved.</a:t>
            </a:r>
          </a:p>
        </p:txBody>
      </p:sp>
      <p:sp>
        <p:nvSpPr>
          <p:cNvPr id="9" name="Freeform 8">
            <a:extLst>
              <a:ext uri="{FF2B5EF4-FFF2-40B4-BE49-F238E27FC236}">
                <a16:creationId xmlns:a16="http://schemas.microsoft.com/office/drawing/2014/main" id="{ACB0759A-FE16-52B0-954C-A43DA66BC1DD}"/>
              </a:ext>
            </a:extLst>
          </p:cNvPr>
          <p:cNvSpPr/>
          <p:nvPr userDrawn="1"/>
        </p:nvSpPr>
        <p:spPr>
          <a:xfrm>
            <a:off x="9983595" y="5254908"/>
            <a:ext cx="1982224" cy="1603093"/>
          </a:xfrm>
          <a:custGeom>
            <a:avLst/>
            <a:gdLst>
              <a:gd name="connsiteX0" fmla="*/ 991112 w 1982224"/>
              <a:gd name="connsiteY0" fmla="*/ 0 h 1603093"/>
              <a:gd name="connsiteX1" fmla="*/ 1982224 w 1982224"/>
              <a:gd name="connsiteY1" fmla="*/ 991112 h 1603093"/>
              <a:gd name="connsiteX2" fmla="*/ 1812958 w 1982224"/>
              <a:gd name="connsiteY2" fmla="*/ 1545252 h 1603093"/>
              <a:gd name="connsiteX3" fmla="*/ 1765235 w 1982224"/>
              <a:gd name="connsiteY3" fmla="*/ 1603093 h 1603093"/>
              <a:gd name="connsiteX4" fmla="*/ 216990 w 1982224"/>
              <a:gd name="connsiteY4" fmla="*/ 1603093 h 1603093"/>
              <a:gd name="connsiteX5" fmla="*/ 169267 w 1982224"/>
              <a:gd name="connsiteY5" fmla="*/ 1545252 h 1603093"/>
              <a:gd name="connsiteX6" fmla="*/ 0 w 1982224"/>
              <a:gd name="connsiteY6" fmla="*/ 991112 h 1603093"/>
              <a:gd name="connsiteX7" fmla="*/ 991112 w 1982224"/>
              <a:gd name="connsiteY7" fmla="*/ 0 h 1603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82224" h="1603093">
                <a:moveTo>
                  <a:pt x="991112" y="0"/>
                </a:moveTo>
                <a:cubicBezTo>
                  <a:pt x="1538488" y="0"/>
                  <a:pt x="1982224" y="443736"/>
                  <a:pt x="1982224" y="991112"/>
                </a:cubicBezTo>
                <a:cubicBezTo>
                  <a:pt x="1982224" y="1196378"/>
                  <a:pt x="1919824" y="1387070"/>
                  <a:pt x="1812958" y="1545252"/>
                </a:cubicBezTo>
                <a:lnTo>
                  <a:pt x="1765235" y="1603093"/>
                </a:lnTo>
                <a:lnTo>
                  <a:pt x="216990" y="1603093"/>
                </a:lnTo>
                <a:lnTo>
                  <a:pt x="169267" y="1545252"/>
                </a:lnTo>
                <a:cubicBezTo>
                  <a:pt x="62401" y="1387070"/>
                  <a:pt x="0" y="1196378"/>
                  <a:pt x="0" y="991112"/>
                </a:cubicBezTo>
                <a:cubicBezTo>
                  <a:pt x="0" y="443736"/>
                  <a:pt x="443736" y="0"/>
                  <a:pt x="991112"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Date Placeholder 3">
            <a:extLst>
              <a:ext uri="{FF2B5EF4-FFF2-40B4-BE49-F238E27FC236}">
                <a16:creationId xmlns:a16="http://schemas.microsoft.com/office/drawing/2014/main" id="{7151E7D3-9793-A945-DBB8-41C6192B349A}"/>
              </a:ext>
            </a:extLst>
          </p:cNvPr>
          <p:cNvSpPr>
            <a:spLocks noGrp="1"/>
          </p:cNvSpPr>
          <p:nvPr>
            <p:ph type="dt" sz="half" idx="12"/>
          </p:nvPr>
        </p:nvSpPr>
        <p:spPr>
          <a:xfrm>
            <a:off x="457200" y="6107578"/>
            <a:ext cx="4114799" cy="274320"/>
          </a:xfrm>
          <a:prstGeom prst="rect">
            <a:avLst/>
          </a:prstGeom>
        </p:spPr>
        <p:txBody>
          <a:bodyPr lIns="0" tIns="0" rIns="0" bIns="0">
            <a:noAutofit/>
          </a:bodyPr>
          <a:lstStyle>
            <a:lvl1pPr>
              <a:defRPr sz="1400">
                <a:solidFill>
                  <a:schemeClr val="accent2"/>
                </a:solidFill>
              </a:defRPr>
            </a:lvl1pPr>
          </a:lstStyle>
          <a:p>
            <a:endParaRPr lang="en-US"/>
          </a:p>
        </p:txBody>
      </p:sp>
      <p:pic>
        <p:nvPicPr>
          <p:cNvPr id="7" name="Content Placeholder 13">
            <a:extLst>
              <a:ext uri="{FF2B5EF4-FFF2-40B4-BE49-F238E27FC236}">
                <a16:creationId xmlns:a16="http://schemas.microsoft.com/office/drawing/2014/main" id="{884C0D7E-BB11-6FB3-894B-7390B29BFFB1}"/>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auto">
          <a:xfrm>
            <a:off x="10074909" y="5345725"/>
            <a:ext cx="1771994" cy="1771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5820362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Section Divide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2788" y="685800"/>
            <a:ext cx="8411651" cy="2971800"/>
          </a:xfrm>
          <a:prstGeom prst="rect">
            <a:avLst/>
          </a:prstGeom>
        </p:spPr>
        <p:txBody>
          <a:bodyPr anchor="b"/>
          <a:lstStyle>
            <a:lvl1pPr>
              <a:defRPr sz="5400" b="1" i="0">
                <a:solidFill>
                  <a:schemeClr val="bg2"/>
                </a:solidFill>
                <a:latin typeface="Montserrat SemiBold" pitchFamily="2" charset="77"/>
              </a:defRPr>
            </a:lvl1pPr>
          </a:lstStyle>
          <a:p>
            <a:r>
              <a:rPr lang="en-US"/>
              <a:t>Click to edit Master title style</a:t>
            </a:r>
          </a:p>
        </p:txBody>
      </p:sp>
      <p:sp>
        <p:nvSpPr>
          <p:cNvPr id="3" name="Text Placeholder 2"/>
          <p:cNvSpPr>
            <a:spLocks noGrp="1"/>
          </p:cNvSpPr>
          <p:nvPr>
            <p:ph type="body" idx="1"/>
          </p:nvPr>
        </p:nvSpPr>
        <p:spPr>
          <a:xfrm>
            <a:off x="432618" y="4101321"/>
            <a:ext cx="8401818" cy="641350"/>
          </a:xfrm>
          <a:prstGeom prst="rect">
            <a:avLst/>
          </a:prstGeom>
        </p:spPr>
        <p:txBody>
          <a:bodyPr/>
          <a:lstStyle>
            <a:lvl1pPr marL="0" indent="0">
              <a:buNone/>
              <a:defRPr sz="2400">
                <a:solidFill>
                  <a:schemeClr val="accent2"/>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5" name="Slide Number Placeholder 5">
            <a:extLst>
              <a:ext uri="{FF2B5EF4-FFF2-40B4-BE49-F238E27FC236}">
                <a16:creationId xmlns:a16="http://schemas.microsoft.com/office/drawing/2014/main" id="{577A0D8B-1D3E-F6EA-5B2E-C53771D309BA}"/>
              </a:ext>
            </a:extLst>
          </p:cNvPr>
          <p:cNvSpPr>
            <a:spLocks noGrp="1"/>
          </p:cNvSpPr>
          <p:nvPr>
            <p:ph type="sldNum" sz="quarter" idx="10"/>
          </p:nvPr>
        </p:nvSpPr>
        <p:spPr/>
        <p:txBody>
          <a:bodyPr/>
          <a:lstStyle>
            <a:lvl1pPr>
              <a:defRPr>
                <a:solidFill>
                  <a:schemeClr val="accent2"/>
                </a:solidFill>
              </a:defRPr>
            </a:lvl1pPr>
          </a:lstStyle>
          <a:p>
            <a:pPr>
              <a:defRPr/>
            </a:pPr>
            <a:fld id="{E147F4B0-95A8-43DB-BFB5-8B095617379B}" type="slidenum">
              <a:rPr lang="en-US"/>
              <a:pPr>
                <a:defRPr/>
              </a:pPr>
              <a:t>‹#›</a:t>
            </a:fld>
            <a:endParaRPr lang="en-US"/>
          </a:p>
        </p:txBody>
      </p:sp>
      <p:sp>
        <p:nvSpPr>
          <p:cNvPr id="6" name="Footer Placeholder 4">
            <a:extLst>
              <a:ext uri="{FF2B5EF4-FFF2-40B4-BE49-F238E27FC236}">
                <a16:creationId xmlns:a16="http://schemas.microsoft.com/office/drawing/2014/main" id="{F59C2888-9FE2-8C71-954F-1E30CF83D8E4}"/>
              </a:ext>
            </a:extLst>
          </p:cNvPr>
          <p:cNvSpPr>
            <a:spLocks noGrp="1"/>
          </p:cNvSpPr>
          <p:nvPr>
            <p:ph type="ftr" sz="quarter" idx="11"/>
          </p:nvPr>
        </p:nvSpPr>
        <p:spPr/>
        <p:txBody>
          <a:bodyPr/>
          <a:lstStyle>
            <a:lvl1pPr algn="l" eaLnBrk="1" fontAlgn="auto" hangingPunct="1">
              <a:spcBef>
                <a:spcPts val="0"/>
              </a:spcBef>
              <a:spcAft>
                <a:spcPts val="0"/>
              </a:spcAft>
              <a:defRPr sz="800">
                <a:solidFill>
                  <a:schemeClr val="bg2"/>
                </a:solidFill>
                <a:latin typeface="+mn-lt"/>
              </a:defRPr>
            </a:lvl1pPr>
          </a:lstStyle>
          <a:p>
            <a:pPr>
              <a:defRPr/>
            </a:pPr>
            <a:r>
              <a:rPr lang="en-US"/>
              <a:t>© 2024 Comcast. All rights reserved.</a:t>
            </a:r>
          </a:p>
        </p:txBody>
      </p:sp>
      <p:sp>
        <p:nvSpPr>
          <p:cNvPr id="9" name="Freeform 8">
            <a:extLst>
              <a:ext uri="{FF2B5EF4-FFF2-40B4-BE49-F238E27FC236}">
                <a16:creationId xmlns:a16="http://schemas.microsoft.com/office/drawing/2014/main" id="{ACB0759A-FE16-52B0-954C-A43DA66BC1DD}"/>
              </a:ext>
            </a:extLst>
          </p:cNvPr>
          <p:cNvSpPr/>
          <p:nvPr userDrawn="1"/>
        </p:nvSpPr>
        <p:spPr>
          <a:xfrm>
            <a:off x="9983595" y="5254908"/>
            <a:ext cx="1982224" cy="1603093"/>
          </a:xfrm>
          <a:custGeom>
            <a:avLst/>
            <a:gdLst>
              <a:gd name="connsiteX0" fmla="*/ 991112 w 1982224"/>
              <a:gd name="connsiteY0" fmla="*/ 0 h 1603093"/>
              <a:gd name="connsiteX1" fmla="*/ 1982224 w 1982224"/>
              <a:gd name="connsiteY1" fmla="*/ 991112 h 1603093"/>
              <a:gd name="connsiteX2" fmla="*/ 1812958 w 1982224"/>
              <a:gd name="connsiteY2" fmla="*/ 1545252 h 1603093"/>
              <a:gd name="connsiteX3" fmla="*/ 1765235 w 1982224"/>
              <a:gd name="connsiteY3" fmla="*/ 1603093 h 1603093"/>
              <a:gd name="connsiteX4" fmla="*/ 216990 w 1982224"/>
              <a:gd name="connsiteY4" fmla="*/ 1603093 h 1603093"/>
              <a:gd name="connsiteX5" fmla="*/ 169267 w 1982224"/>
              <a:gd name="connsiteY5" fmla="*/ 1545252 h 1603093"/>
              <a:gd name="connsiteX6" fmla="*/ 0 w 1982224"/>
              <a:gd name="connsiteY6" fmla="*/ 991112 h 1603093"/>
              <a:gd name="connsiteX7" fmla="*/ 991112 w 1982224"/>
              <a:gd name="connsiteY7" fmla="*/ 0 h 1603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82224" h="1603093">
                <a:moveTo>
                  <a:pt x="991112" y="0"/>
                </a:moveTo>
                <a:cubicBezTo>
                  <a:pt x="1538488" y="0"/>
                  <a:pt x="1982224" y="443736"/>
                  <a:pt x="1982224" y="991112"/>
                </a:cubicBezTo>
                <a:cubicBezTo>
                  <a:pt x="1982224" y="1196378"/>
                  <a:pt x="1919824" y="1387070"/>
                  <a:pt x="1812958" y="1545252"/>
                </a:cubicBezTo>
                <a:lnTo>
                  <a:pt x="1765235" y="1603093"/>
                </a:lnTo>
                <a:lnTo>
                  <a:pt x="216990" y="1603093"/>
                </a:lnTo>
                <a:lnTo>
                  <a:pt x="169267" y="1545252"/>
                </a:lnTo>
                <a:cubicBezTo>
                  <a:pt x="62401" y="1387070"/>
                  <a:pt x="0" y="1196378"/>
                  <a:pt x="0" y="991112"/>
                </a:cubicBezTo>
                <a:cubicBezTo>
                  <a:pt x="0" y="443736"/>
                  <a:pt x="443736" y="0"/>
                  <a:pt x="991112"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10" name="Content Placeholder 13">
            <a:extLst>
              <a:ext uri="{FF2B5EF4-FFF2-40B4-BE49-F238E27FC236}">
                <a16:creationId xmlns:a16="http://schemas.microsoft.com/office/drawing/2014/main" id="{68BA8CB7-5B9E-1D99-961A-36C3F6A43DB6}"/>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auto">
          <a:xfrm>
            <a:off x="10074909" y="5345725"/>
            <a:ext cx="1771994" cy="1771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7870593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10_Title Slide 2">
    <p:bg>
      <p:bgPr>
        <a:solidFill>
          <a:schemeClr val="accent3"/>
        </a:solidFill>
        <a:effectLst/>
      </p:bgPr>
    </p:bg>
    <p:spTree>
      <p:nvGrpSpPr>
        <p:cNvPr id="1" name=""/>
        <p:cNvGrpSpPr/>
        <p:nvPr/>
      </p:nvGrpSpPr>
      <p:grpSpPr>
        <a:xfrm>
          <a:off x="0" y="0"/>
          <a:ext cx="0" cy="0"/>
          <a:chOff x="0" y="0"/>
          <a:chExt cx="0" cy="0"/>
        </a:xfrm>
      </p:grpSpPr>
      <p:sp>
        <p:nvSpPr>
          <p:cNvPr id="17" name="Freeform 16">
            <a:extLst>
              <a:ext uri="{FF2B5EF4-FFF2-40B4-BE49-F238E27FC236}">
                <a16:creationId xmlns:a16="http://schemas.microsoft.com/office/drawing/2014/main" id="{1246520B-AE11-113E-2C7D-05E324FE73EF}"/>
              </a:ext>
            </a:extLst>
          </p:cNvPr>
          <p:cNvSpPr/>
          <p:nvPr userDrawn="1"/>
        </p:nvSpPr>
        <p:spPr>
          <a:xfrm rot="5400000">
            <a:off x="2667000" y="-2667000"/>
            <a:ext cx="6858000" cy="12192000"/>
          </a:xfrm>
          <a:custGeom>
            <a:avLst/>
            <a:gdLst>
              <a:gd name="connsiteX0" fmla="*/ 0 w 6858000"/>
              <a:gd name="connsiteY0" fmla="*/ 12192000 h 12192000"/>
              <a:gd name="connsiteX1" fmla="*/ 0 w 6858000"/>
              <a:gd name="connsiteY1" fmla="*/ 0 h 12192000"/>
              <a:gd name="connsiteX2" fmla="*/ 2374132 w 6858000"/>
              <a:gd name="connsiteY2" fmla="*/ 0 h 12192000"/>
              <a:gd name="connsiteX3" fmla="*/ 2487876 w 6858000"/>
              <a:gd name="connsiteY3" fmla="*/ 32300 h 12192000"/>
              <a:gd name="connsiteX4" fmla="*/ 6858000 w 6858000"/>
              <a:gd name="connsiteY4" fmla="*/ 5972338 h 12192000"/>
              <a:gd name="connsiteX5" fmla="*/ 6858000 w 6858000"/>
              <a:gd name="connsiteY5" fmla="*/ 12192000 h 121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58000" h="12192000">
                <a:moveTo>
                  <a:pt x="0" y="12192000"/>
                </a:moveTo>
                <a:lnTo>
                  <a:pt x="0" y="0"/>
                </a:lnTo>
                <a:lnTo>
                  <a:pt x="2374132" y="0"/>
                </a:lnTo>
                <a:lnTo>
                  <a:pt x="2487876" y="32300"/>
                </a:lnTo>
                <a:cubicBezTo>
                  <a:pt x="5019704" y="819780"/>
                  <a:pt x="6858000" y="3181381"/>
                  <a:pt x="6858000" y="5972338"/>
                </a:cubicBezTo>
                <a:lnTo>
                  <a:pt x="6858000" y="1219200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 name="Slide Number Placeholder 5">
            <a:extLst>
              <a:ext uri="{FF2B5EF4-FFF2-40B4-BE49-F238E27FC236}">
                <a16:creationId xmlns:a16="http://schemas.microsoft.com/office/drawing/2014/main" id="{8B3ADEC0-A32E-6893-2E3F-FB07C4CC3B2E}"/>
              </a:ext>
            </a:extLst>
          </p:cNvPr>
          <p:cNvSpPr>
            <a:spLocks noGrp="1"/>
          </p:cNvSpPr>
          <p:nvPr>
            <p:ph type="sldNum" sz="quarter" idx="10"/>
          </p:nvPr>
        </p:nvSpPr>
        <p:spPr>
          <a:xfrm>
            <a:off x="11341100" y="6424613"/>
            <a:ext cx="393700" cy="200025"/>
          </a:xfrm>
        </p:spPr>
        <p:txBody>
          <a:bodyPr/>
          <a:lstStyle>
            <a:lvl1pPr>
              <a:defRPr baseline="0">
                <a:solidFill>
                  <a:schemeClr val="tx2"/>
                </a:solidFill>
              </a:defRPr>
            </a:lvl1pPr>
          </a:lstStyle>
          <a:p>
            <a:pPr>
              <a:defRPr/>
            </a:pPr>
            <a:fld id="{5F05AE8C-CF5F-4A4E-B69B-C9D8FA4EC18A}" type="slidenum">
              <a:rPr lang="en-US" smtClean="0"/>
              <a:pPr>
                <a:defRPr/>
              </a:pPr>
              <a:t>‹#›</a:t>
            </a:fld>
            <a:endParaRPr lang="en-US"/>
          </a:p>
        </p:txBody>
      </p:sp>
      <p:sp>
        <p:nvSpPr>
          <p:cNvPr id="4" name="Footer Placeholder 4">
            <a:extLst>
              <a:ext uri="{FF2B5EF4-FFF2-40B4-BE49-F238E27FC236}">
                <a16:creationId xmlns:a16="http://schemas.microsoft.com/office/drawing/2014/main" id="{53679675-1C7E-31F5-9D31-B7EECD6AD1A2}"/>
              </a:ext>
            </a:extLst>
          </p:cNvPr>
          <p:cNvSpPr>
            <a:spLocks noGrp="1"/>
          </p:cNvSpPr>
          <p:nvPr>
            <p:ph type="ftr" sz="quarter" idx="11"/>
          </p:nvPr>
        </p:nvSpPr>
        <p:spPr>
          <a:xfrm>
            <a:off x="463550" y="6427788"/>
            <a:ext cx="4114800" cy="198437"/>
          </a:xfrm>
        </p:spPr>
        <p:txBody>
          <a:bodyPr/>
          <a:lstStyle>
            <a:lvl1pPr algn="l" eaLnBrk="1" fontAlgn="auto" hangingPunct="1">
              <a:spcBef>
                <a:spcPts val="0"/>
              </a:spcBef>
              <a:spcAft>
                <a:spcPts val="0"/>
              </a:spcAft>
              <a:defRPr sz="800" baseline="0">
                <a:solidFill>
                  <a:schemeClr val="bg2"/>
                </a:solidFill>
                <a:latin typeface="+mn-lt"/>
              </a:defRPr>
            </a:lvl1pPr>
          </a:lstStyle>
          <a:p>
            <a:pPr>
              <a:defRPr/>
            </a:pPr>
            <a:r>
              <a:rPr lang="en-US"/>
              <a:t>© 2024 Comcast. All rights reserved.</a:t>
            </a:r>
          </a:p>
        </p:txBody>
      </p:sp>
      <p:grpSp>
        <p:nvGrpSpPr>
          <p:cNvPr id="7" name="Group 12">
            <a:extLst>
              <a:ext uri="{FF2B5EF4-FFF2-40B4-BE49-F238E27FC236}">
                <a16:creationId xmlns:a16="http://schemas.microsoft.com/office/drawing/2014/main" id="{7A531492-E8D3-0527-D96B-F4F28EC4EE37}"/>
              </a:ext>
            </a:extLst>
          </p:cNvPr>
          <p:cNvGrpSpPr>
            <a:grpSpLocks noChangeAspect="1"/>
          </p:cNvGrpSpPr>
          <p:nvPr userDrawn="1"/>
        </p:nvGrpSpPr>
        <p:grpSpPr bwMode="auto">
          <a:xfrm>
            <a:off x="8680450" y="6437313"/>
            <a:ext cx="2522538" cy="184150"/>
            <a:chOff x="288" y="4035"/>
            <a:chExt cx="1589" cy="116"/>
          </a:xfrm>
          <a:solidFill>
            <a:schemeClr val="tx2"/>
          </a:solidFill>
        </p:grpSpPr>
        <p:sp>
          <p:nvSpPr>
            <p:cNvPr id="8" name="Freeform 5">
              <a:extLst>
                <a:ext uri="{FF2B5EF4-FFF2-40B4-BE49-F238E27FC236}">
                  <a16:creationId xmlns:a16="http://schemas.microsoft.com/office/drawing/2014/main" id="{F9058507-FD99-E598-FBD5-570057E1CC7C}"/>
                </a:ext>
              </a:extLst>
            </p:cNvPr>
            <p:cNvSpPr>
              <a:spLocks noEditPoints="1"/>
            </p:cNvSpPr>
            <p:nvPr/>
          </p:nvSpPr>
          <p:spPr bwMode="auto">
            <a:xfrm>
              <a:off x="288" y="4035"/>
              <a:ext cx="769" cy="116"/>
            </a:xfrm>
            <a:custGeom>
              <a:avLst/>
              <a:gdLst>
                <a:gd name="T0" fmla="*/ 30 w 3874"/>
                <a:gd name="T1" fmla="*/ 0 h 573"/>
                <a:gd name="T2" fmla="*/ 28 w 3874"/>
                <a:gd name="T3" fmla="*/ 0 h 573"/>
                <a:gd name="T4" fmla="*/ 28 w 3874"/>
                <a:gd name="T5" fmla="*/ 0 h 573"/>
                <a:gd name="T6" fmla="*/ 29 w 3874"/>
                <a:gd name="T7" fmla="*/ 5 h 573"/>
                <a:gd name="T8" fmla="*/ 29 w 3874"/>
                <a:gd name="T9" fmla="*/ 0 h 573"/>
                <a:gd name="T10" fmla="*/ 30 w 3874"/>
                <a:gd name="T11" fmla="*/ 0 h 573"/>
                <a:gd name="T12" fmla="*/ 22 w 3874"/>
                <a:gd name="T13" fmla="*/ 0 h 573"/>
                <a:gd name="T14" fmla="*/ 20 w 3874"/>
                <a:gd name="T15" fmla="*/ 4 h 573"/>
                <a:gd name="T16" fmla="*/ 20 w 3874"/>
                <a:gd name="T17" fmla="*/ 5 h 573"/>
                <a:gd name="T18" fmla="*/ 21 w 3874"/>
                <a:gd name="T19" fmla="*/ 3 h 573"/>
                <a:gd name="T20" fmla="*/ 23 w 3874"/>
                <a:gd name="T21" fmla="*/ 5 h 573"/>
                <a:gd name="T22" fmla="*/ 22 w 3874"/>
                <a:gd name="T23" fmla="*/ 0 h 573"/>
                <a:gd name="T24" fmla="*/ 21 w 3874"/>
                <a:gd name="T25" fmla="*/ 2 h 573"/>
                <a:gd name="T26" fmla="*/ 22 w 3874"/>
                <a:gd name="T27" fmla="*/ 1 h 573"/>
                <a:gd name="T28" fmla="*/ 21 w 3874"/>
                <a:gd name="T29" fmla="*/ 2 h 573"/>
                <a:gd name="T30" fmla="*/ 14 w 3874"/>
                <a:gd name="T31" fmla="*/ 0 h 573"/>
                <a:gd name="T32" fmla="*/ 12 w 3874"/>
                <a:gd name="T33" fmla="*/ 4 h 573"/>
                <a:gd name="T34" fmla="*/ 11 w 3874"/>
                <a:gd name="T35" fmla="*/ 0 h 573"/>
                <a:gd name="T36" fmla="*/ 10 w 3874"/>
                <a:gd name="T37" fmla="*/ 4 h 573"/>
                <a:gd name="T38" fmla="*/ 10 w 3874"/>
                <a:gd name="T39" fmla="*/ 5 h 573"/>
                <a:gd name="T40" fmla="*/ 11 w 3874"/>
                <a:gd name="T41" fmla="*/ 1 h 573"/>
                <a:gd name="T42" fmla="*/ 12 w 3874"/>
                <a:gd name="T43" fmla="*/ 4 h 573"/>
                <a:gd name="T44" fmla="*/ 13 w 3874"/>
                <a:gd name="T45" fmla="*/ 1 h 573"/>
                <a:gd name="T46" fmla="*/ 15 w 3874"/>
                <a:gd name="T47" fmla="*/ 5 h 573"/>
                <a:gd name="T48" fmla="*/ 14 w 3874"/>
                <a:gd name="T49" fmla="*/ 0 h 573"/>
                <a:gd name="T50" fmla="*/ 17 w 3874"/>
                <a:gd name="T51" fmla="*/ 0 h 573"/>
                <a:gd name="T52" fmla="*/ 19 w 3874"/>
                <a:gd name="T53" fmla="*/ 1 h 573"/>
                <a:gd name="T54" fmla="*/ 19 w 3874"/>
                <a:gd name="T55" fmla="*/ 1 h 573"/>
                <a:gd name="T56" fmla="*/ 17 w 3874"/>
                <a:gd name="T57" fmla="*/ 0 h 573"/>
                <a:gd name="T58" fmla="*/ 17 w 3874"/>
                <a:gd name="T59" fmla="*/ 5 h 573"/>
                <a:gd name="T60" fmla="*/ 19 w 3874"/>
                <a:gd name="T61" fmla="*/ 4 h 573"/>
                <a:gd name="T62" fmla="*/ 16 w 3874"/>
                <a:gd name="T63" fmla="*/ 2 h 573"/>
                <a:gd name="T64" fmla="*/ 2 w 3874"/>
                <a:gd name="T65" fmla="*/ 0 h 573"/>
                <a:gd name="T66" fmla="*/ 4 w 3874"/>
                <a:gd name="T67" fmla="*/ 1 h 573"/>
                <a:gd name="T68" fmla="*/ 4 w 3874"/>
                <a:gd name="T69" fmla="*/ 1 h 573"/>
                <a:gd name="T70" fmla="*/ 4 w 3874"/>
                <a:gd name="T71" fmla="*/ 1 h 573"/>
                <a:gd name="T72" fmla="*/ 0 w 3874"/>
                <a:gd name="T73" fmla="*/ 2 h 573"/>
                <a:gd name="T74" fmla="*/ 4 w 3874"/>
                <a:gd name="T75" fmla="*/ 4 h 573"/>
                <a:gd name="T76" fmla="*/ 2 w 3874"/>
                <a:gd name="T77" fmla="*/ 4 h 573"/>
                <a:gd name="T78" fmla="*/ 2 w 3874"/>
                <a:gd name="T79" fmla="*/ 0 h 573"/>
                <a:gd name="T80" fmla="*/ 26 w 3874"/>
                <a:gd name="T81" fmla="*/ 2 h 573"/>
                <a:gd name="T82" fmla="*/ 25 w 3874"/>
                <a:gd name="T83" fmla="*/ 1 h 573"/>
                <a:gd name="T84" fmla="*/ 26 w 3874"/>
                <a:gd name="T85" fmla="*/ 1 h 573"/>
                <a:gd name="T86" fmla="*/ 27 w 3874"/>
                <a:gd name="T87" fmla="*/ 0 h 573"/>
                <a:gd name="T88" fmla="*/ 26 w 3874"/>
                <a:gd name="T89" fmla="*/ 0 h 573"/>
                <a:gd name="T90" fmla="*/ 25 w 3874"/>
                <a:gd name="T91" fmla="*/ 2 h 573"/>
                <a:gd name="T92" fmla="*/ 26 w 3874"/>
                <a:gd name="T93" fmla="*/ 3 h 573"/>
                <a:gd name="T94" fmla="*/ 24 w 3874"/>
                <a:gd name="T95" fmla="*/ 4 h 573"/>
                <a:gd name="T96" fmla="*/ 24 w 3874"/>
                <a:gd name="T97" fmla="*/ 4 h 573"/>
                <a:gd name="T98" fmla="*/ 26 w 3874"/>
                <a:gd name="T99" fmla="*/ 5 h 573"/>
                <a:gd name="T100" fmla="*/ 26 w 3874"/>
                <a:gd name="T101" fmla="*/ 2 h 573"/>
                <a:gd name="T102" fmla="*/ 7 w 3874"/>
                <a:gd name="T103" fmla="*/ 0 h 573"/>
                <a:gd name="T104" fmla="*/ 7 w 3874"/>
                <a:gd name="T105" fmla="*/ 5 h 573"/>
                <a:gd name="T106" fmla="*/ 7 w 3874"/>
                <a:gd name="T107" fmla="*/ 0 h 573"/>
                <a:gd name="T108" fmla="*/ 7 w 3874"/>
                <a:gd name="T109" fmla="*/ 4 h 573"/>
                <a:gd name="T110" fmla="*/ 7 w 3874"/>
                <a:gd name="T111" fmla="*/ 0 h 573"/>
                <a:gd name="T112" fmla="*/ 7 w 3874"/>
                <a:gd name="T113" fmla="*/ 4 h 57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874" h="573">
                  <a:moveTo>
                    <a:pt x="3874" y="31"/>
                  </a:moveTo>
                  <a:lnTo>
                    <a:pt x="3874" y="31"/>
                  </a:lnTo>
                  <a:cubicBezTo>
                    <a:pt x="3874" y="16"/>
                    <a:pt x="3861" y="3"/>
                    <a:pt x="3846" y="3"/>
                  </a:cubicBezTo>
                  <a:lnTo>
                    <a:pt x="3527" y="3"/>
                  </a:lnTo>
                  <a:cubicBezTo>
                    <a:pt x="3512" y="3"/>
                    <a:pt x="3499" y="15"/>
                    <a:pt x="3499" y="31"/>
                  </a:cubicBezTo>
                  <a:cubicBezTo>
                    <a:pt x="3499" y="47"/>
                    <a:pt x="3511" y="59"/>
                    <a:pt x="3527" y="59"/>
                  </a:cubicBezTo>
                  <a:lnTo>
                    <a:pt x="3661" y="59"/>
                  </a:lnTo>
                  <a:lnTo>
                    <a:pt x="3661" y="569"/>
                  </a:lnTo>
                  <a:lnTo>
                    <a:pt x="3713" y="569"/>
                  </a:lnTo>
                  <a:lnTo>
                    <a:pt x="3713" y="59"/>
                  </a:lnTo>
                  <a:lnTo>
                    <a:pt x="3846" y="59"/>
                  </a:lnTo>
                  <a:cubicBezTo>
                    <a:pt x="3862" y="60"/>
                    <a:pt x="3874" y="47"/>
                    <a:pt x="3874" y="31"/>
                  </a:cubicBezTo>
                  <a:close/>
                  <a:moveTo>
                    <a:pt x="2759" y="0"/>
                  </a:moveTo>
                  <a:lnTo>
                    <a:pt x="2759" y="0"/>
                  </a:lnTo>
                  <a:cubicBezTo>
                    <a:pt x="2748" y="0"/>
                    <a:pt x="2741" y="7"/>
                    <a:pt x="2735" y="16"/>
                  </a:cubicBezTo>
                  <a:cubicBezTo>
                    <a:pt x="2731" y="26"/>
                    <a:pt x="2523" y="538"/>
                    <a:pt x="2523" y="538"/>
                  </a:cubicBezTo>
                  <a:cubicBezTo>
                    <a:pt x="2522" y="541"/>
                    <a:pt x="2521" y="544"/>
                    <a:pt x="2521" y="547"/>
                  </a:cubicBezTo>
                  <a:cubicBezTo>
                    <a:pt x="2521" y="562"/>
                    <a:pt x="2532" y="573"/>
                    <a:pt x="2547" y="573"/>
                  </a:cubicBezTo>
                  <a:cubicBezTo>
                    <a:pt x="2558" y="573"/>
                    <a:pt x="2567" y="566"/>
                    <a:pt x="2570" y="556"/>
                  </a:cubicBezTo>
                  <a:lnTo>
                    <a:pt x="2651" y="359"/>
                  </a:lnTo>
                  <a:lnTo>
                    <a:pt x="2868" y="359"/>
                  </a:lnTo>
                  <a:lnTo>
                    <a:pt x="2954" y="569"/>
                  </a:lnTo>
                  <a:lnTo>
                    <a:pt x="3009" y="569"/>
                  </a:lnTo>
                  <a:cubicBezTo>
                    <a:pt x="3009" y="569"/>
                    <a:pt x="2788" y="25"/>
                    <a:pt x="2784" y="16"/>
                  </a:cubicBezTo>
                  <a:cubicBezTo>
                    <a:pt x="2779" y="7"/>
                    <a:pt x="2770" y="0"/>
                    <a:pt x="2759" y="0"/>
                  </a:cubicBezTo>
                  <a:close/>
                  <a:moveTo>
                    <a:pt x="2675" y="302"/>
                  </a:moveTo>
                  <a:lnTo>
                    <a:pt x="2675" y="302"/>
                  </a:lnTo>
                  <a:lnTo>
                    <a:pt x="2760" y="93"/>
                  </a:lnTo>
                  <a:lnTo>
                    <a:pt x="2845" y="302"/>
                  </a:lnTo>
                  <a:lnTo>
                    <a:pt x="2675" y="302"/>
                  </a:lnTo>
                  <a:close/>
                  <a:moveTo>
                    <a:pt x="1742" y="0"/>
                  </a:moveTo>
                  <a:lnTo>
                    <a:pt x="1742" y="0"/>
                  </a:lnTo>
                  <a:cubicBezTo>
                    <a:pt x="1731" y="0"/>
                    <a:pt x="1723" y="7"/>
                    <a:pt x="1718" y="16"/>
                  </a:cubicBezTo>
                  <a:cubicBezTo>
                    <a:pt x="1714" y="25"/>
                    <a:pt x="1549" y="430"/>
                    <a:pt x="1549" y="430"/>
                  </a:cubicBezTo>
                  <a:cubicBezTo>
                    <a:pt x="1549" y="430"/>
                    <a:pt x="1385" y="24"/>
                    <a:pt x="1381" y="16"/>
                  </a:cubicBezTo>
                  <a:cubicBezTo>
                    <a:pt x="1376" y="7"/>
                    <a:pt x="1368" y="0"/>
                    <a:pt x="1357" y="0"/>
                  </a:cubicBezTo>
                  <a:cubicBezTo>
                    <a:pt x="1345" y="0"/>
                    <a:pt x="1335" y="9"/>
                    <a:pt x="1332" y="21"/>
                  </a:cubicBezTo>
                  <a:cubicBezTo>
                    <a:pt x="1329" y="33"/>
                    <a:pt x="1237" y="543"/>
                    <a:pt x="1237" y="543"/>
                  </a:cubicBezTo>
                  <a:cubicBezTo>
                    <a:pt x="1237" y="545"/>
                    <a:pt x="1236" y="546"/>
                    <a:pt x="1236" y="548"/>
                  </a:cubicBezTo>
                  <a:cubicBezTo>
                    <a:pt x="1236" y="562"/>
                    <a:pt x="1247" y="573"/>
                    <a:pt x="1261" y="573"/>
                  </a:cubicBezTo>
                  <a:cubicBezTo>
                    <a:pt x="1273" y="573"/>
                    <a:pt x="1284" y="564"/>
                    <a:pt x="1286" y="553"/>
                  </a:cubicBezTo>
                  <a:lnTo>
                    <a:pt x="1366" y="116"/>
                  </a:lnTo>
                  <a:cubicBezTo>
                    <a:pt x="1366" y="116"/>
                    <a:pt x="1521" y="498"/>
                    <a:pt x="1526" y="507"/>
                  </a:cubicBezTo>
                  <a:cubicBezTo>
                    <a:pt x="1530" y="516"/>
                    <a:pt x="1538" y="523"/>
                    <a:pt x="1549" y="523"/>
                  </a:cubicBezTo>
                  <a:cubicBezTo>
                    <a:pt x="1560" y="523"/>
                    <a:pt x="1569" y="516"/>
                    <a:pt x="1573" y="507"/>
                  </a:cubicBezTo>
                  <a:cubicBezTo>
                    <a:pt x="1578" y="498"/>
                    <a:pt x="1732" y="116"/>
                    <a:pt x="1732" y="116"/>
                  </a:cubicBezTo>
                  <a:lnTo>
                    <a:pt x="1816" y="570"/>
                  </a:lnTo>
                  <a:lnTo>
                    <a:pt x="1868" y="570"/>
                  </a:lnTo>
                  <a:cubicBezTo>
                    <a:pt x="1868" y="570"/>
                    <a:pt x="1770" y="33"/>
                    <a:pt x="1767" y="21"/>
                  </a:cubicBezTo>
                  <a:cubicBezTo>
                    <a:pt x="1763" y="9"/>
                    <a:pt x="1754" y="0"/>
                    <a:pt x="1742" y="0"/>
                  </a:cubicBezTo>
                  <a:close/>
                  <a:moveTo>
                    <a:pt x="2226" y="57"/>
                  </a:moveTo>
                  <a:lnTo>
                    <a:pt x="2226" y="57"/>
                  </a:lnTo>
                  <a:cubicBezTo>
                    <a:pt x="2288" y="57"/>
                    <a:pt x="2345" y="80"/>
                    <a:pt x="2389" y="124"/>
                  </a:cubicBezTo>
                  <a:cubicBezTo>
                    <a:pt x="2399" y="134"/>
                    <a:pt x="2419" y="134"/>
                    <a:pt x="2429" y="124"/>
                  </a:cubicBezTo>
                  <a:cubicBezTo>
                    <a:pt x="2434" y="119"/>
                    <a:pt x="2437" y="112"/>
                    <a:pt x="2437" y="104"/>
                  </a:cubicBezTo>
                  <a:cubicBezTo>
                    <a:pt x="2437" y="96"/>
                    <a:pt x="2434" y="89"/>
                    <a:pt x="2429" y="84"/>
                  </a:cubicBezTo>
                  <a:lnTo>
                    <a:pt x="2426" y="80"/>
                  </a:lnTo>
                  <a:cubicBezTo>
                    <a:pt x="2372" y="29"/>
                    <a:pt x="2301" y="0"/>
                    <a:pt x="2226" y="0"/>
                  </a:cubicBezTo>
                  <a:cubicBezTo>
                    <a:pt x="2069" y="0"/>
                    <a:pt x="1940" y="129"/>
                    <a:pt x="1940" y="287"/>
                  </a:cubicBezTo>
                  <a:cubicBezTo>
                    <a:pt x="1940" y="445"/>
                    <a:pt x="2069" y="573"/>
                    <a:pt x="2226" y="573"/>
                  </a:cubicBezTo>
                  <a:cubicBezTo>
                    <a:pt x="2310" y="573"/>
                    <a:pt x="2385" y="538"/>
                    <a:pt x="2437" y="480"/>
                  </a:cubicBezTo>
                  <a:lnTo>
                    <a:pt x="2397" y="440"/>
                  </a:lnTo>
                  <a:cubicBezTo>
                    <a:pt x="2355" y="487"/>
                    <a:pt x="2294" y="516"/>
                    <a:pt x="2226" y="516"/>
                  </a:cubicBezTo>
                  <a:cubicBezTo>
                    <a:pt x="2100" y="516"/>
                    <a:pt x="1996" y="413"/>
                    <a:pt x="1996" y="286"/>
                  </a:cubicBezTo>
                  <a:cubicBezTo>
                    <a:pt x="1996" y="160"/>
                    <a:pt x="2100" y="57"/>
                    <a:pt x="2226" y="57"/>
                  </a:cubicBezTo>
                  <a:close/>
                  <a:moveTo>
                    <a:pt x="285" y="57"/>
                  </a:moveTo>
                  <a:lnTo>
                    <a:pt x="285" y="57"/>
                  </a:lnTo>
                  <a:cubicBezTo>
                    <a:pt x="347" y="57"/>
                    <a:pt x="404" y="80"/>
                    <a:pt x="448" y="124"/>
                  </a:cubicBezTo>
                  <a:cubicBezTo>
                    <a:pt x="459" y="134"/>
                    <a:pt x="478" y="134"/>
                    <a:pt x="488" y="124"/>
                  </a:cubicBezTo>
                  <a:cubicBezTo>
                    <a:pt x="494" y="119"/>
                    <a:pt x="497" y="112"/>
                    <a:pt x="497" y="104"/>
                  </a:cubicBezTo>
                  <a:cubicBezTo>
                    <a:pt x="497" y="96"/>
                    <a:pt x="494" y="89"/>
                    <a:pt x="488" y="84"/>
                  </a:cubicBezTo>
                  <a:lnTo>
                    <a:pt x="485" y="80"/>
                  </a:lnTo>
                  <a:cubicBezTo>
                    <a:pt x="431" y="29"/>
                    <a:pt x="361" y="0"/>
                    <a:pt x="286" y="0"/>
                  </a:cubicBezTo>
                  <a:cubicBezTo>
                    <a:pt x="128" y="0"/>
                    <a:pt x="0" y="129"/>
                    <a:pt x="0" y="287"/>
                  </a:cubicBezTo>
                  <a:cubicBezTo>
                    <a:pt x="0" y="445"/>
                    <a:pt x="128" y="573"/>
                    <a:pt x="286" y="573"/>
                  </a:cubicBezTo>
                  <a:cubicBezTo>
                    <a:pt x="369" y="573"/>
                    <a:pt x="444" y="538"/>
                    <a:pt x="497" y="480"/>
                  </a:cubicBezTo>
                  <a:lnTo>
                    <a:pt x="457" y="440"/>
                  </a:lnTo>
                  <a:cubicBezTo>
                    <a:pt x="415" y="487"/>
                    <a:pt x="353" y="516"/>
                    <a:pt x="286" y="516"/>
                  </a:cubicBezTo>
                  <a:cubicBezTo>
                    <a:pt x="159" y="516"/>
                    <a:pt x="56" y="413"/>
                    <a:pt x="56" y="286"/>
                  </a:cubicBezTo>
                  <a:cubicBezTo>
                    <a:pt x="55" y="160"/>
                    <a:pt x="159" y="57"/>
                    <a:pt x="285" y="57"/>
                  </a:cubicBezTo>
                  <a:close/>
                  <a:moveTo>
                    <a:pt x="3341" y="290"/>
                  </a:moveTo>
                  <a:lnTo>
                    <a:pt x="3341" y="290"/>
                  </a:lnTo>
                  <a:cubicBezTo>
                    <a:pt x="3326" y="282"/>
                    <a:pt x="3233" y="234"/>
                    <a:pt x="3219" y="227"/>
                  </a:cubicBezTo>
                  <a:cubicBezTo>
                    <a:pt x="3170" y="201"/>
                    <a:pt x="3152" y="179"/>
                    <a:pt x="3152" y="142"/>
                  </a:cubicBezTo>
                  <a:cubicBezTo>
                    <a:pt x="3152" y="90"/>
                    <a:pt x="3195" y="56"/>
                    <a:pt x="3262" y="56"/>
                  </a:cubicBezTo>
                  <a:cubicBezTo>
                    <a:pt x="3301" y="56"/>
                    <a:pt x="3339" y="73"/>
                    <a:pt x="3361" y="86"/>
                  </a:cubicBezTo>
                  <a:cubicBezTo>
                    <a:pt x="3365" y="88"/>
                    <a:pt x="3370" y="89"/>
                    <a:pt x="3374" y="89"/>
                  </a:cubicBezTo>
                  <a:cubicBezTo>
                    <a:pt x="3390" y="89"/>
                    <a:pt x="3403" y="77"/>
                    <a:pt x="3403" y="61"/>
                  </a:cubicBezTo>
                  <a:cubicBezTo>
                    <a:pt x="3403" y="51"/>
                    <a:pt x="3397" y="42"/>
                    <a:pt x="3388" y="37"/>
                  </a:cubicBezTo>
                  <a:cubicBezTo>
                    <a:pt x="3361" y="21"/>
                    <a:pt x="3313" y="0"/>
                    <a:pt x="3262" y="0"/>
                  </a:cubicBezTo>
                  <a:cubicBezTo>
                    <a:pt x="3165" y="0"/>
                    <a:pt x="3097" y="58"/>
                    <a:pt x="3097" y="142"/>
                  </a:cubicBezTo>
                  <a:cubicBezTo>
                    <a:pt x="3097" y="217"/>
                    <a:pt x="3146" y="252"/>
                    <a:pt x="3194" y="277"/>
                  </a:cubicBezTo>
                  <a:cubicBezTo>
                    <a:pt x="3208" y="284"/>
                    <a:pt x="3302" y="333"/>
                    <a:pt x="3317" y="340"/>
                  </a:cubicBezTo>
                  <a:cubicBezTo>
                    <a:pt x="3354" y="360"/>
                    <a:pt x="3375" y="390"/>
                    <a:pt x="3375" y="423"/>
                  </a:cubicBezTo>
                  <a:cubicBezTo>
                    <a:pt x="3375" y="468"/>
                    <a:pt x="3337" y="516"/>
                    <a:pt x="3266" y="516"/>
                  </a:cubicBezTo>
                  <a:cubicBezTo>
                    <a:pt x="3196" y="516"/>
                    <a:pt x="3143" y="470"/>
                    <a:pt x="3129" y="456"/>
                  </a:cubicBezTo>
                  <a:lnTo>
                    <a:pt x="3124" y="451"/>
                  </a:lnTo>
                  <a:lnTo>
                    <a:pt x="3082" y="489"/>
                  </a:lnTo>
                  <a:lnTo>
                    <a:pt x="3087" y="494"/>
                  </a:lnTo>
                  <a:cubicBezTo>
                    <a:pt x="3106" y="512"/>
                    <a:pt x="3173" y="572"/>
                    <a:pt x="3266" y="572"/>
                  </a:cubicBezTo>
                  <a:cubicBezTo>
                    <a:pt x="3369" y="572"/>
                    <a:pt x="3431" y="496"/>
                    <a:pt x="3431" y="422"/>
                  </a:cubicBezTo>
                  <a:cubicBezTo>
                    <a:pt x="3431" y="368"/>
                    <a:pt x="3398" y="320"/>
                    <a:pt x="3341" y="290"/>
                  </a:cubicBezTo>
                  <a:close/>
                  <a:moveTo>
                    <a:pt x="872" y="0"/>
                  </a:moveTo>
                  <a:lnTo>
                    <a:pt x="872" y="0"/>
                  </a:lnTo>
                  <a:cubicBezTo>
                    <a:pt x="715" y="0"/>
                    <a:pt x="586" y="129"/>
                    <a:pt x="586" y="287"/>
                  </a:cubicBezTo>
                  <a:cubicBezTo>
                    <a:pt x="586" y="445"/>
                    <a:pt x="715" y="573"/>
                    <a:pt x="872" y="573"/>
                  </a:cubicBezTo>
                  <a:cubicBezTo>
                    <a:pt x="1030" y="573"/>
                    <a:pt x="1159" y="445"/>
                    <a:pt x="1159" y="287"/>
                  </a:cubicBezTo>
                  <a:cubicBezTo>
                    <a:pt x="1159" y="129"/>
                    <a:pt x="1030" y="0"/>
                    <a:pt x="872" y="0"/>
                  </a:cubicBezTo>
                  <a:close/>
                  <a:moveTo>
                    <a:pt x="872" y="516"/>
                  </a:moveTo>
                  <a:lnTo>
                    <a:pt x="872" y="516"/>
                  </a:lnTo>
                  <a:cubicBezTo>
                    <a:pt x="746" y="516"/>
                    <a:pt x="642" y="413"/>
                    <a:pt x="642" y="286"/>
                  </a:cubicBezTo>
                  <a:cubicBezTo>
                    <a:pt x="642" y="159"/>
                    <a:pt x="746" y="56"/>
                    <a:pt x="872" y="56"/>
                  </a:cubicBezTo>
                  <a:cubicBezTo>
                    <a:pt x="999" y="56"/>
                    <a:pt x="1103" y="159"/>
                    <a:pt x="1103" y="286"/>
                  </a:cubicBezTo>
                  <a:cubicBezTo>
                    <a:pt x="1102" y="413"/>
                    <a:pt x="999" y="516"/>
                    <a:pt x="872" y="516"/>
                  </a:cubicBezTo>
                  <a:close/>
                </a:path>
              </a:pathLst>
            </a:custGeom>
            <a:grp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n-US"/>
            </a:p>
          </p:txBody>
        </p:sp>
        <p:sp>
          <p:nvSpPr>
            <p:cNvPr id="9" name="Freeform 6">
              <a:extLst>
                <a:ext uri="{FF2B5EF4-FFF2-40B4-BE49-F238E27FC236}">
                  <a16:creationId xmlns:a16="http://schemas.microsoft.com/office/drawing/2014/main" id="{95AE842E-F7ED-9E65-E0C7-950397EE7F95}"/>
                </a:ext>
              </a:extLst>
            </p:cNvPr>
            <p:cNvSpPr>
              <a:spLocks noEditPoints="1"/>
            </p:cNvSpPr>
            <p:nvPr/>
          </p:nvSpPr>
          <p:spPr bwMode="auto">
            <a:xfrm>
              <a:off x="1114" y="4035"/>
              <a:ext cx="763" cy="116"/>
            </a:xfrm>
            <a:custGeom>
              <a:avLst/>
              <a:gdLst>
                <a:gd name="T0" fmla="*/ 29 w 3842"/>
                <a:gd name="T1" fmla="*/ 5 h 576"/>
                <a:gd name="T2" fmla="*/ 28 w 3842"/>
                <a:gd name="T3" fmla="*/ 2 h 576"/>
                <a:gd name="T4" fmla="*/ 29 w 3842"/>
                <a:gd name="T5" fmla="*/ 1 h 576"/>
                <a:gd name="T6" fmla="*/ 30 w 3842"/>
                <a:gd name="T7" fmla="*/ 0 h 576"/>
                <a:gd name="T8" fmla="*/ 28 w 3842"/>
                <a:gd name="T9" fmla="*/ 2 h 576"/>
                <a:gd name="T10" fmla="*/ 29 w 3842"/>
                <a:gd name="T11" fmla="*/ 4 h 576"/>
                <a:gd name="T12" fmla="*/ 23 w 3842"/>
                <a:gd name="T13" fmla="*/ 4 h 576"/>
                <a:gd name="T14" fmla="*/ 26 w 3842"/>
                <a:gd name="T15" fmla="*/ 3 h 576"/>
                <a:gd name="T16" fmla="*/ 24 w 3842"/>
                <a:gd name="T17" fmla="*/ 1 h 576"/>
                <a:gd name="T18" fmla="*/ 26 w 3842"/>
                <a:gd name="T19" fmla="*/ 1 h 576"/>
                <a:gd name="T20" fmla="*/ 25 w 3842"/>
                <a:gd name="T21" fmla="*/ 0 h 576"/>
                <a:gd name="T22" fmla="*/ 25 w 3842"/>
                <a:gd name="T23" fmla="*/ 3 h 576"/>
                <a:gd name="T24" fmla="*/ 24 w 3842"/>
                <a:gd name="T25" fmla="*/ 3 h 576"/>
                <a:gd name="T26" fmla="*/ 9 w 3842"/>
                <a:gd name="T27" fmla="*/ 4 h 576"/>
                <a:gd name="T28" fmla="*/ 11 w 3842"/>
                <a:gd name="T29" fmla="*/ 2 h 576"/>
                <a:gd name="T30" fmla="*/ 10 w 3842"/>
                <a:gd name="T31" fmla="*/ 1 h 576"/>
                <a:gd name="T32" fmla="*/ 12 w 3842"/>
                <a:gd name="T33" fmla="*/ 1 h 576"/>
                <a:gd name="T34" fmla="*/ 9 w 3842"/>
                <a:gd name="T35" fmla="*/ 1 h 576"/>
                <a:gd name="T36" fmla="*/ 11 w 3842"/>
                <a:gd name="T37" fmla="*/ 3 h 576"/>
                <a:gd name="T38" fmla="*/ 9 w 3842"/>
                <a:gd name="T39" fmla="*/ 4 h 576"/>
                <a:gd name="T40" fmla="*/ 15 w 3842"/>
                <a:gd name="T41" fmla="*/ 0 h 576"/>
                <a:gd name="T42" fmla="*/ 16 w 3842"/>
                <a:gd name="T43" fmla="*/ 4 h 576"/>
                <a:gd name="T44" fmla="*/ 18 w 3842"/>
                <a:gd name="T45" fmla="*/ 5 h 576"/>
                <a:gd name="T46" fmla="*/ 18 w 3842"/>
                <a:gd name="T47" fmla="*/ 0 h 576"/>
                <a:gd name="T48" fmla="*/ 15 w 3842"/>
                <a:gd name="T49" fmla="*/ 0 h 576"/>
                <a:gd name="T50" fmla="*/ 3 w 3842"/>
                <a:gd name="T51" fmla="*/ 3 h 576"/>
                <a:gd name="T52" fmla="*/ 0 w 3842"/>
                <a:gd name="T53" fmla="*/ 0 h 576"/>
                <a:gd name="T54" fmla="*/ 3 w 3842"/>
                <a:gd name="T55" fmla="*/ 1 h 576"/>
                <a:gd name="T56" fmla="*/ 1 w 3842"/>
                <a:gd name="T57" fmla="*/ 2 h 576"/>
                <a:gd name="T58" fmla="*/ 2 w 3842"/>
                <a:gd name="T59" fmla="*/ 1 h 576"/>
                <a:gd name="T60" fmla="*/ 2 w 3842"/>
                <a:gd name="T61" fmla="*/ 4 h 576"/>
                <a:gd name="T62" fmla="*/ 2 w 3842"/>
                <a:gd name="T63" fmla="*/ 3 h 576"/>
                <a:gd name="T64" fmla="*/ 2 w 3842"/>
                <a:gd name="T65" fmla="*/ 4 h 576"/>
                <a:gd name="T66" fmla="*/ 23 w 3842"/>
                <a:gd name="T67" fmla="*/ 0 h 576"/>
                <a:gd name="T68" fmla="*/ 20 w 3842"/>
                <a:gd name="T69" fmla="*/ 0 h 576"/>
                <a:gd name="T70" fmla="*/ 23 w 3842"/>
                <a:gd name="T71" fmla="*/ 5 h 576"/>
                <a:gd name="T72" fmla="*/ 20 w 3842"/>
                <a:gd name="T73" fmla="*/ 3 h 576"/>
                <a:gd name="T74" fmla="*/ 22 w 3842"/>
                <a:gd name="T75" fmla="*/ 2 h 576"/>
                <a:gd name="T76" fmla="*/ 22 w 3842"/>
                <a:gd name="T77" fmla="*/ 1 h 576"/>
                <a:gd name="T78" fmla="*/ 5 w 3842"/>
                <a:gd name="T79" fmla="*/ 0 h 576"/>
                <a:gd name="T80" fmla="*/ 4 w 3842"/>
                <a:gd name="T81" fmla="*/ 3 h 576"/>
                <a:gd name="T82" fmla="*/ 8 w 3842"/>
                <a:gd name="T83" fmla="*/ 0 h 576"/>
                <a:gd name="T84" fmla="*/ 6 w 3842"/>
                <a:gd name="T85" fmla="*/ 4 h 576"/>
                <a:gd name="T86" fmla="*/ 13 w 3842"/>
                <a:gd name="T87" fmla="*/ 0 h 576"/>
                <a:gd name="T88" fmla="*/ 13 w 3842"/>
                <a:gd name="T89" fmla="*/ 5 h 57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3842" h="576">
                  <a:moveTo>
                    <a:pt x="3464" y="491"/>
                  </a:moveTo>
                  <a:lnTo>
                    <a:pt x="3464" y="491"/>
                  </a:lnTo>
                  <a:cubicBezTo>
                    <a:pt x="3475" y="506"/>
                    <a:pt x="3529" y="576"/>
                    <a:pt x="3647" y="576"/>
                  </a:cubicBezTo>
                  <a:cubicBezTo>
                    <a:pt x="3763" y="576"/>
                    <a:pt x="3842" y="509"/>
                    <a:pt x="3842" y="415"/>
                  </a:cubicBezTo>
                  <a:cubicBezTo>
                    <a:pt x="3842" y="354"/>
                    <a:pt x="3818" y="305"/>
                    <a:pt x="3727" y="261"/>
                  </a:cubicBezTo>
                  <a:cubicBezTo>
                    <a:pt x="3703" y="249"/>
                    <a:pt x="3634" y="216"/>
                    <a:pt x="3634" y="216"/>
                  </a:cubicBezTo>
                  <a:cubicBezTo>
                    <a:pt x="3599" y="199"/>
                    <a:pt x="3583" y="178"/>
                    <a:pt x="3583" y="149"/>
                  </a:cubicBezTo>
                  <a:cubicBezTo>
                    <a:pt x="3583" y="120"/>
                    <a:pt x="3607" y="87"/>
                    <a:pt x="3667" y="87"/>
                  </a:cubicBezTo>
                  <a:cubicBezTo>
                    <a:pt x="3701" y="87"/>
                    <a:pt x="3727" y="98"/>
                    <a:pt x="3742" y="105"/>
                  </a:cubicBezTo>
                  <a:cubicBezTo>
                    <a:pt x="3748" y="108"/>
                    <a:pt x="3764" y="116"/>
                    <a:pt x="3780" y="116"/>
                  </a:cubicBezTo>
                  <a:cubicBezTo>
                    <a:pt x="3800" y="116"/>
                    <a:pt x="3822" y="102"/>
                    <a:pt x="3822" y="72"/>
                  </a:cubicBezTo>
                  <a:cubicBezTo>
                    <a:pt x="3822" y="48"/>
                    <a:pt x="3804" y="35"/>
                    <a:pt x="3789" y="28"/>
                  </a:cubicBezTo>
                  <a:cubicBezTo>
                    <a:pt x="3764" y="16"/>
                    <a:pt x="3726" y="0"/>
                    <a:pt x="3662" y="0"/>
                  </a:cubicBezTo>
                  <a:cubicBezTo>
                    <a:pt x="3561" y="0"/>
                    <a:pt x="3486" y="63"/>
                    <a:pt x="3486" y="153"/>
                  </a:cubicBezTo>
                  <a:cubicBezTo>
                    <a:pt x="3486" y="234"/>
                    <a:pt x="3540" y="275"/>
                    <a:pt x="3606" y="307"/>
                  </a:cubicBezTo>
                  <a:cubicBezTo>
                    <a:pt x="3619" y="312"/>
                    <a:pt x="3668" y="336"/>
                    <a:pt x="3681" y="343"/>
                  </a:cubicBezTo>
                  <a:cubicBezTo>
                    <a:pt x="3724" y="363"/>
                    <a:pt x="3746" y="382"/>
                    <a:pt x="3746" y="417"/>
                  </a:cubicBezTo>
                  <a:cubicBezTo>
                    <a:pt x="3746" y="455"/>
                    <a:pt x="3710" y="487"/>
                    <a:pt x="3656" y="487"/>
                  </a:cubicBezTo>
                  <a:cubicBezTo>
                    <a:pt x="3579" y="487"/>
                    <a:pt x="3538" y="436"/>
                    <a:pt x="3531" y="428"/>
                  </a:cubicBezTo>
                  <a:lnTo>
                    <a:pt x="3464" y="491"/>
                  </a:lnTo>
                  <a:close/>
                  <a:moveTo>
                    <a:pt x="2997" y="491"/>
                  </a:moveTo>
                  <a:lnTo>
                    <a:pt x="2997" y="491"/>
                  </a:lnTo>
                  <a:cubicBezTo>
                    <a:pt x="3009" y="506"/>
                    <a:pt x="3063" y="576"/>
                    <a:pt x="3182" y="576"/>
                  </a:cubicBezTo>
                  <a:cubicBezTo>
                    <a:pt x="3297" y="576"/>
                    <a:pt x="3376" y="509"/>
                    <a:pt x="3376" y="415"/>
                  </a:cubicBezTo>
                  <a:cubicBezTo>
                    <a:pt x="3376" y="354"/>
                    <a:pt x="3352" y="305"/>
                    <a:pt x="3261" y="261"/>
                  </a:cubicBezTo>
                  <a:cubicBezTo>
                    <a:pt x="3237" y="249"/>
                    <a:pt x="3169" y="216"/>
                    <a:pt x="3169" y="216"/>
                  </a:cubicBezTo>
                  <a:cubicBezTo>
                    <a:pt x="3133" y="199"/>
                    <a:pt x="3116" y="178"/>
                    <a:pt x="3116" y="149"/>
                  </a:cubicBezTo>
                  <a:cubicBezTo>
                    <a:pt x="3116" y="120"/>
                    <a:pt x="3141" y="87"/>
                    <a:pt x="3201" y="87"/>
                  </a:cubicBezTo>
                  <a:cubicBezTo>
                    <a:pt x="3235" y="87"/>
                    <a:pt x="3261" y="98"/>
                    <a:pt x="3275" y="105"/>
                  </a:cubicBezTo>
                  <a:cubicBezTo>
                    <a:pt x="3283" y="108"/>
                    <a:pt x="3299" y="116"/>
                    <a:pt x="3314" y="116"/>
                  </a:cubicBezTo>
                  <a:cubicBezTo>
                    <a:pt x="3334" y="116"/>
                    <a:pt x="3356" y="102"/>
                    <a:pt x="3356" y="72"/>
                  </a:cubicBezTo>
                  <a:cubicBezTo>
                    <a:pt x="3356" y="48"/>
                    <a:pt x="3339" y="35"/>
                    <a:pt x="3323" y="28"/>
                  </a:cubicBezTo>
                  <a:cubicBezTo>
                    <a:pt x="3299" y="16"/>
                    <a:pt x="3260" y="0"/>
                    <a:pt x="3197" y="0"/>
                  </a:cubicBezTo>
                  <a:cubicBezTo>
                    <a:pt x="3095" y="0"/>
                    <a:pt x="3020" y="63"/>
                    <a:pt x="3020" y="153"/>
                  </a:cubicBezTo>
                  <a:cubicBezTo>
                    <a:pt x="3020" y="234"/>
                    <a:pt x="3075" y="275"/>
                    <a:pt x="3141" y="307"/>
                  </a:cubicBezTo>
                  <a:cubicBezTo>
                    <a:pt x="3154" y="312"/>
                    <a:pt x="3203" y="336"/>
                    <a:pt x="3217" y="343"/>
                  </a:cubicBezTo>
                  <a:cubicBezTo>
                    <a:pt x="3258" y="363"/>
                    <a:pt x="3280" y="382"/>
                    <a:pt x="3280" y="417"/>
                  </a:cubicBezTo>
                  <a:cubicBezTo>
                    <a:pt x="3280" y="455"/>
                    <a:pt x="3244" y="487"/>
                    <a:pt x="3191" y="487"/>
                  </a:cubicBezTo>
                  <a:cubicBezTo>
                    <a:pt x="3113" y="487"/>
                    <a:pt x="3072" y="436"/>
                    <a:pt x="3065" y="428"/>
                  </a:cubicBezTo>
                  <a:lnTo>
                    <a:pt x="2997" y="491"/>
                  </a:lnTo>
                  <a:close/>
                  <a:moveTo>
                    <a:pt x="1117" y="491"/>
                  </a:moveTo>
                  <a:lnTo>
                    <a:pt x="1117" y="491"/>
                  </a:lnTo>
                  <a:cubicBezTo>
                    <a:pt x="1129" y="506"/>
                    <a:pt x="1182" y="576"/>
                    <a:pt x="1301" y="576"/>
                  </a:cubicBezTo>
                  <a:cubicBezTo>
                    <a:pt x="1417" y="576"/>
                    <a:pt x="1496" y="509"/>
                    <a:pt x="1496" y="415"/>
                  </a:cubicBezTo>
                  <a:cubicBezTo>
                    <a:pt x="1496" y="354"/>
                    <a:pt x="1472" y="305"/>
                    <a:pt x="1381" y="261"/>
                  </a:cubicBezTo>
                  <a:cubicBezTo>
                    <a:pt x="1356" y="249"/>
                    <a:pt x="1288" y="216"/>
                    <a:pt x="1288" y="216"/>
                  </a:cubicBezTo>
                  <a:cubicBezTo>
                    <a:pt x="1252" y="199"/>
                    <a:pt x="1236" y="178"/>
                    <a:pt x="1236" y="149"/>
                  </a:cubicBezTo>
                  <a:cubicBezTo>
                    <a:pt x="1236" y="120"/>
                    <a:pt x="1261" y="87"/>
                    <a:pt x="1321" y="87"/>
                  </a:cubicBezTo>
                  <a:cubicBezTo>
                    <a:pt x="1355" y="87"/>
                    <a:pt x="1381" y="98"/>
                    <a:pt x="1395" y="105"/>
                  </a:cubicBezTo>
                  <a:cubicBezTo>
                    <a:pt x="1402" y="108"/>
                    <a:pt x="1418" y="116"/>
                    <a:pt x="1434" y="116"/>
                  </a:cubicBezTo>
                  <a:cubicBezTo>
                    <a:pt x="1454" y="116"/>
                    <a:pt x="1476" y="102"/>
                    <a:pt x="1476" y="72"/>
                  </a:cubicBezTo>
                  <a:cubicBezTo>
                    <a:pt x="1476" y="48"/>
                    <a:pt x="1458" y="35"/>
                    <a:pt x="1443" y="28"/>
                  </a:cubicBezTo>
                  <a:cubicBezTo>
                    <a:pt x="1418" y="16"/>
                    <a:pt x="1380" y="0"/>
                    <a:pt x="1316" y="0"/>
                  </a:cubicBezTo>
                  <a:cubicBezTo>
                    <a:pt x="1215" y="0"/>
                    <a:pt x="1140" y="63"/>
                    <a:pt x="1140" y="153"/>
                  </a:cubicBezTo>
                  <a:cubicBezTo>
                    <a:pt x="1140" y="234"/>
                    <a:pt x="1195" y="275"/>
                    <a:pt x="1261" y="307"/>
                  </a:cubicBezTo>
                  <a:cubicBezTo>
                    <a:pt x="1273" y="312"/>
                    <a:pt x="1322" y="336"/>
                    <a:pt x="1336" y="343"/>
                  </a:cubicBezTo>
                  <a:cubicBezTo>
                    <a:pt x="1378" y="363"/>
                    <a:pt x="1400" y="382"/>
                    <a:pt x="1400" y="417"/>
                  </a:cubicBezTo>
                  <a:cubicBezTo>
                    <a:pt x="1400" y="455"/>
                    <a:pt x="1364" y="487"/>
                    <a:pt x="1310" y="487"/>
                  </a:cubicBezTo>
                  <a:cubicBezTo>
                    <a:pt x="1233" y="487"/>
                    <a:pt x="1192" y="436"/>
                    <a:pt x="1185" y="428"/>
                  </a:cubicBezTo>
                  <a:lnTo>
                    <a:pt x="1117" y="491"/>
                  </a:lnTo>
                  <a:close/>
                  <a:moveTo>
                    <a:pt x="1949" y="0"/>
                  </a:moveTo>
                  <a:lnTo>
                    <a:pt x="1949" y="0"/>
                  </a:lnTo>
                  <a:cubicBezTo>
                    <a:pt x="1921" y="0"/>
                    <a:pt x="1903" y="19"/>
                    <a:pt x="1903" y="43"/>
                  </a:cubicBezTo>
                  <a:lnTo>
                    <a:pt x="1903" y="531"/>
                  </a:lnTo>
                  <a:cubicBezTo>
                    <a:pt x="1903" y="555"/>
                    <a:pt x="1924" y="575"/>
                    <a:pt x="1949" y="575"/>
                  </a:cubicBezTo>
                  <a:cubicBezTo>
                    <a:pt x="1972" y="575"/>
                    <a:pt x="1994" y="555"/>
                    <a:pt x="1994" y="531"/>
                  </a:cubicBezTo>
                  <a:lnTo>
                    <a:pt x="1994" y="179"/>
                  </a:lnTo>
                  <a:cubicBezTo>
                    <a:pt x="1994" y="179"/>
                    <a:pt x="2218" y="465"/>
                    <a:pt x="2276" y="541"/>
                  </a:cubicBezTo>
                  <a:cubicBezTo>
                    <a:pt x="2291" y="559"/>
                    <a:pt x="2302" y="576"/>
                    <a:pt x="2328" y="576"/>
                  </a:cubicBezTo>
                  <a:cubicBezTo>
                    <a:pt x="2355" y="576"/>
                    <a:pt x="2373" y="556"/>
                    <a:pt x="2373" y="532"/>
                  </a:cubicBezTo>
                  <a:lnTo>
                    <a:pt x="2373" y="3"/>
                  </a:lnTo>
                  <a:lnTo>
                    <a:pt x="2282" y="3"/>
                  </a:lnTo>
                  <a:lnTo>
                    <a:pt x="2282" y="398"/>
                  </a:lnTo>
                  <a:cubicBezTo>
                    <a:pt x="2282" y="398"/>
                    <a:pt x="2033" y="78"/>
                    <a:pt x="1998" y="34"/>
                  </a:cubicBezTo>
                  <a:cubicBezTo>
                    <a:pt x="1982" y="13"/>
                    <a:pt x="1970" y="0"/>
                    <a:pt x="1949" y="0"/>
                  </a:cubicBezTo>
                  <a:close/>
                  <a:moveTo>
                    <a:pt x="342" y="264"/>
                  </a:moveTo>
                  <a:lnTo>
                    <a:pt x="342" y="264"/>
                  </a:lnTo>
                  <a:cubicBezTo>
                    <a:pt x="358" y="272"/>
                    <a:pt x="426" y="301"/>
                    <a:pt x="426" y="402"/>
                  </a:cubicBezTo>
                  <a:cubicBezTo>
                    <a:pt x="426" y="497"/>
                    <a:pt x="355" y="572"/>
                    <a:pt x="252" y="572"/>
                  </a:cubicBezTo>
                  <a:lnTo>
                    <a:pt x="0" y="572"/>
                  </a:lnTo>
                  <a:lnTo>
                    <a:pt x="0" y="47"/>
                  </a:lnTo>
                  <a:cubicBezTo>
                    <a:pt x="0" y="20"/>
                    <a:pt x="18" y="2"/>
                    <a:pt x="44" y="2"/>
                  </a:cubicBezTo>
                  <a:lnTo>
                    <a:pt x="241" y="2"/>
                  </a:lnTo>
                  <a:cubicBezTo>
                    <a:pt x="336" y="2"/>
                    <a:pt x="399" y="59"/>
                    <a:pt x="399" y="147"/>
                  </a:cubicBezTo>
                  <a:cubicBezTo>
                    <a:pt x="399" y="221"/>
                    <a:pt x="357" y="254"/>
                    <a:pt x="342" y="264"/>
                  </a:cubicBezTo>
                  <a:close/>
                  <a:moveTo>
                    <a:pt x="91" y="230"/>
                  </a:moveTo>
                  <a:lnTo>
                    <a:pt x="91" y="230"/>
                  </a:lnTo>
                  <a:lnTo>
                    <a:pt x="229" y="230"/>
                  </a:lnTo>
                  <a:cubicBezTo>
                    <a:pt x="278" y="230"/>
                    <a:pt x="306" y="199"/>
                    <a:pt x="306" y="161"/>
                  </a:cubicBezTo>
                  <a:cubicBezTo>
                    <a:pt x="306" y="123"/>
                    <a:pt x="281" y="92"/>
                    <a:pt x="229" y="92"/>
                  </a:cubicBezTo>
                  <a:lnTo>
                    <a:pt x="91" y="92"/>
                  </a:lnTo>
                  <a:lnTo>
                    <a:pt x="91" y="230"/>
                  </a:lnTo>
                  <a:close/>
                  <a:moveTo>
                    <a:pt x="235" y="484"/>
                  </a:moveTo>
                  <a:lnTo>
                    <a:pt x="235" y="484"/>
                  </a:lnTo>
                  <a:cubicBezTo>
                    <a:pt x="300" y="484"/>
                    <a:pt x="333" y="446"/>
                    <a:pt x="333" y="400"/>
                  </a:cubicBezTo>
                  <a:cubicBezTo>
                    <a:pt x="333" y="352"/>
                    <a:pt x="301" y="314"/>
                    <a:pt x="235" y="314"/>
                  </a:cubicBezTo>
                  <a:lnTo>
                    <a:pt x="91" y="314"/>
                  </a:lnTo>
                  <a:lnTo>
                    <a:pt x="91" y="484"/>
                  </a:lnTo>
                  <a:lnTo>
                    <a:pt x="235" y="484"/>
                  </a:lnTo>
                  <a:close/>
                  <a:moveTo>
                    <a:pt x="2858" y="92"/>
                  </a:moveTo>
                  <a:lnTo>
                    <a:pt x="2858" y="92"/>
                  </a:lnTo>
                  <a:cubicBezTo>
                    <a:pt x="2888" y="92"/>
                    <a:pt x="2906" y="73"/>
                    <a:pt x="2906" y="48"/>
                  </a:cubicBezTo>
                  <a:cubicBezTo>
                    <a:pt x="2906" y="23"/>
                    <a:pt x="2887" y="3"/>
                    <a:pt x="2858" y="3"/>
                  </a:cubicBezTo>
                  <a:lnTo>
                    <a:pt x="2576" y="3"/>
                  </a:lnTo>
                  <a:cubicBezTo>
                    <a:pt x="2551" y="3"/>
                    <a:pt x="2532" y="22"/>
                    <a:pt x="2532" y="48"/>
                  </a:cubicBezTo>
                  <a:lnTo>
                    <a:pt x="2532" y="529"/>
                  </a:lnTo>
                  <a:cubicBezTo>
                    <a:pt x="2532" y="554"/>
                    <a:pt x="2551" y="573"/>
                    <a:pt x="2576" y="573"/>
                  </a:cubicBezTo>
                  <a:lnTo>
                    <a:pt x="2903" y="573"/>
                  </a:lnTo>
                  <a:lnTo>
                    <a:pt x="2903" y="484"/>
                  </a:lnTo>
                  <a:lnTo>
                    <a:pt x="2624" y="484"/>
                  </a:lnTo>
                  <a:lnTo>
                    <a:pt x="2624" y="318"/>
                  </a:lnTo>
                  <a:lnTo>
                    <a:pt x="2834" y="318"/>
                  </a:lnTo>
                  <a:cubicBezTo>
                    <a:pt x="2866" y="318"/>
                    <a:pt x="2884" y="299"/>
                    <a:pt x="2884" y="274"/>
                  </a:cubicBezTo>
                  <a:cubicBezTo>
                    <a:pt x="2884" y="248"/>
                    <a:pt x="2867" y="229"/>
                    <a:pt x="2834" y="229"/>
                  </a:cubicBezTo>
                  <a:lnTo>
                    <a:pt x="2624" y="229"/>
                  </a:lnTo>
                  <a:lnTo>
                    <a:pt x="2624" y="92"/>
                  </a:lnTo>
                  <a:lnTo>
                    <a:pt x="2858" y="92"/>
                  </a:lnTo>
                  <a:close/>
                  <a:moveTo>
                    <a:pt x="634" y="346"/>
                  </a:moveTo>
                  <a:lnTo>
                    <a:pt x="634" y="346"/>
                  </a:lnTo>
                  <a:lnTo>
                    <a:pt x="634" y="44"/>
                  </a:lnTo>
                  <a:cubicBezTo>
                    <a:pt x="634" y="19"/>
                    <a:pt x="616" y="0"/>
                    <a:pt x="588" y="0"/>
                  </a:cubicBezTo>
                  <a:cubicBezTo>
                    <a:pt x="560" y="0"/>
                    <a:pt x="542" y="19"/>
                    <a:pt x="542" y="44"/>
                  </a:cubicBezTo>
                  <a:lnTo>
                    <a:pt x="542" y="343"/>
                  </a:lnTo>
                  <a:cubicBezTo>
                    <a:pt x="542" y="471"/>
                    <a:pt x="632" y="575"/>
                    <a:pt x="776" y="575"/>
                  </a:cubicBezTo>
                  <a:cubicBezTo>
                    <a:pt x="920" y="575"/>
                    <a:pt x="1010" y="471"/>
                    <a:pt x="1010" y="343"/>
                  </a:cubicBezTo>
                  <a:lnTo>
                    <a:pt x="1010" y="2"/>
                  </a:lnTo>
                  <a:lnTo>
                    <a:pt x="918" y="2"/>
                  </a:lnTo>
                  <a:lnTo>
                    <a:pt x="918" y="345"/>
                  </a:lnTo>
                  <a:cubicBezTo>
                    <a:pt x="918" y="421"/>
                    <a:pt x="867" y="488"/>
                    <a:pt x="776" y="488"/>
                  </a:cubicBezTo>
                  <a:cubicBezTo>
                    <a:pt x="684" y="489"/>
                    <a:pt x="634" y="422"/>
                    <a:pt x="634" y="346"/>
                  </a:cubicBezTo>
                  <a:close/>
                  <a:moveTo>
                    <a:pt x="1676" y="0"/>
                  </a:moveTo>
                  <a:lnTo>
                    <a:pt x="1676" y="0"/>
                  </a:lnTo>
                  <a:cubicBezTo>
                    <a:pt x="1704" y="0"/>
                    <a:pt x="1722" y="19"/>
                    <a:pt x="1722" y="44"/>
                  </a:cubicBezTo>
                  <a:lnTo>
                    <a:pt x="1722" y="572"/>
                  </a:lnTo>
                  <a:lnTo>
                    <a:pt x="1630" y="572"/>
                  </a:lnTo>
                  <a:lnTo>
                    <a:pt x="1630" y="44"/>
                  </a:lnTo>
                  <a:cubicBezTo>
                    <a:pt x="1630" y="19"/>
                    <a:pt x="1647" y="0"/>
                    <a:pt x="1676" y="0"/>
                  </a:cubicBezTo>
                  <a:close/>
                </a:path>
              </a:pathLst>
            </a:custGeom>
            <a:grp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n-US"/>
            </a:p>
          </p:txBody>
        </p:sp>
      </p:grpSp>
      <p:sp>
        <p:nvSpPr>
          <p:cNvPr id="2" name="Text Placeholder 2">
            <a:extLst>
              <a:ext uri="{FF2B5EF4-FFF2-40B4-BE49-F238E27FC236}">
                <a16:creationId xmlns:a16="http://schemas.microsoft.com/office/drawing/2014/main" id="{FD7C8E83-C5C8-A695-DC1B-3E376997B5F3}"/>
              </a:ext>
            </a:extLst>
          </p:cNvPr>
          <p:cNvSpPr>
            <a:spLocks noGrp="1"/>
          </p:cNvSpPr>
          <p:nvPr>
            <p:ph type="body" idx="1"/>
          </p:nvPr>
        </p:nvSpPr>
        <p:spPr>
          <a:xfrm>
            <a:off x="432618" y="4101321"/>
            <a:ext cx="8401818" cy="641350"/>
          </a:xfrm>
          <a:prstGeom prst="rect">
            <a:avLst/>
          </a:prstGeom>
        </p:spPr>
        <p:txBody>
          <a:bodyPr/>
          <a:lstStyle>
            <a:lvl1pPr marL="0" indent="0">
              <a:buNone/>
              <a:defRPr sz="2400">
                <a:solidFill>
                  <a:schemeClr val="accent2"/>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5" name="Title 1">
            <a:extLst>
              <a:ext uri="{FF2B5EF4-FFF2-40B4-BE49-F238E27FC236}">
                <a16:creationId xmlns:a16="http://schemas.microsoft.com/office/drawing/2014/main" id="{CFA85FB5-11D3-CCC2-23B8-58132C743222}"/>
              </a:ext>
            </a:extLst>
          </p:cNvPr>
          <p:cNvSpPr>
            <a:spLocks noGrp="1"/>
          </p:cNvSpPr>
          <p:nvPr>
            <p:ph type="title"/>
          </p:nvPr>
        </p:nvSpPr>
        <p:spPr>
          <a:xfrm>
            <a:off x="422788" y="685800"/>
            <a:ext cx="8411651" cy="2971800"/>
          </a:xfrm>
          <a:prstGeom prst="rect">
            <a:avLst/>
          </a:prstGeom>
        </p:spPr>
        <p:txBody>
          <a:bodyPr anchor="b"/>
          <a:lstStyle>
            <a:lvl1pPr>
              <a:defRPr sz="5400" b="1" i="0">
                <a:solidFill>
                  <a:schemeClr val="bg2"/>
                </a:solidFill>
                <a:latin typeface="Montserrat SemiBold" pitchFamily="2" charset="77"/>
              </a:defRPr>
            </a:lvl1pPr>
          </a:lstStyle>
          <a:p>
            <a:r>
              <a:rPr lang="en-US"/>
              <a:t>Click to edit Master title style</a:t>
            </a:r>
          </a:p>
        </p:txBody>
      </p:sp>
    </p:spTree>
    <p:extLst>
      <p:ext uri="{BB962C8B-B14F-4D97-AF65-F5344CB8AC3E}">
        <p14:creationId xmlns:p14="http://schemas.microsoft.com/office/powerpoint/2010/main" val="257960578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Slide - Blue">
    <p:bg>
      <p:bgPr>
        <a:solidFill>
          <a:schemeClr val="accent1"/>
        </a:solidFill>
        <a:effectLst/>
      </p:bgPr>
    </p:bg>
    <p:spTree>
      <p:nvGrpSpPr>
        <p:cNvPr id="1" name=""/>
        <p:cNvGrpSpPr/>
        <p:nvPr/>
      </p:nvGrpSpPr>
      <p:grpSpPr>
        <a:xfrm>
          <a:off x="0" y="0"/>
          <a:ext cx="0" cy="0"/>
          <a:chOff x="0" y="0"/>
          <a:chExt cx="0" cy="0"/>
        </a:xfrm>
      </p:grpSpPr>
      <p:sp>
        <p:nvSpPr>
          <p:cNvPr id="19" name="Text Placeholder 5">
            <a:extLst>
              <a:ext uri="{FF2B5EF4-FFF2-40B4-BE49-F238E27FC236}">
                <a16:creationId xmlns:a16="http://schemas.microsoft.com/office/drawing/2014/main" id="{3F686C8C-E081-5242-90B9-38796068D595}"/>
              </a:ext>
            </a:extLst>
          </p:cNvPr>
          <p:cNvSpPr>
            <a:spLocks noGrp="1"/>
          </p:cNvSpPr>
          <p:nvPr>
            <p:ph type="body" sz="quarter" idx="26"/>
          </p:nvPr>
        </p:nvSpPr>
        <p:spPr>
          <a:xfrm>
            <a:off x="463550" y="1097280"/>
            <a:ext cx="11271250" cy="4872162"/>
          </a:xfrm>
          <a:prstGeom prst="rect">
            <a:avLst/>
          </a:prstGeom>
        </p:spPr>
        <p:txBody>
          <a:bodyPr lIns="0" tIns="0" rIns="0" bIns="0"/>
          <a:lstStyle>
            <a:lvl1pPr marL="0" indent="0" algn="l">
              <a:buNone/>
              <a:defRPr sz="1800" b="0" i="0">
                <a:solidFill>
                  <a:schemeClr val="bg2"/>
                </a:solidFill>
                <a:latin typeface="Montserrat Light" pitchFamily="2" charset="77"/>
                <a:cs typeface="Montserrat Light" pitchFamily="2" charset="77"/>
              </a:defRPr>
            </a:lvl1pPr>
            <a:lvl2pPr marL="174625" indent="-174625" algn="l">
              <a:spcBef>
                <a:spcPts val="1200"/>
              </a:spcBef>
              <a:buFont typeface="Arial" panose="020B0604020202020204" pitchFamily="34" charset="0"/>
              <a:buChar char="•"/>
              <a:tabLst/>
              <a:defRPr sz="1800" b="0" i="0">
                <a:solidFill>
                  <a:schemeClr val="bg2"/>
                </a:solidFill>
                <a:latin typeface="Montserrat Light" pitchFamily="2" charset="77"/>
                <a:cs typeface="Montserrat Light" pitchFamily="2" charset="77"/>
              </a:defRPr>
            </a:lvl2pPr>
            <a:lvl3pPr marL="560070" indent="-285750" algn="l">
              <a:spcBef>
                <a:spcPts val="1200"/>
              </a:spcBef>
              <a:buFont typeface="Montserrat" panose="00000500000000000000" pitchFamily="2" charset="0"/>
              <a:buChar char="–"/>
              <a:defRPr sz="1800" b="0" i="0">
                <a:solidFill>
                  <a:schemeClr val="bg2"/>
                </a:solidFill>
                <a:latin typeface="Montserrat Light" pitchFamily="2" charset="77"/>
                <a:cs typeface="Montserrat Light" pitchFamily="2" charset="77"/>
              </a:defRPr>
            </a:lvl3pPr>
            <a:lvl4pPr marL="834390" indent="-285750" algn="l">
              <a:spcBef>
                <a:spcPts val="1200"/>
              </a:spcBef>
              <a:buFont typeface="Courier New" panose="02070309020205020404" pitchFamily="49" charset="0"/>
              <a:buChar char="o"/>
              <a:defRPr sz="1600" b="0" i="0">
                <a:solidFill>
                  <a:schemeClr val="bg2"/>
                </a:solidFill>
                <a:latin typeface="Montserrat Light" pitchFamily="2" charset="77"/>
                <a:cs typeface="Montserrat Light" pitchFamily="2" charset="77"/>
              </a:defRPr>
            </a:lvl4pPr>
            <a:lvl5pPr marL="1108710" indent="-285750" algn="l">
              <a:defRPr lang="en-US" sz="1400" b="0" i="0" u="none" strike="noStrike" cap="none" spc="0" baseline="0" dirty="0">
                <a:solidFill>
                  <a:schemeClr val="bg2"/>
                </a:solidFill>
                <a:uFillTx/>
                <a:latin typeface="Montserrat Light" pitchFamily="2" charset="77"/>
                <a:ea typeface="Montserrat" panose="00000500000000000000" pitchFamily="2" charset="0"/>
                <a:cs typeface="Montserrat Light" pitchFamily="2" charset="77"/>
                <a:sym typeface="Montserrat"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a:extLst>
              <a:ext uri="{FF2B5EF4-FFF2-40B4-BE49-F238E27FC236}">
                <a16:creationId xmlns:a16="http://schemas.microsoft.com/office/drawing/2014/main" id="{F21AE09E-697C-FC45-9E96-2E45E76886AB}"/>
              </a:ext>
            </a:extLst>
          </p:cNvPr>
          <p:cNvSpPr>
            <a:spLocks noGrp="1"/>
          </p:cNvSpPr>
          <p:nvPr>
            <p:ph type="title"/>
          </p:nvPr>
        </p:nvSpPr>
        <p:spPr>
          <a:xfrm>
            <a:off x="463548" y="514928"/>
            <a:ext cx="11271251" cy="365760"/>
          </a:xfrm>
          <a:prstGeom prst="rect">
            <a:avLst/>
          </a:prstGeom>
        </p:spPr>
        <p:txBody>
          <a:bodyPr lIns="0" tIns="0" rIns="0" bIns="0" anchor="t"/>
          <a:lstStyle>
            <a:lvl1pPr marL="0" marR="0" indent="0" algn="l" defTabSz="412750" rtl="0" latinLnBrk="0">
              <a:lnSpc>
                <a:spcPct val="100000"/>
              </a:lnSpc>
              <a:spcBef>
                <a:spcPts val="0"/>
              </a:spcBef>
              <a:spcAft>
                <a:spcPts val="0"/>
              </a:spcAft>
              <a:buClrTx/>
              <a:buSzTx/>
              <a:buFontTx/>
              <a:buNone/>
              <a:tabLst/>
              <a:defRPr lang="en-US" sz="2200" b="1" i="0" u="none" strike="noStrike" cap="none" spc="0" baseline="0" dirty="0" smtClean="0">
                <a:solidFill>
                  <a:schemeClr val="bg2"/>
                </a:solidFill>
                <a:uFillTx/>
                <a:latin typeface="Montserrat" panose="00000500000000000000" pitchFamily="2" charset="0"/>
                <a:ea typeface="Montserrat" panose="00000500000000000000" pitchFamily="2" charset="0"/>
                <a:cs typeface="Montserrat" panose="00000500000000000000" pitchFamily="2" charset="0"/>
                <a:sym typeface="Montserrat" panose="00000500000000000000" pitchFamily="2" charset="0"/>
              </a:defRPr>
            </a:lvl1pPr>
          </a:lstStyle>
          <a:p>
            <a:r>
              <a:rPr lang="en-US"/>
              <a:t>Click to edit Master title style</a:t>
            </a:r>
          </a:p>
        </p:txBody>
      </p:sp>
      <p:sp>
        <p:nvSpPr>
          <p:cNvPr id="10" name="Text Placeholder 2">
            <a:extLst>
              <a:ext uri="{FF2B5EF4-FFF2-40B4-BE49-F238E27FC236}">
                <a16:creationId xmlns:a16="http://schemas.microsoft.com/office/drawing/2014/main" id="{E4AEF971-9BCB-1E42-9E22-F8D1F1044C95}"/>
              </a:ext>
            </a:extLst>
          </p:cNvPr>
          <p:cNvSpPr>
            <a:spLocks noGrp="1"/>
          </p:cNvSpPr>
          <p:nvPr>
            <p:ph type="body" sz="quarter" idx="25" hasCustomPrompt="1"/>
          </p:nvPr>
        </p:nvSpPr>
        <p:spPr>
          <a:xfrm>
            <a:off x="463548" y="255612"/>
            <a:ext cx="11271251" cy="201168"/>
          </a:xfrm>
          <a:prstGeom prst="rect">
            <a:avLst/>
          </a:prstGeom>
        </p:spPr>
        <p:txBody>
          <a:bodyPr lIns="0" tIns="0" rIns="0" bIns="0" anchor="ctr"/>
          <a:lstStyle>
            <a:lvl1pPr marL="0" indent="0" algn="l">
              <a:buNone/>
              <a:defRPr lang="en-US" sz="1000" b="0" i="0" cap="all" spc="200" baseline="0" dirty="0">
                <a:solidFill>
                  <a:schemeClr val="bg2"/>
                </a:solidFill>
                <a:latin typeface="Montserrat" panose="00000500000000000000" pitchFamily="2" charset="0"/>
                <a:ea typeface="Montserrat" panose="00000500000000000000" pitchFamily="2" charset="0"/>
                <a:cs typeface="Montserrat" panose="00000500000000000000" pitchFamily="2" charset="0"/>
              </a:defRPr>
            </a:lvl1pPr>
          </a:lstStyle>
          <a:p>
            <a:pPr lvl="0" algn="l"/>
            <a:r>
              <a:rPr lang="en-US"/>
              <a:t>OPTIONAL BREADCRUMB HERE</a:t>
            </a:r>
          </a:p>
        </p:txBody>
      </p:sp>
      <p:sp>
        <p:nvSpPr>
          <p:cNvPr id="8" name="Slide Number Placeholder 5">
            <a:extLst>
              <a:ext uri="{FF2B5EF4-FFF2-40B4-BE49-F238E27FC236}">
                <a16:creationId xmlns:a16="http://schemas.microsoft.com/office/drawing/2014/main" id="{3DB84E04-7731-345F-77EA-3F29E135A0BC}"/>
              </a:ext>
            </a:extLst>
          </p:cNvPr>
          <p:cNvSpPr txBox="1">
            <a:spLocks/>
          </p:cNvSpPr>
          <p:nvPr userDrawn="1"/>
        </p:nvSpPr>
        <p:spPr>
          <a:xfrm>
            <a:off x="11341100" y="6424613"/>
            <a:ext cx="393700" cy="200025"/>
          </a:xfrm>
          <a:prstGeom prst="rect">
            <a:avLst/>
          </a:prstGeom>
        </p:spPr>
        <p:txBody>
          <a:bodyPr vert="horz" lIns="0" tIns="0" rIns="0" bIns="0" rtlCol="0" anchor="ctr">
            <a:noAutofit/>
          </a:bodyPr>
          <a:lstStyle>
            <a:defPPr>
              <a:defRPr lang="en-US"/>
            </a:defPPr>
            <a:lvl1pPr algn="r" rtl="0" eaLnBrk="1" fontAlgn="auto" hangingPunct="1">
              <a:spcBef>
                <a:spcPts val="0"/>
              </a:spcBef>
              <a:spcAft>
                <a:spcPts val="0"/>
              </a:spcAft>
              <a:defRPr sz="800" kern="1200">
                <a:solidFill>
                  <a:schemeClr val="tx2"/>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fld id="{5F05AE8C-CF5F-4A4E-B69B-C9D8FA4EC18A}" type="slidenum">
              <a:rPr lang="en-US" smtClean="0">
                <a:solidFill>
                  <a:schemeClr val="bg2"/>
                </a:solidFill>
                <a:latin typeface="Montserrat" panose="00000500000000000000" pitchFamily="2" charset="0"/>
              </a:rPr>
              <a:pPr>
                <a:defRPr/>
              </a:pPr>
              <a:t>‹#›</a:t>
            </a:fld>
            <a:endParaRPr lang="en-US">
              <a:solidFill>
                <a:schemeClr val="bg2"/>
              </a:solidFill>
              <a:latin typeface="Montserrat" panose="00000500000000000000" pitchFamily="2" charset="0"/>
            </a:endParaRPr>
          </a:p>
        </p:txBody>
      </p:sp>
      <p:sp>
        <p:nvSpPr>
          <p:cNvPr id="11" name="Footer Placeholder 4">
            <a:extLst>
              <a:ext uri="{FF2B5EF4-FFF2-40B4-BE49-F238E27FC236}">
                <a16:creationId xmlns:a16="http://schemas.microsoft.com/office/drawing/2014/main" id="{75064991-9187-8694-627F-2FECE8244915}"/>
              </a:ext>
            </a:extLst>
          </p:cNvPr>
          <p:cNvSpPr txBox="1">
            <a:spLocks/>
          </p:cNvSpPr>
          <p:nvPr userDrawn="1"/>
        </p:nvSpPr>
        <p:spPr>
          <a:xfrm>
            <a:off x="463550" y="6427788"/>
            <a:ext cx="4114800" cy="198437"/>
          </a:xfrm>
          <a:prstGeom prst="rect">
            <a:avLst/>
          </a:prstGeom>
        </p:spPr>
        <p:txBody>
          <a:bodyPr vert="horz" lIns="0" tIns="0" rIns="0" bIns="0" rtlCol="0" anchor="ctr">
            <a:noAutofit/>
          </a:bodyPr>
          <a:lstStyle>
            <a:defPPr>
              <a:defRPr lang="en-US"/>
            </a:defPPr>
            <a:lvl1pPr algn="l" rtl="0" eaLnBrk="1" fontAlgn="auto" hangingPunct="1">
              <a:spcBef>
                <a:spcPts val="0"/>
              </a:spcBef>
              <a:spcAft>
                <a:spcPts val="0"/>
              </a:spcAft>
              <a:defRPr sz="800" kern="1200">
                <a:solidFill>
                  <a:schemeClr val="tx1"/>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r>
              <a:rPr lang="en-US">
                <a:solidFill>
                  <a:schemeClr val="bg2"/>
                </a:solidFill>
                <a:latin typeface="Montserrat" panose="00000500000000000000" pitchFamily="2" charset="0"/>
              </a:rPr>
              <a:t>© 2023 Comcast. All rights reserved.</a:t>
            </a:r>
          </a:p>
        </p:txBody>
      </p:sp>
      <p:pic>
        <p:nvPicPr>
          <p:cNvPr id="2" name="Picture 9">
            <a:extLst>
              <a:ext uri="{FF2B5EF4-FFF2-40B4-BE49-F238E27FC236}">
                <a16:creationId xmlns:a16="http://schemas.microsoft.com/office/drawing/2014/main" id="{0B1B1189-E823-5385-F684-791E87ABCFE1}"/>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8677275" y="6438900"/>
            <a:ext cx="2525713" cy="180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28223428"/>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432">
          <p15:clr>
            <a:srgbClr val="FBAE40"/>
          </p15:clr>
        </p15:guide>
        <p15:guide id="3" pos="7248">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Slide - 2 Col">
    <p:spTree>
      <p:nvGrpSpPr>
        <p:cNvPr id="1" name=""/>
        <p:cNvGrpSpPr/>
        <p:nvPr/>
      </p:nvGrpSpPr>
      <p:grpSpPr>
        <a:xfrm>
          <a:off x="0" y="0"/>
          <a:ext cx="0" cy="0"/>
          <a:chOff x="0" y="0"/>
          <a:chExt cx="0" cy="0"/>
        </a:xfrm>
      </p:grpSpPr>
      <p:sp>
        <p:nvSpPr>
          <p:cNvPr id="19" name="Text Placeholder 5">
            <a:extLst>
              <a:ext uri="{FF2B5EF4-FFF2-40B4-BE49-F238E27FC236}">
                <a16:creationId xmlns:a16="http://schemas.microsoft.com/office/drawing/2014/main" id="{3F686C8C-E081-5242-90B9-38796068D595}"/>
              </a:ext>
            </a:extLst>
          </p:cNvPr>
          <p:cNvSpPr>
            <a:spLocks noGrp="1"/>
          </p:cNvSpPr>
          <p:nvPr>
            <p:ph type="body" sz="quarter" idx="26"/>
          </p:nvPr>
        </p:nvSpPr>
        <p:spPr>
          <a:xfrm>
            <a:off x="463550" y="1097280"/>
            <a:ext cx="5404894" cy="4872162"/>
          </a:xfrm>
          <a:prstGeom prst="rect">
            <a:avLst/>
          </a:prstGeom>
        </p:spPr>
        <p:txBody>
          <a:bodyPr lIns="0" tIns="0" rIns="0" bIns="0"/>
          <a:lstStyle>
            <a:lvl1pPr marL="0" indent="0" algn="l">
              <a:buNone/>
              <a:defRPr sz="1800" b="0" i="0">
                <a:latin typeface="Montserrat Light" pitchFamily="2" charset="77"/>
                <a:cs typeface="Montserrat Light" pitchFamily="2" charset="77"/>
              </a:defRPr>
            </a:lvl1pPr>
            <a:lvl2pPr marL="174625" indent="-174625" algn="l">
              <a:spcBef>
                <a:spcPts val="1200"/>
              </a:spcBef>
              <a:buFont typeface="Arial" panose="020B0604020202020204" pitchFamily="34" charset="0"/>
              <a:buChar char="•"/>
              <a:tabLst/>
              <a:defRPr sz="1800" b="0" i="0">
                <a:latin typeface="Montserrat Light" pitchFamily="2" charset="77"/>
                <a:cs typeface="Montserrat Light" pitchFamily="2" charset="77"/>
              </a:defRPr>
            </a:lvl2pPr>
            <a:lvl3pPr marL="560070" indent="-285750" algn="l">
              <a:spcBef>
                <a:spcPts val="1200"/>
              </a:spcBef>
              <a:buFont typeface="Montserrat" panose="00000500000000000000" pitchFamily="2" charset="0"/>
              <a:buChar char="–"/>
              <a:defRPr sz="1800" b="0" i="0">
                <a:latin typeface="Montserrat Light" pitchFamily="2" charset="77"/>
                <a:cs typeface="Montserrat Light" pitchFamily="2" charset="77"/>
              </a:defRPr>
            </a:lvl3pPr>
            <a:lvl4pPr marL="834390" indent="-285750" algn="l">
              <a:spcBef>
                <a:spcPts val="1200"/>
              </a:spcBef>
              <a:buFont typeface="Courier New" panose="02070309020205020404" pitchFamily="49" charset="0"/>
              <a:buChar char="o"/>
              <a:defRPr sz="1600" b="0" i="0">
                <a:latin typeface="Montserrat Light" pitchFamily="2" charset="77"/>
                <a:cs typeface="Montserrat Light" pitchFamily="2" charset="77"/>
              </a:defRPr>
            </a:lvl4pPr>
            <a:lvl5pPr marL="1108710" indent="-285750" algn="l">
              <a:defRPr lang="en-US" sz="1400" b="0" i="0" u="none" strike="noStrike" cap="none" spc="0" baseline="0" dirty="0">
                <a:solidFill>
                  <a:srgbClr val="000000"/>
                </a:solidFill>
                <a:uFillTx/>
                <a:latin typeface="Montserrat Light" pitchFamily="2" charset="77"/>
                <a:ea typeface="Montserrat" panose="00000500000000000000" pitchFamily="2" charset="0"/>
                <a:cs typeface="Montserrat Light" pitchFamily="2" charset="77"/>
                <a:sym typeface="Montserrat"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a:extLst>
              <a:ext uri="{FF2B5EF4-FFF2-40B4-BE49-F238E27FC236}">
                <a16:creationId xmlns:a16="http://schemas.microsoft.com/office/drawing/2014/main" id="{F21AE09E-697C-FC45-9E96-2E45E76886AB}"/>
              </a:ext>
            </a:extLst>
          </p:cNvPr>
          <p:cNvSpPr>
            <a:spLocks noGrp="1"/>
          </p:cNvSpPr>
          <p:nvPr>
            <p:ph type="title"/>
          </p:nvPr>
        </p:nvSpPr>
        <p:spPr>
          <a:xfrm>
            <a:off x="463548" y="514928"/>
            <a:ext cx="11271251" cy="368157"/>
          </a:xfrm>
          <a:prstGeom prst="rect">
            <a:avLst/>
          </a:prstGeom>
        </p:spPr>
        <p:txBody>
          <a:bodyPr lIns="0" tIns="0" rIns="0" bIns="0" anchor="t"/>
          <a:lstStyle>
            <a:lvl1pPr marL="0" marR="0" indent="0" algn="l" defTabSz="412750" rtl="0" latinLnBrk="0">
              <a:lnSpc>
                <a:spcPct val="100000"/>
              </a:lnSpc>
              <a:spcBef>
                <a:spcPts val="0"/>
              </a:spcBef>
              <a:spcAft>
                <a:spcPts val="0"/>
              </a:spcAft>
              <a:buClrTx/>
              <a:buSzTx/>
              <a:buFontTx/>
              <a:buNone/>
              <a:tabLst/>
              <a:defRPr lang="en-US" sz="2200" b="1" i="0" u="none" strike="noStrike" cap="none" spc="0" baseline="0" dirty="0" smtClean="0">
                <a:solidFill>
                  <a:srgbClr val="000000"/>
                </a:solidFill>
                <a:uFillTx/>
                <a:latin typeface="Montserrat" panose="00000500000000000000" pitchFamily="2" charset="0"/>
                <a:ea typeface="Montserrat" panose="00000500000000000000" pitchFamily="2" charset="0"/>
                <a:cs typeface="Montserrat" panose="00000500000000000000" pitchFamily="2" charset="0"/>
                <a:sym typeface="Montserrat" panose="00000500000000000000" pitchFamily="2" charset="0"/>
              </a:defRPr>
            </a:lvl1pPr>
          </a:lstStyle>
          <a:p>
            <a:r>
              <a:rPr lang="en-US"/>
              <a:t>Click to edit Master title style</a:t>
            </a:r>
          </a:p>
        </p:txBody>
      </p:sp>
      <p:sp>
        <p:nvSpPr>
          <p:cNvPr id="10" name="Text Placeholder 2">
            <a:extLst>
              <a:ext uri="{FF2B5EF4-FFF2-40B4-BE49-F238E27FC236}">
                <a16:creationId xmlns:a16="http://schemas.microsoft.com/office/drawing/2014/main" id="{E4AEF971-9BCB-1E42-9E22-F8D1F1044C95}"/>
              </a:ext>
            </a:extLst>
          </p:cNvPr>
          <p:cNvSpPr>
            <a:spLocks noGrp="1"/>
          </p:cNvSpPr>
          <p:nvPr>
            <p:ph type="body" sz="quarter" idx="25" hasCustomPrompt="1"/>
          </p:nvPr>
        </p:nvSpPr>
        <p:spPr>
          <a:xfrm>
            <a:off x="463548" y="255612"/>
            <a:ext cx="11271251" cy="201168"/>
          </a:xfrm>
          <a:prstGeom prst="rect">
            <a:avLst/>
          </a:prstGeom>
        </p:spPr>
        <p:txBody>
          <a:bodyPr lIns="0" tIns="0" rIns="0" bIns="0" anchor="ctr"/>
          <a:lstStyle>
            <a:lvl1pPr marL="0" indent="0" algn="l">
              <a:buNone/>
              <a:defRPr lang="en-US" sz="1000" b="0" i="0" cap="all" spc="200" baseline="0" dirty="0">
                <a:solidFill>
                  <a:schemeClr val="accent1"/>
                </a:solidFill>
                <a:latin typeface="Montserrat" panose="00000500000000000000" pitchFamily="2" charset="0"/>
                <a:ea typeface="Montserrat" panose="00000500000000000000" pitchFamily="2" charset="0"/>
                <a:cs typeface="Montserrat" panose="00000500000000000000" pitchFamily="2" charset="0"/>
              </a:defRPr>
            </a:lvl1pPr>
          </a:lstStyle>
          <a:p>
            <a:pPr lvl="0" algn="l"/>
            <a:r>
              <a:rPr lang="en-US"/>
              <a:t>OPTIONAL BREADCRUMB HERE</a:t>
            </a:r>
          </a:p>
        </p:txBody>
      </p:sp>
      <p:sp>
        <p:nvSpPr>
          <p:cNvPr id="8" name="Slide Number Placeholder 5">
            <a:extLst>
              <a:ext uri="{FF2B5EF4-FFF2-40B4-BE49-F238E27FC236}">
                <a16:creationId xmlns:a16="http://schemas.microsoft.com/office/drawing/2014/main" id="{3DB84E04-7731-345F-77EA-3F29E135A0BC}"/>
              </a:ext>
            </a:extLst>
          </p:cNvPr>
          <p:cNvSpPr txBox="1">
            <a:spLocks/>
          </p:cNvSpPr>
          <p:nvPr userDrawn="1"/>
        </p:nvSpPr>
        <p:spPr>
          <a:xfrm>
            <a:off x="11341100" y="6424613"/>
            <a:ext cx="393700" cy="200025"/>
          </a:xfrm>
          <a:prstGeom prst="rect">
            <a:avLst/>
          </a:prstGeom>
        </p:spPr>
        <p:txBody>
          <a:bodyPr vert="horz" lIns="0" tIns="0" rIns="0" bIns="0" rtlCol="0" anchor="ctr">
            <a:noAutofit/>
          </a:bodyPr>
          <a:lstStyle>
            <a:defPPr>
              <a:defRPr lang="en-US"/>
            </a:defPPr>
            <a:lvl1pPr algn="r" rtl="0" eaLnBrk="1" fontAlgn="auto" hangingPunct="1">
              <a:spcBef>
                <a:spcPts val="0"/>
              </a:spcBef>
              <a:spcAft>
                <a:spcPts val="0"/>
              </a:spcAft>
              <a:defRPr sz="800" kern="1200">
                <a:solidFill>
                  <a:schemeClr val="tx2"/>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fld id="{5F05AE8C-CF5F-4A4E-B69B-C9D8FA4EC18A}" type="slidenum">
              <a:rPr lang="en-US" smtClean="0">
                <a:solidFill>
                  <a:srgbClr val="112F64"/>
                </a:solidFill>
                <a:latin typeface="Montserrat" panose="00000500000000000000" pitchFamily="2" charset="0"/>
              </a:rPr>
              <a:pPr>
                <a:defRPr/>
              </a:pPr>
              <a:t>‹#›</a:t>
            </a:fld>
            <a:endParaRPr lang="en-US">
              <a:solidFill>
                <a:srgbClr val="112F64"/>
              </a:solidFill>
              <a:latin typeface="Montserrat" panose="00000500000000000000" pitchFamily="2" charset="0"/>
            </a:endParaRPr>
          </a:p>
        </p:txBody>
      </p:sp>
      <p:sp>
        <p:nvSpPr>
          <p:cNvPr id="11" name="Footer Placeholder 4">
            <a:extLst>
              <a:ext uri="{FF2B5EF4-FFF2-40B4-BE49-F238E27FC236}">
                <a16:creationId xmlns:a16="http://schemas.microsoft.com/office/drawing/2014/main" id="{75064991-9187-8694-627F-2FECE8244915}"/>
              </a:ext>
            </a:extLst>
          </p:cNvPr>
          <p:cNvSpPr txBox="1">
            <a:spLocks/>
          </p:cNvSpPr>
          <p:nvPr userDrawn="1"/>
        </p:nvSpPr>
        <p:spPr>
          <a:xfrm>
            <a:off x="463550" y="6427788"/>
            <a:ext cx="4114800" cy="198437"/>
          </a:xfrm>
          <a:prstGeom prst="rect">
            <a:avLst/>
          </a:prstGeom>
        </p:spPr>
        <p:txBody>
          <a:bodyPr vert="horz" lIns="0" tIns="0" rIns="0" bIns="0" rtlCol="0" anchor="ctr">
            <a:noAutofit/>
          </a:bodyPr>
          <a:lstStyle>
            <a:defPPr>
              <a:defRPr lang="en-US"/>
            </a:defPPr>
            <a:lvl1pPr algn="l" rtl="0" eaLnBrk="1" fontAlgn="auto" hangingPunct="1">
              <a:spcBef>
                <a:spcPts val="0"/>
              </a:spcBef>
              <a:spcAft>
                <a:spcPts val="0"/>
              </a:spcAft>
              <a:defRPr sz="800" kern="1200">
                <a:solidFill>
                  <a:schemeClr val="tx1"/>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r>
              <a:rPr lang="en-US">
                <a:solidFill>
                  <a:srgbClr val="000000"/>
                </a:solidFill>
                <a:latin typeface="Montserrat" panose="00000500000000000000" pitchFamily="2" charset="0"/>
              </a:rPr>
              <a:t>© 2023 Comcast. All rights reserved.</a:t>
            </a:r>
          </a:p>
        </p:txBody>
      </p:sp>
      <p:sp>
        <p:nvSpPr>
          <p:cNvPr id="2" name="Text Placeholder 5">
            <a:extLst>
              <a:ext uri="{FF2B5EF4-FFF2-40B4-BE49-F238E27FC236}">
                <a16:creationId xmlns:a16="http://schemas.microsoft.com/office/drawing/2014/main" id="{BCB3DDCC-4426-368A-BBF2-922CA573617E}"/>
              </a:ext>
            </a:extLst>
          </p:cNvPr>
          <p:cNvSpPr>
            <a:spLocks noGrp="1"/>
          </p:cNvSpPr>
          <p:nvPr>
            <p:ph type="body" sz="quarter" idx="27"/>
          </p:nvPr>
        </p:nvSpPr>
        <p:spPr>
          <a:xfrm>
            <a:off x="6311030" y="1097280"/>
            <a:ext cx="5404894" cy="4872162"/>
          </a:xfrm>
          <a:prstGeom prst="rect">
            <a:avLst/>
          </a:prstGeom>
        </p:spPr>
        <p:txBody>
          <a:bodyPr lIns="0" tIns="0" rIns="0" bIns="0"/>
          <a:lstStyle>
            <a:lvl1pPr marL="0" indent="0" algn="l">
              <a:buNone/>
              <a:defRPr sz="1800" b="0" i="0">
                <a:latin typeface="Montserrat Light" pitchFamily="2" charset="77"/>
                <a:cs typeface="Montserrat Light" pitchFamily="2" charset="77"/>
              </a:defRPr>
            </a:lvl1pPr>
            <a:lvl2pPr marL="174625" indent="-174625" algn="l">
              <a:spcBef>
                <a:spcPts val="1200"/>
              </a:spcBef>
              <a:buFont typeface="Arial" panose="020B0604020202020204" pitchFamily="34" charset="0"/>
              <a:buChar char="•"/>
              <a:tabLst/>
              <a:defRPr sz="1800" b="0" i="0">
                <a:latin typeface="Montserrat Light" pitchFamily="2" charset="77"/>
                <a:cs typeface="Montserrat Light" pitchFamily="2" charset="77"/>
              </a:defRPr>
            </a:lvl2pPr>
            <a:lvl3pPr marL="560070" indent="-285750" algn="l">
              <a:spcBef>
                <a:spcPts val="1200"/>
              </a:spcBef>
              <a:buFont typeface="Montserrat" panose="00000500000000000000" pitchFamily="2" charset="0"/>
              <a:buChar char="–"/>
              <a:defRPr sz="1800" b="0" i="0">
                <a:latin typeface="Montserrat Light" pitchFamily="2" charset="77"/>
                <a:cs typeface="Montserrat Light" pitchFamily="2" charset="77"/>
              </a:defRPr>
            </a:lvl3pPr>
            <a:lvl4pPr marL="834390" indent="-285750" algn="l">
              <a:spcBef>
                <a:spcPts val="1200"/>
              </a:spcBef>
              <a:buFont typeface="Courier New" panose="02070309020205020404" pitchFamily="49" charset="0"/>
              <a:buChar char="o"/>
              <a:defRPr sz="1600" b="0" i="0">
                <a:latin typeface="Montserrat Light" pitchFamily="2" charset="77"/>
                <a:cs typeface="Montserrat Light" pitchFamily="2" charset="77"/>
              </a:defRPr>
            </a:lvl4pPr>
            <a:lvl5pPr marL="1108710" indent="-285750" algn="l">
              <a:defRPr lang="en-US" sz="1400" b="0" i="0" u="none" strike="noStrike" cap="none" spc="0" baseline="0" dirty="0">
                <a:solidFill>
                  <a:srgbClr val="000000"/>
                </a:solidFill>
                <a:uFillTx/>
                <a:latin typeface="Montserrat Light" pitchFamily="2" charset="77"/>
                <a:ea typeface="Montserrat" panose="00000500000000000000" pitchFamily="2" charset="0"/>
                <a:cs typeface="Montserrat Light" pitchFamily="2" charset="77"/>
                <a:sym typeface="Montserrat"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49304616"/>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432">
          <p15:clr>
            <a:srgbClr val="FBAE40"/>
          </p15:clr>
        </p15:guide>
        <p15:guide id="3" pos="724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No Imag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2788" y="685800"/>
            <a:ext cx="8411651" cy="2971800"/>
          </a:xfrm>
          <a:prstGeom prst="rect">
            <a:avLst/>
          </a:prstGeom>
        </p:spPr>
        <p:txBody>
          <a:bodyPr anchor="b"/>
          <a:lstStyle>
            <a:lvl1pPr>
              <a:defRPr sz="5400" b="1" i="0">
                <a:solidFill>
                  <a:schemeClr val="bg2"/>
                </a:solidFill>
                <a:latin typeface="Montserrat SemiBold" pitchFamily="2" charset="77"/>
              </a:defRPr>
            </a:lvl1pPr>
          </a:lstStyle>
          <a:p>
            <a:r>
              <a:rPr lang="en-US"/>
              <a:t>Click to edit Master title style</a:t>
            </a:r>
          </a:p>
        </p:txBody>
      </p:sp>
      <p:sp>
        <p:nvSpPr>
          <p:cNvPr id="3" name="Text Placeholder 2"/>
          <p:cNvSpPr>
            <a:spLocks noGrp="1"/>
          </p:cNvSpPr>
          <p:nvPr>
            <p:ph type="body" idx="1"/>
          </p:nvPr>
        </p:nvSpPr>
        <p:spPr>
          <a:xfrm>
            <a:off x="432618" y="4101321"/>
            <a:ext cx="8401818" cy="641350"/>
          </a:xfrm>
          <a:prstGeom prst="rect">
            <a:avLst/>
          </a:prstGeom>
        </p:spPr>
        <p:txBody>
          <a:bodyPr/>
          <a:lstStyle>
            <a:lvl1pPr marL="0" indent="0">
              <a:buNone/>
              <a:defRPr sz="2400">
                <a:solidFill>
                  <a:schemeClr val="accent2"/>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5" name="Slide Number Placeholder 5">
            <a:extLst>
              <a:ext uri="{FF2B5EF4-FFF2-40B4-BE49-F238E27FC236}">
                <a16:creationId xmlns:a16="http://schemas.microsoft.com/office/drawing/2014/main" id="{577A0D8B-1D3E-F6EA-5B2E-C53771D309BA}"/>
              </a:ext>
            </a:extLst>
          </p:cNvPr>
          <p:cNvSpPr>
            <a:spLocks noGrp="1"/>
          </p:cNvSpPr>
          <p:nvPr>
            <p:ph type="sldNum" sz="quarter" idx="10"/>
          </p:nvPr>
        </p:nvSpPr>
        <p:spPr/>
        <p:txBody>
          <a:bodyPr/>
          <a:lstStyle>
            <a:lvl1pPr>
              <a:defRPr>
                <a:solidFill>
                  <a:schemeClr val="accent2"/>
                </a:solidFill>
              </a:defRPr>
            </a:lvl1pPr>
          </a:lstStyle>
          <a:p>
            <a:pPr>
              <a:defRPr/>
            </a:pPr>
            <a:fld id="{E147F4B0-95A8-43DB-BFB5-8B095617379B}" type="slidenum">
              <a:rPr lang="en-US"/>
              <a:pPr>
                <a:defRPr/>
              </a:pPr>
              <a:t>‹#›</a:t>
            </a:fld>
            <a:endParaRPr lang="en-US"/>
          </a:p>
        </p:txBody>
      </p:sp>
      <p:sp>
        <p:nvSpPr>
          <p:cNvPr id="6" name="Footer Placeholder 4">
            <a:extLst>
              <a:ext uri="{FF2B5EF4-FFF2-40B4-BE49-F238E27FC236}">
                <a16:creationId xmlns:a16="http://schemas.microsoft.com/office/drawing/2014/main" id="{F59C2888-9FE2-8C71-954F-1E30CF83D8E4}"/>
              </a:ext>
            </a:extLst>
          </p:cNvPr>
          <p:cNvSpPr>
            <a:spLocks noGrp="1"/>
          </p:cNvSpPr>
          <p:nvPr>
            <p:ph type="ftr" sz="quarter" idx="11"/>
          </p:nvPr>
        </p:nvSpPr>
        <p:spPr/>
        <p:txBody>
          <a:bodyPr/>
          <a:lstStyle>
            <a:lvl1pPr algn="l" eaLnBrk="1" fontAlgn="auto" hangingPunct="1">
              <a:spcBef>
                <a:spcPts val="0"/>
              </a:spcBef>
              <a:spcAft>
                <a:spcPts val="0"/>
              </a:spcAft>
              <a:defRPr sz="800">
                <a:solidFill>
                  <a:schemeClr val="bg2"/>
                </a:solidFill>
                <a:latin typeface="+mn-lt"/>
              </a:defRPr>
            </a:lvl1pPr>
          </a:lstStyle>
          <a:p>
            <a:pPr>
              <a:defRPr/>
            </a:pPr>
            <a:r>
              <a:rPr lang="en-US"/>
              <a:t>© 2024 Comcast. All rights reserved.</a:t>
            </a:r>
          </a:p>
        </p:txBody>
      </p:sp>
      <p:sp>
        <p:nvSpPr>
          <p:cNvPr id="9" name="Freeform 8">
            <a:extLst>
              <a:ext uri="{FF2B5EF4-FFF2-40B4-BE49-F238E27FC236}">
                <a16:creationId xmlns:a16="http://schemas.microsoft.com/office/drawing/2014/main" id="{ACB0759A-FE16-52B0-954C-A43DA66BC1DD}"/>
              </a:ext>
            </a:extLst>
          </p:cNvPr>
          <p:cNvSpPr/>
          <p:nvPr userDrawn="1"/>
        </p:nvSpPr>
        <p:spPr>
          <a:xfrm>
            <a:off x="9983595" y="5254908"/>
            <a:ext cx="1982224" cy="1603093"/>
          </a:xfrm>
          <a:custGeom>
            <a:avLst/>
            <a:gdLst>
              <a:gd name="connsiteX0" fmla="*/ 991112 w 1982224"/>
              <a:gd name="connsiteY0" fmla="*/ 0 h 1603093"/>
              <a:gd name="connsiteX1" fmla="*/ 1982224 w 1982224"/>
              <a:gd name="connsiteY1" fmla="*/ 991112 h 1603093"/>
              <a:gd name="connsiteX2" fmla="*/ 1812958 w 1982224"/>
              <a:gd name="connsiteY2" fmla="*/ 1545252 h 1603093"/>
              <a:gd name="connsiteX3" fmla="*/ 1765235 w 1982224"/>
              <a:gd name="connsiteY3" fmla="*/ 1603093 h 1603093"/>
              <a:gd name="connsiteX4" fmla="*/ 216990 w 1982224"/>
              <a:gd name="connsiteY4" fmla="*/ 1603093 h 1603093"/>
              <a:gd name="connsiteX5" fmla="*/ 169267 w 1982224"/>
              <a:gd name="connsiteY5" fmla="*/ 1545252 h 1603093"/>
              <a:gd name="connsiteX6" fmla="*/ 0 w 1982224"/>
              <a:gd name="connsiteY6" fmla="*/ 991112 h 1603093"/>
              <a:gd name="connsiteX7" fmla="*/ 991112 w 1982224"/>
              <a:gd name="connsiteY7" fmla="*/ 0 h 1603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82224" h="1603093">
                <a:moveTo>
                  <a:pt x="991112" y="0"/>
                </a:moveTo>
                <a:cubicBezTo>
                  <a:pt x="1538488" y="0"/>
                  <a:pt x="1982224" y="443736"/>
                  <a:pt x="1982224" y="991112"/>
                </a:cubicBezTo>
                <a:cubicBezTo>
                  <a:pt x="1982224" y="1196378"/>
                  <a:pt x="1919824" y="1387070"/>
                  <a:pt x="1812958" y="1545252"/>
                </a:cubicBezTo>
                <a:lnTo>
                  <a:pt x="1765235" y="1603093"/>
                </a:lnTo>
                <a:lnTo>
                  <a:pt x="216990" y="1603093"/>
                </a:lnTo>
                <a:lnTo>
                  <a:pt x="169267" y="1545252"/>
                </a:lnTo>
                <a:cubicBezTo>
                  <a:pt x="62401" y="1387070"/>
                  <a:pt x="0" y="1196378"/>
                  <a:pt x="0" y="991112"/>
                </a:cubicBezTo>
                <a:cubicBezTo>
                  <a:pt x="0" y="443736"/>
                  <a:pt x="443736" y="0"/>
                  <a:pt x="991112"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Date Placeholder 3">
            <a:extLst>
              <a:ext uri="{FF2B5EF4-FFF2-40B4-BE49-F238E27FC236}">
                <a16:creationId xmlns:a16="http://schemas.microsoft.com/office/drawing/2014/main" id="{7151E7D3-9793-A945-DBB8-41C6192B349A}"/>
              </a:ext>
            </a:extLst>
          </p:cNvPr>
          <p:cNvSpPr>
            <a:spLocks noGrp="1"/>
          </p:cNvSpPr>
          <p:nvPr>
            <p:ph type="dt" sz="half" idx="12"/>
          </p:nvPr>
        </p:nvSpPr>
        <p:spPr>
          <a:xfrm>
            <a:off x="457200" y="6107578"/>
            <a:ext cx="4114799" cy="274320"/>
          </a:xfrm>
          <a:prstGeom prst="rect">
            <a:avLst/>
          </a:prstGeom>
        </p:spPr>
        <p:txBody>
          <a:bodyPr lIns="0" tIns="0" rIns="0" bIns="0">
            <a:noAutofit/>
          </a:bodyPr>
          <a:lstStyle>
            <a:lvl1pPr>
              <a:defRPr sz="1400">
                <a:solidFill>
                  <a:schemeClr val="accent2"/>
                </a:solidFill>
              </a:defRPr>
            </a:lvl1pPr>
          </a:lstStyle>
          <a:p>
            <a:endParaRPr lang="en-US"/>
          </a:p>
        </p:txBody>
      </p:sp>
      <p:pic>
        <p:nvPicPr>
          <p:cNvPr id="7" name="Content Placeholder 13">
            <a:extLst>
              <a:ext uri="{FF2B5EF4-FFF2-40B4-BE49-F238E27FC236}">
                <a16:creationId xmlns:a16="http://schemas.microsoft.com/office/drawing/2014/main" id="{884C0D7E-BB11-6FB3-894B-7390B29BFFB1}"/>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auto">
          <a:xfrm>
            <a:off x="10074909" y="5345725"/>
            <a:ext cx="1771994" cy="1771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6105208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Slide - 3 Col">
    <p:spTree>
      <p:nvGrpSpPr>
        <p:cNvPr id="1" name=""/>
        <p:cNvGrpSpPr/>
        <p:nvPr/>
      </p:nvGrpSpPr>
      <p:grpSpPr>
        <a:xfrm>
          <a:off x="0" y="0"/>
          <a:ext cx="0" cy="0"/>
          <a:chOff x="0" y="0"/>
          <a:chExt cx="0" cy="0"/>
        </a:xfrm>
      </p:grpSpPr>
      <p:sp>
        <p:nvSpPr>
          <p:cNvPr id="19" name="Text Placeholder 5">
            <a:extLst>
              <a:ext uri="{FF2B5EF4-FFF2-40B4-BE49-F238E27FC236}">
                <a16:creationId xmlns:a16="http://schemas.microsoft.com/office/drawing/2014/main" id="{3F686C8C-E081-5242-90B9-38796068D595}"/>
              </a:ext>
            </a:extLst>
          </p:cNvPr>
          <p:cNvSpPr>
            <a:spLocks noGrp="1"/>
          </p:cNvSpPr>
          <p:nvPr>
            <p:ph type="body" sz="quarter" idx="26"/>
          </p:nvPr>
        </p:nvSpPr>
        <p:spPr>
          <a:xfrm>
            <a:off x="463550" y="1097280"/>
            <a:ext cx="3377719" cy="4872162"/>
          </a:xfrm>
          <a:prstGeom prst="rect">
            <a:avLst/>
          </a:prstGeom>
        </p:spPr>
        <p:txBody>
          <a:bodyPr lIns="0" tIns="0" rIns="0" bIns="0"/>
          <a:lstStyle>
            <a:lvl1pPr marL="0" indent="0" algn="l">
              <a:buNone/>
              <a:defRPr sz="1800" b="0" i="0">
                <a:latin typeface="Montserrat Light" pitchFamily="2" charset="77"/>
                <a:cs typeface="Montserrat Light" pitchFamily="2" charset="77"/>
              </a:defRPr>
            </a:lvl1pPr>
            <a:lvl2pPr marL="174625" indent="-174625" algn="l">
              <a:spcBef>
                <a:spcPts val="1200"/>
              </a:spcBef>
              <a:buFont typeface="Arial" panose="020B0604020202020204" pitchFamily="34" charset="0"/>
              <a:buChar char="•"/>
              <a:tabLst/>
              <a:defRPr sz="1800" b="0" i="0">
                <a:latin typeface="Montserrat Light" pitchFamily="2" charset="77"/>
                <a:cs typeface="Montserrat Light" pitchFamily="2" charset="77"/>
              </a:defRPr>
            </a:lvl2pPr>
            <a:lvl3pPr marL="560070" indent="-285750" algn="l">
              <a:spcBef>
                <a:spcPts val="1200"/>
              </a:spcBef>
              <a:buFont typeface="Montserrat" panose="00000500000000000000" pitchFamily="2" charset="0"/>
              <a:buChar char="–"/>
              <a:defRPr sz="1800" b="0" i="0">
                <a:latin typeface="Montserrat Light" pitchFamily="2" charset="77"/>
                <a:cs typeface="Montserrat Light" pitchFamily="2" charset="77"/>
              </a:defRPr>
            </a:lvl3pPr>
            <a:lvl4pPr marL="834390" indent="-285750" algn="l">
              <a:spcBef>
                <a:spcPts val="1200"/>
              </a:spcBef>
              <a:buFont typeface="Courier New" panose="02070309020205020404" pitchFamily="49" charset="0"/>
              <a:buChar char="o"/>
              <a:defRPr sz="1600" b="0" i="0">
                <a:latin typeface="Montserrat Light" pitchFamily="2" charset="77"/>
                <a:cs typeface="Montserrat Light" pitchFamily="2" charset="77"/>
              </a:defRPr>
            </a:lvl4pPr>
            <a:lvl5pPr marL="1108710" indent="-285750" algn="l">
              <a:defRPr lang="en-US" sz="1400" b="0" i="0" u="none" strike="noStrike" cap="none" spc="0" baseline="0" dirty="0">
                <a:solidFill>
                  <a:srgbClr val="000000"/>
                </a:solidFill>
                <a:uFillTx/>
                <a:latin typeface="Montserrat Light" pitchFamily="2" charset="77"/>
                <a:ea typeface="Montserrat" panose="00000500000000000000" pitchFamily="2" charset="0"/>
                <a:cs typeface="Montserrat Light" pitchFamily="2" charset="77"/>
                <a:sym typeface="Montserrat"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a:extLst>
              <a:ext uri="{FF2B5EF4-FFF2-40B4-BE49-F238E27FC236}">
                <a16:creationId xmlns:a16="http://schemas.microsoft.com/office/drawing/2014/main" id="{F21AE09E-697C-FC45-9E96-2E45E76886AB}"/>
              </a:ext>
            </a:extLst>
          </p:cNvPr>
          <p:cNvSpPr>
            <a:spLocks noGrp="1"/>
          </p:cNvSpPr>
          <p:nvPr>
            <p:ph type="title"/>
          </p:nvPr>
        </p:nvSpPr>
        <p:spPr>
          <a:xfrm>
            <a:off x="463548" y="514928"/>
            <a:ext cx="11271251" cy="368157"/>
          </a:xfrm>
          <a:prstGeom prst="rect">
            <a:avLst/>
          </a:prstGeom>
        </p:spPr>
        <p:txBody>
          <a:bodyPr lIns="0" tIns="0" rIns="0" bIns="0" anchor="t"/>
          <a:lstStyle>
            <a:lvl1pPr marL="0" marR="0" indent="0" algn="l" defTabSz="412750" rtl="0" latinLnBrk="0">
              <a:lnSpc>
                <a:spcPct val="100000"/>
              </a:lnSpc>
              <a:spcBef>
                <a:spcPts val="0"/>
              </a:spcBef>
              <a:spcAft>
                <a:spcPts val="0"/>
              </a:spcAft>
              <a:buClrTx/>
              <a:buSzTx/>
              <a:buFontTx/>
              <a:buNone/>
              <a:tabLst/>
              <a:defRPr lang="en-US" sz="2200" b="1" i="0" u="none" strike="noStrike" cap="none" spc="0" baseline="0" dirty="0" smtClean="0">
                <a:solidFill>
                  <a:srgbClr val="000000"/>
                </a:solidFill>
                <a:uFillTx/>
                <a:latin typeface="Montserrat" panose="00000500000000000000" pitchFamily="2" charset="0"/>
                <a:ea typeface="Montserrat" panose="00000500000000000000" pitchFamily="2" charset="0"/>
                <a:cs typeface="Montserrat" panose="00000500000000000000" pitchFamily="2" charset="0"/>
                <a:sym typeface="Montserrat" panose="00000500000000000000" pitchFamily="2" charset="0"/>
              </a:defRPr>
            </a:lvl1pPr>
          </a:lstStyle>
          <a:p>
            <a:r>
              <a:rPr lang="en-US"/>
              <a:t>Click to edit Master title style</a:t>
            </a:r>
          </a:p>
        </p:txBody>
      </p:sp>
      <p:sp>
        <p:nvSpPr>
          <p:cNvPr id="10" name="Text Placeholder 2">
            <a:extLst>
              <a:ext uri="{FF2B5EF4-FFF2-40B4-BE49-F238E27FC236}">
                <a16:creationId xmlns:a16="http://schemas.microsoft.com/office/drawing/2014/main" id="{E4AEF971-9BCB-1E42-9E22-F8D1F1044C95}"/>
              </a:ext>
            </a:extLst>
          </p:cNvPr>
          <p:cNvSpPr>
            <a:spLocks noGrp="1"/>
          </p:cNvSpPr>
          <p:nvPr>
            <p:ph type="body" sz="quarter" idx="25" hasCustomPrompt="1"/>
          </p:nvPr>
        </p:nvSpPr>
        <p:spPr>
          <a:xfrm>
            <a:off x="463548" y="255612"/>
            <a:ext cx="11271251" cy="201168"/>
          </a:xfrm>
          <a:prstGeom prst="rect">
            <a:avLst/>
          </a:prstGeom>
        </p:spPr>
        <p:txBody>
          <a:bodyPr lIns="0" tIns="0" rIns="0" bIns="0" anchor="ctr"/>
          <a:lstStyle>
            <a:lvl1pPr marL="0" indent="0" algn="l">
              <a:buNone/>
              <a:defRPr lang="en-US" sz="1000" b="0" i="0" cap="all" spc="200" baseline="0" dirty="0">
                <a:solidFill>
                  <a:schemeClr val="accent1"/>
                </a:solidFill>
                <a:latin typeface="Montserrat" panose="00000500000000000000" pitchFamily="2" charset="0"/>
                <a:ea typeface="Montserrat" panose="00000500000000000000" pitchFamily="2" charset="0"/>
                <a:cs typeface="Montserrat" panose="00000500000000000000" pitchFamily="2" charset="0"/>
              </a:defRPr>
            </a:lvl1pPr>
          </a:lstStyle>
          <a:p>
            <a:pPr lvl="0" algn="l"/>
            <a:r>
              <a:rPr lang="en-US"/>
              <a:t>OPTIONAL BREADCRUMB HERE</a:t>
            </a:r>
          </a:p>
        </p:txBody>
      </p:sp>
      <p:sp>
        <p:nvSpPr>
          <p:cNvPr id="8" name="Slide Number Placeholder 5">
            <a:extLst>
              <a:ext uri="{FF2B5EF4-FFF2-40B4-BE49-F238E27FC236}">
                <a16:creationId xmlns:a16="http://schemas.microsoft.com/office/drawing/2014/main" id="{3DB84E04-7731-345F-77EA-3F29E135A0BC}"/>
              </a:ext>
            </a:extLst>
          </p:cNvPr>
          <p:cNvSpPr txBox="1">
            <a:spLocks/>
          </p:cNvSpPr>
          <p:nvPr userDrawn="1"/>
        </p:nvSpPr>
        <p:spPr>
          <a:xfrm>
            <a:off x="11341100" y="6424613"/>
            <a:ext cx="393700" cy="200025"/>
          </a:xfrm>
          <a:prstGeom prst="rect">
            <a:avLst/>
          </a:prstGeom>
        </p:spPr>
        <p:txBody>
          <a:bodyPr vert="horz" lIns="0" tIns="0" rIns="0" bIns="0" rtlCol="0" anchor="ctr">
            <a:noAutofit/>
          </a:bodyPr>
          <a:lstStyle>
            <a:defPPr>
              <a:defRPr lang="en-US"/>
            </a:defPPr>
            <a:lvl1pPr algn="r" rtl="0" eaLnBrk="1" fontAlgn="auto" hangingPunct="1">
              <a:spcBef>
                <a:spcPts val="0"/>
              </a:spcBef>
              <a:spcAft>
                <a:spcPts val="0"/>
              </a:spcAft>
              <a:defRPr sz="800" kern="1200">
                <a:solidFill>
                  <a:schemeClr val="tx2"/>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fld id="{5F05AE8C-CF5F-4A4E-B69B-C9D8FA4EC18A}" type="slidenum">
              <a:rPr lang="en-US" smtClean="0">
                <a:solidFill>
                  <a:srgbClr val="112F64"/>
                </a:solidFill>
                <a:latin typeface="Montserrat" panose="00000500000000000000" pitchFamily="2" charset="0"/>
              </a:rPr>
              <a:pPr>
                <a:defRPr/>
              </a:pPr>
              <a:t>‹#›</a:t>
            </a:fld>
            <a:endParaRPr lang="en-US">
              <a:solidFill>
                <a:srgbClr val="112F64"/>
              </a:solidFill>
              <a:latin typeface="Montserrat" panose="00000500000000000000" pitchFamily="2" charset="0"/>
            </a:endParaRPr>
          </a:p>
        </p:txBody>
      </p:sp>
      <p:sp>
        <p:nvSpPr>
          <p:cNvPr id="11" name="Footer Placeholder 4">
            <a:extLst>
              <a:ext uri="{FF2B5EF4-FFF2-40B4-BE49-F238E27FC236}">
                <a16:creationId xmlns:a16="http://schemas.microsoft.com/office/drawing/2014/main" id="{75064991-9187-8694-627F-2FECE8244915}"/>
              </a:ext>
            </a:extLst>
          </p:cNvPr>
          <p:cNvSpPr txBox="1">
            <a:spLocks/>
          </p:cNvSpPr>
          <p:nvPr userDrawn="1"/>
        </p:nvSpPr>
        <p:spPr>
          <a:xfrm>
            <a:off x="463550" y="6427788"/>
            <a:ext cx="4114800" cy="198437"/>
          </a:xfrm>
          <a:prstGeom prst="rect">
            <a:avLst/>
          </a:prstGeom>
        </p:spPr>
        <p:txBody>
          <a:bodyPr vert="horz" lIns="0" tIns="0" rIns="0" bIns="0" rtlCol="0" anchor="ctr">
            <a:noAutofit/>
          </a:bodyPr>
          <a:lstStyle>
            <a:defPPr>
              <a:defRPr lang="en-US"/>
            </a:defPPr>
            <a:lvl1pPr algn="l" rtl="0" eaLnBrk="1" fontAlgn="auto" hangingPunct="1">
              <a:spcBef>
                <a:spcPts val="0"/>
              </a:spcBef>
              <a:spcAft>
                <a:spcPts val="0"/>
              </a:spcAft>
              <a:defRPr sz="800" kern="1200">
                <a:solidFill>
                  <a:schemeClr val="tx1"/>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r>
              <a:rPr lang="en-US">
                <a:solidFill>
                  <a:srgbClr val="000000"/>
                </a:solidFill>
                <a:latin typeface="Montserrat" panose="00000500000000000000" pitchFamily="2" charset="0"/>
              </a:rPr>
              <a:t>© 2023 Comcast. All rights reserved.</a:t>
            </a:r>
          </a:p>
        </p:txBody>
      </p:sp>
      <p:sp>
        <p:nvSpPr>
          <p:cNvPr id="2" name="Text Placeholder 5">
            <a:extLst>
              <a:ext uri="{FF2B5EF4-FFF2-40B4-BE49-F238E27FC236}">
                <a16:creationId xmlns:a16="http://schemas.microsoft.com/office/drawing/2014/main" id="{BCB3DDCC-4426-368A-BBF2-922CA573617E}"/>
              </a:ext>
            </a:extLst>
          </p:cNvPr>
          <p:cNvSpPr>
            <a:spLocks noGrp="1"/>
          </p:cNvSpPr>
          <p:nvPr>
            <p:ph type="body" sz="quarter" idx="27"/>
          </p:nvPr>
        </p:nvSpPr>
        <p:spPr>
          <a:xfrm>
            <a:off x="4410315" y="1097280"/>
            <a:ext cx="3377719" cy="4872162"/>
          </a:xfrm>
          <a:prstGeom prst="rect">
            <a:avLst/>
          </a:prstGeom>
        </p:spPr>
        <p:txBody>
          <a:bodyPr lIns="0" tIns="0" rIns="0" bIns="0"/>
          <a:lstStyle>
            <a:lvl1pPr marL="0" indent="0" algn="l">
              <a:buNone/>
              <a:defRPr sz="1800" b="0" i="0">
                <a:latin typeface="Montserrat Light" pitchFamily="2" charset="77"/>
                <a:cs typeface="Montserrat Light" pitchFamily="2" charset="77"/>
              </a:defRPr>
            </a:lvl1pPr>
            <a:lvl2pPr marL="174625" indent="-174625" algn="l">
              <a:spcBef>
                <a:spcPts val="1200"/>
              </a:spcBef>
              <a:buFont typeface="Arial" panose="020B0604020202020204" pitchFamily="34" charset="0"/>
              <a:buChar char="•"/>
              <a:tabLst/>
              <a:defRPr sz="1800" b="0" i="0">
                <a:latin typeface="Montserrat Light" pitchFamily="2" charset="77"/>
                <a:cs typeface="Montserrat Light" pitchFamily="2" charset="77"/>
              </a:defRPr>
            </a:lvl2pPr>
            <a:lvl3pPr marL="560070" indent="-285750" algn="l">
              <a:spcBef>
                <a:spcPts val="1200"/>
              </a:spcBef>
              <a:buFont typeface="Montserrat" panose="00000500000000000000" pitchFamily="2" charset="0"/>
              <a:buChar char="–"/>
              <a:defRPr sz="1800" b="0" i="0">
                <a:latin typeface="Montserrat Light" pitchFamily="2" charset="77"/>
                <a:cs typeface="Montserrat Light" pitchFamily="2" charset="77"/>
              </a:defRPr>
            </a:lvl3pPr>
            <a:lvl4pPr marL="834390" indent="-285750" algn="l">
              <a:spcBef>
                <a:spcPts val="1200"/>
              </a:spcBef>
              <a:buFont typeface="Courier New" panose="02070309020205020404" pitchFamily="49" charset="0"/>
              <a:buChar char="o"/>
              <a:defRPr sz="1600" b="0" i="0">
                <a:latin typeface="Montserrat Light" pitchFamily="2" charset="77"/>
                <a:cs typeface="Montserrat Light" pitchFamily="2" charset="77"/>
              </a:defRPr>
            </a:lvl4pPr>
            <a:lvl5pPr marL="1108710" indent="-285750" algn="l">
              <a:defRPr lang="en-US" sz="1400" b="0" i="0" u="none" strike="noStrike" cap="none" spc="0" baseline="0" dirty="0">
                <a:solidFill>
                  <a:srgbClr val="000000"/>
                </a:solidFill>
                <a:uFillTx/>
                <a:latin typeface="Montserrat Light" pitchFamily="2" charset="77"/>
                <a:ea typeface="Montserrat" panose="00000500000000000000" pitchFamily="2" charset="0"/>
                <a:cs typeface="Montserrat Light" pitchFamily="2" charset="77"/>
                <a:sym typeface="Montserrat"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5">
            <a:extLst>
              <a:ext uri="{FF2B5EF4-FFF2-40B4-BE49-F238E27FC236}">
                <a16:creationId xmlns:a16="http://schemas.microsoft.com/office/drawing/2014/main" id="{9C5DFF84-72FE-DA83-3BB4-8E059109D3A6}"/>
              </a:ext>
            </a:extLst>
          </p:cNvPr>
          <p:cNvSpPr>
            <a:spLocks noGrp="1"/>
          </p:cNvSpPr>
          <p:nvPr>
            <p:ph type="body" sz="quarter" idx="28"/>
          </p:nvPr>
        </p:nvSpPr>
        <p:spPr>
          <a:xfrm>
            <a:off x="8357081" y="1097280"/>
            <a:ext cx="3377719" cy="4872162"/>
          </a:xfrm>
          <a:prstGeom prst="rect">
            <a:avLst/>
          </a:prstGeom>
        </p:spPr>
        <p:txBody>
          <a:bodyPr lIns="0" tIns="0" rIns="0" bIns="0"/>
          <a:lstStyle>
            <a:lvl1pPr marL="0" indent="0" algn="l">
              <a:buNone/>
              <a:defRPr sz="1800" b="0" i="0">
                <a:latin typeface="Montserrat Light" pitchFamily="2" charset="77"/>
                <a:cs typeface="Montserrat Light" pitchFamily="2" charset="77"/>
              </a:defRPr>
            </a:lvl1pPr>
            <a:lvl2pPr marL="174625" indent="-174625" algn="l">
              <a:spcBef>
                <a:spcPts val="1200"/>
              </a:spcBef>
              <a:buFont typeface="Arial" panose="020B0604020202020204" pitchFamily="34" charset="0"/>
              <a:buChar char="•"/>
              <a:tabLst/>
              <a:defRPr sz="1800" b="0" i="0">
                <a:latin typeface="Montserrat Light" pitchFamily="2" charset="77"/>
                <a:cs typeface="Montserrat Light" pitchFamily="2" charset="77"/>
              </a:defRPr>
            </a:lvl2pPr>
            <a:lvl3pPr marL="560070" indent="-285750" algn="l">
              <a:spcBef>
                <a:spcPts val="1200"/>
              </a:spcBef>
              <a:buFont typeface="Montserrat" panose="00000500000000000000" pitchFamily="2" charset="0"/>
              <a:buChar char="–"/>
              <a:defRPr sz="1800" b="0" i="0">
                <a:latin typeface="Montserrat Light" pitchFamily="2" charset="77"/>
                <a:cs typeface="Montserrat Light" pitchFamily="2" charset="77"/>
              </a:defRPr>
            </a:lvl3pPr>
            <a:lvl4pPr marL="834390" indent="-285750" algn="l">
              <a:spcBef>
                <a:spcPts val="1200"/>
              </a:spcBef>
              <a:buFont typeface="Courier New" panose="02070309020205020404" pitchFamily="49" charset="0"/>
              <a:buChar char="o"/>
              <a:defRPr sz="1600" b="0" i="0">
                <a:latin typeface="Montserrat Light" pitchFamily="2" charset="77"/>
                <a:cs typeface="Montserrat Light" pitchFamily="2" charset="77"/>
              </a:defRPr>
            </a:lvl4pPr>
            <a:lvl5pPr marL="1108710" indent="-285750" algn="l">
              <a:defRPr lang="en-US" sz="1400" b="0" i="0" u="none" strike="noStrike" cap="none" spc="0" baseline="0" dirty="0">
                <a:solidFill>
                  <a:srgbClr val="000000"/>
                </a:solidFill>
                <a:uFillTx/>
                <a:latin typeface="Montserrat Light" pitchFamily="2" charset="77"/>
                <a:ea typeface="Montserrat" panose="00000500000000000000" pitchFamily="2" charset="0"/>
                <a:cs typeface="Montserrat Light" pitchFamily="2" charset="77"/>
                <a:sym typeface="Montserrat"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8179573"/>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432">
          <p15:clr>
            <a:srgbClr val="FBAE40"/>
          </p15:clr>
        </p15:guide>
        <p15:guide id="3" pos="7248">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Slide - 2 Col w/Image Right">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6BF55EDC-BBBD-F836-4AB9-EC5630072DD8}"/>
              </a:ext>
            </a:extLst>
          </p:cNvPr>
          <p:cNvSpPr>
            <a:spLocks noGrp="1"/>
          </p:cNvSpPr>
          <p:nvPr>
            <p:ph type="pic" sz="quarter" idx="27" hasCustomPrompt="1"/>
          </p:nvPr>
        </p:nvSpPr>
        <p:spPr>
          <a:xfrm>
            <a:off x="6580832" y="1363248"/>
            <a:ext cx="5611169" cy="4606194"/>
          </a:xfrm>
          <a:custGeom>
            <a:avLst/>
            <a:gdLst>
              <a:gd name="connsiteX0" fmla="*/ 2303097 w 5611169"/>
              <a:gd name="connsiteY0" fmla="*/ 0 h 4606194"/>
              <a:gd name="connsiteX1" fmla="*/ 5611169 w 5611169"/>
              <a:gd name="connsiteY1" fmla="*/ 0 h 4606194"/>
              <a:gd name="connsiteX2" fmla="*/ 5611169 w 5611169"/>
              <a:gd name="connsiteY2" fmla="*/ 4606194 h 4606194"/>
              <a:gd name="connsiteX3" fmla="*/ 2303097 w 5611169"/>
              <a:gd name="connsiteY3" fmla="*/ 4606194 h 4606194"/>
              <a:gd name="connsiteX4" fmla="*/ 0 w 5611169"/>
              <a:gd name="connsiteY4" fmla="*/ 2303097 h 4606194"/>
              <a:gd name="connsiteX5" fmla="*/ 2303097 w 5611169"/>
              <a:gd name="connsiteY5" fmla="*/ 0 h 4606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11169" h="4606194">
                <a:moveTo>
                  <a:pt x="2303097" y="0"/>
                </a:moveTo>
                <a:lnTo>
                  <a:pt x="5611169" y="0"/>
                </a:lnTo>
                <a:lnTo>
                  <a:pt x="5611169" y="4606194"/>
                </a:lnTo>
                <a:lnTo>
                  <a:pt x="2303097" y="4606194"/>
                </a:lnTo>
                <a:cubicBezTo>
                  <a:pt x="1031132" y="4606194"/>
                  <a:pt x="0" y="3575062"/>
                  <a:pt x="0" y="2303097"/>
                </a:cubicBezTo>
                <a:cubicBezTo>
                  <a:pt x="0" y="1031132"/>
                  <a:pt x="1031132" y="0"/>
                  <a:pt x="2303097" y="0"/>
                </a:cubicBezTo>
                <a:close/>
              </a:path>
            </a:pathLst>
          </a:custGeom>
          <a:solidFill>
            <a:schemeClr val="bg1">
              <a:lumMod val="95000"/>
            </a:schemeClr>
          </a:solidFill>
        </p:spPr>
        <p:txBody>
          <a:bodyPr wrap="square" bIns="1371600" anchor="ctr">
            <a:noAutofit/>
          </a:bodyPr>
          <a:lstStyle>
            <a:lvl1pPr marL="0" marR="0" indent="0" algn="ctr" defTabSz="914400" rtl="0" eaLnBrk="1" fontAlgn="base" latinLnBrk="0" hangingPunct="1">
              <a:lnSpc>
                <a:spcPct val="95000"/>
              </a:lnSpc>
              <a:spcBef>
                <a:spcPts val="1000"/>
              </a:spcBef>
              <a:spcAft>
                <a:spcPct val="0"/>
              </a:spcAft>
              <a:buClrTx/>
              <a:buSzTx/>
              <a:buFont typeface="Arial" panose="020B0604020202020204" pitchFamily="34" charset="0"/>
              <a:buNone/>
              <a:tabLst/>
              <a:defRPr>
                <a:solidFill>
                  <a:schemeClr val="accent1"/>
                </a:solidFill>
              </a:defRPr>
            </a:lvl1pPr>
          </a:lstStyle>
          <a:p>
            <a:r>
              <a:rPr lang="en-US"/>
              <a:t>Drag picture to placeholder</a:t>
            </a:r>
            <a:br>
              <a:rPr lang="en-US"/>
            </a:br>
            <a:r>
              <a:rPr lang="en-US"/>
              <a:t>or click icon to add.</a:t>
            </a:r>
          </a:p>
        </p:txBody>
      </p:sp>
      <p:sp>
        <p:nvSpPr>
          <p:cNvPr id="19" name="Text Placeholder 5">
            <a:extLst>
              <a:ext uri="{FF2B5EF4-FFF2-40B4-BE49-F238E27FC236}">
                <a16:creationId xmlns:a16="http://schemas.microsoft.com/office/drawing/2014/main" id="{3F686C8C-E081-5242-90B9-38796068D595}"/>
              </a:ext>
            </a:extLst>
          </p:cNvPr>
          <p:cNvSpPr>
            <a:spLocks noGrp="1"/>
          </p:cNvSpPr>
          <p:nvPr>
            <p:ph type="body" sz="quarter" idx="26"/>
          </p:nvPr>
        </p:nvSpPr>
        <p:spPr>
          <a:xfrm>
            <a:off x="463550" y="1363248"/>
            <a:ext cx="5632450" cy="4606194"/>
          </a:xfrm>
          <a:prstGeom prst="rect">
            <a:avLst/>
          </a:prstGeom>
        </p:spPr>
        <p:txBody>
          <a:bodyPr lIns="0" tIns="0" rIns="0" bIns="0" anchor="t"/>
          <a:lstStyle>
            <a:lvl1pPr marL="0" indent="0" algn="l">
              <a:buNone/>
              <a:defRPr sz="1800" b="0" i="0">
                <a:latin typeface="Montserrat Light" pitchFamily="2" charset="77"/>
                <a:cs typeface="Montserrat Light" pitchFamily="2" charset="77"/>
              </a:defRPr>
            </a:lvl1pPr>
            <a:lvl2pPr marL="174625" indent="-174625" algn="l">
              <a:spcBef>
                <a:spcPts val="1200"/>
              </a:spcBef>
              <a:buFont typeface="Arial" panose="020B0604020202020204" pitchFamily="34" charset="0"/>
              <a:buChar char="•"/>
              <a:tabLst/>
              <a:defRPr sz="1800" b="0" i="0">
                <a:latin typeface="Montserrat Light" pitchFamily="2" charset="77"/>
                <a:cs typeface="Montserrat Light" pitchFamily="2" charset="77"/>
              </a:defRPr>
            </a:lvl2pPr>
            <a:lvl3pPr marL="560070" indent="-285750" algn="l">
              <a:spcBef>
                <a:spcPts val="1200"/>
              </a:spcBef>
              <a:buFont typeface="Montserrat" panose="00000500000000000000" pitchFamily="2" charset="0"/>
              <a:buChar char="–"/>
              <a:defRPr sz="1800" b="0" i="0">
                <a:latin typeface="Montserrat Light" pitchFamily="2" charset="77"/>
                <a:cs typeface="Montserrat Light" pitchFamily="2" charset="77"/>
              </a:defRPr>
            </a:lvl3pPr>
            <a:lvl4pPr marL="834390" indent="-285750" algn="l">
              <a:spcBef>
                <a:spcPts val="1200"/>
              </a:spcBef>
              <a:buFont typeface="Courier New" panose="02070309020205020404" pitchFamily="49" charset="0"/>
              <a:buChar char="o"/>
              <a:defRPr sz="1600" b="0" i="0">
                <a:latin typeface="Montserrat Light" pitchFamily="2" charset="77"/>
                <a:cs typeface="Montserrat Light" pitchFamily="2" charset="77"/>
              </a:defRPr>
            </a:lvl4pPr>
            <a:lvl5pPr marL="1108710" indent="-285750" algn="l">
              <a:defRPr lang="en-US" sz="1400" b="0" i="0" u="none" strike="noStrike" cap="none" spc="0" baseline="0" dirty="0">
                <a:solidFill>
                  <a:srgbClr val="000000"/>
                </a:solidFill>
                <a:uFillTx/>
                <a:latin typeface="Montserrat Light" pitchFamily="2" charset="77"/>
                <a:ea typeface="Montserrat" panose="00000500000000000000" pitchFamily="2" charset="0"/>
                <a:cs typeface="Montserrat Light" pitchFamily="2" charset="77"/>
                <a:sym typeface="Montserrat"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a:extLst>
              <a:ext uri="{FF2B5EF4-FFF2-40B4-BE49-F238E27FC236}">
                <a16:creationId xmlns:a16="http://schemas.microsoft.com/office/drawing/2014/main" id="{F21AE09E-697C-FC45-9E96-2E45E76886AB}"/>
              </a:ext>
            </a:extLst>
          </p:cNvPr>
          <p:cNvSpPr>
            <a:spLocks noGrp="1"/>
          </p:cNvSpPr>
          <p:nvPr>
            <p:ph type="title"/>
          </p:nvPr>
        </p:nvSpPr>
        <p:spPr>
          <a:xfrm>
            <a:off x="463548" y="514928"/>
            <a:ext cx="11271251" cy="365760"/>
          </a:xfrm>
          <a:prstGeom prst="rect">
            <a:avLst/>
          </a:prstGeom>
        </p:spPr>
        <p:txBody>
          <a:bodyPr lIns="0" tIns="0" rIns="0" bIns="0" anchor="t"/>
          <a:lstStyle>
            <a:lvl1pPr marL="0" marR="0" indent="0" algn="l" defTabSz="412750" rtl="0" latinLnBrk="0">
              <a:lnSpc>
                <a:spcPct val="100000"/>
              </a:lnSpc>
              <a:spcBef>
                <a:spcPts val="0"/>
              </a:spcBef>
              <a:spcAft>
                <a:spcPts val="0"/>
              </a:spcAft>
              <a:buClrTx/>
              <a:buSzTx/>
              <a:buFontTx/>
              <a:buNone/>
              <a:tabLst/>
              <a:defRPr lang="en-US" sz="2200" b="1" i="0" u="none" strike="noStrike" cap="none" spc="0" baseline="0" dirty="0" smtClean="0">
                <a:solidFill>
                  <a:srgbClr val="000000"/>
                </a:solidFill>
                <a:uFillTx/>
                <a:latin typeface="Montserrat" panose="00000500000000000000" pitchFamily="2" charset="0"/>
                <a:ea typeface="Montserrat" panose="00000500000000000000" pitchFamily="2" charset="0"/>
                <a:cs typeface="Montserrat" panose="00000500000000000000" pitchFamily="2" charset="0"/>
                <a:sym typeface="Montserrat" panose="00000500000000000000" pitchFamily="2" charset="0"/>
              </a:defRPr>
            </a:lvl1pPr>
          </a:lstStyle>
          <a:p>
            <a:r>
              <a:rPr lang="en-US"/>
              <a:t>Click to edit Master title style</a:t>
            </a:r>
          </a:p>
        </p:txBody>
      </p:sp>
      <p:sp>
        <p:nvSpPr>
          <p:cNvPr id="10" name="Text Placeholder 2">
            <a:extLst>
              <a:ext uri="{FF2B5EF4-FFF2-40B4-BE49-F238E27FC236}">
                <a16:creationId xmlns:a16="http://schemas.microsoft.com/office/drawing/2014/main" id="{E4AEF971-9BCB-1E42-9E22-F8D1F1044C95}"/>
              </a:ext>
            </a:extLst>
          </p:cNvPr>
          <p:cNvSpPr>
            <a:spLocks noGrp="1"/>
          </p:cNvSpPr>
          <p:nvPr>
            <p:ph type="body" sz="quarter" idx="25" hasCustomPrompt="1"/>
          </p:nvPr>
        </p:nvSpPr>
        <p:spPr>
          <a:xfrm>
            <a:off x="463548" y="255612"/>
            <a:ext cx="11271251" cy="201168"/>
          </a:xfrm>
          <a:prstGeom prst="rect">
            <a:avLst/>
          </a:prstGeom>
        </p:spPr>
        <p:txBody>
          <a:bodyPr lIns="0" tIns="0" rIns="0" bIns="0" anchor="ctr"/>
          <a:lstStyle>
            <a:lvl1pPr marL="0" indent="0" algn="l">
              <a:buNone/>
              <a:defRPr lang="en-US" sz="1000" b="0" i="0" cap="all" spc="200" baseline="0" dirty="0">
                <a:solidFill>
                  <a:schemeClr val="accent1"/>
                </a:solidFill>
                <a:latin typeface="Montserrat" panose="00000500000000000000" pitchFamily="2" charset="0"/>
                <a:ea typeface="Montserrat" panose="00000500000000000000" pitchFamily="2" charset="0"/>
                <a:cs typeface="Montserrat" panose="00000500000000000000" pitchFamily="2" charset="0"/>
              </a:defRPr>
            </a:lvl1pPr>
          </a:lstStyle>
          <a:p>
            <a:pPr lvl="0" algn="l"/>
            <a:r>
              <a:rPr lang="en-US"/>
              <a:t>OPTIONAL BREADCRUMB HERE</a:t>
            </a:r>
          </a:p>
        </p:txBody>
      </p:sp>
      <p:sp>
        <p:nvSpPr>
          <p:cNvPr id="8" name="Slide Number Placeholder 5">
            <a:extLst>
              <a:ext uri="{FF2B5EF4-FFF2-40B4-BE49-F238E27FC236}">
                <a16:creationId xmlns:a16="http://schemas.microsoft.com/office/drawing/2014/main" id="{3DB84E04-7731-345F-77EA-3F29E135A0BC}"/>
              </a:ext>
            </a:extLst>
          </p:cNvPr>
          <p:cNvSpPr txBox="1">
            <a:spLocks/>
          </p:cNvSpPr>
          <p:nvPr userDrawn="1"/>
        </p:nvSpPr>
        <p:spPr>
          <a:xfrm>
            <a:off x="11341100" y="6424613"/>
            <a:ext cx="393700" cy="200025"/>
          </a:xfrm>
          <a:prstGeom prst="rect">
            <a:avLst/>
          </a:prstGeom>
        </p:spPr>
        <p:txBody>
          <a:bodyPr vert="horz" lIns="0" tIns="0" rIns="0" bIns="0" rtlCol="0" anchor="ctr">
            <a:noAutofit/>
          </a:bodyPr>
          <a:lstStyle>
            <a:defPPr>
              <a:defRPr lang="en-US"/>
            </a:defPPr>
            <a:lvl1pPr algn="r" rtl="0" eaLnBrk="1" fontAlgn="auto" hangingPunct="1">
              <a:spcBef>
                <a:spcPts val="0"/>
              </a:spcBef>
              <a:spcAft>
                <a:spcPts val="0"/>
              </a:spcAft>
              <a:defRPr sz="800" kern="1200">
                <a:solidFill>
                  <a:schemeClr val="tx2"/>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fld id="{5F05AE8C-CF5F-4A4E-B69B-C9D8FA4EC18A}" type="slidenum">
              <a:rPr lang="en-US" smtClean="0">
                <a:solidFill>
                  <a:srgbClr val="112F64"/>
                </a:solidFill>
                <a:latin typeface="Montserrat" panose="00000500000000000000" pitchFamily="2" charset="0"/>
              </a:rPr>
              <a:pPr>
                <a:defRPr/>
              </a:pPr>
              <a:t>‹#›</a:t>
            </a:fld>
            <a:endParaRPr lang="en-US">
              <a:solidFill>
                <a:srgbClr val="112F64"/>
              </a:solidFill>
              <a:latin typeface="Montserrat" panose="00000500000000000000" pitchFamily="2" charset="0"/>
            </a:endParaRPr>
          </a:p>
        </p:txBody>
      </p:sp>
      <p:sp>
        <p:nvSpPr>
          <p:cNvPr id="11" name="Footer Placeholder 4">
            <a:extLst>
              <a:ext uri="{FF2B5EF4-FFF2-40B4-BE49-F238E27FC236}">
                <a16:creationId xmlns:a16="http://schemas.microsoft.com/office/drawing/2014/main" id="{75064991-9187-8694-627F-2FECE8244915}"/>
              </a:ext>
            </a:extLst>
          </p:cNvPr>
          <p:cNvSpPr txBox="1">
            <a:spLocks/>
          </p:cNvSpPr>
          <p:nvPr userDrawn="1"/>
        </p:nvSpPr>
        <p:spPr>
          <a:xfrm>
            <a:off x="463550" y="6427788"/>
            <a:ext cx="4114800" cy="198437"/>
          </a:xfrm>
          <a:prstGeom prst="rect">
            <a:avLst/>
          </a:prstGeom>
        </p:spPr>
        <p:txBody>
          <a:bodyPr vert="horz" lIns="0" tIns="0" rIns="0" bIns="0" rtlCol="0" anchor="ctr">
            <a:noAutofit/>
          </a:bodyPr>
          <a:lstStyle>
            <a:defPPr>
              <a:defRPr lang="en-US"/>
            </a:defPPr>
            <a:lvl1pPr algn="l" rtl="0" eaLnBrk="1" fontAlgn="auto" hangingPunct="1">
              <a:spcBef>
                <a:spcPts val="0"/>
              </a:spcBef>
              <a:spcAft>
                <a:spcPts val="0"/>
              </a:spcAft>
              <a:defRPr sz="800" kern="1200">
                <a:solidFill>
                  <a:schemeClr val="tx1"/>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r>
              <a:rPr lang="en-US">
                <a:solidFill>
                  <a:srgbClr val="000000"/>
                </a:solidFill>
                <a:latin typeface="Montserrat" panose="00000500000000000000" pitchFamily="2" charset="0"/>
              </a:rPr>
              <a:t>© 2023 Comcast. All rights reserved.</a:t>
            </a:r>
          </a:p>
        </p:txBody>
      </p:sp>
    </p:spTree>
    <p:extLst>
      <p:ext uri="{BB962C8B-B14F-4D97-AF65-F5344CB8AC3E}">
        <p14:creationId xmlns:p14="http://schemas.microsoft.com/office/powerpoint/2010/main" val="3816822816"/>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432">
          <p15:clr>
            <a:srgbClr val="FBAE40"/>
          </p15:clr>
        </p15:guide>
        <p15:guide id="3" pos="7248">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Slide - 2 Col w/Image Left">
    <p:spTree>
      <p:nvGrpSpPr>
        <p:cNvPr id="1" name=""/>
        <p:cNvGrpSpPr/>
        <p:nvPr/>
      </p:nvGrpSpPr>
      <p:grpSpPr>
        <a:xfrm>
          <a:off x="0" y="0"/>
          <a:ext cx="0" cy="0"/>
          <a:chOff x="0" y="0"/>
          <a:chExt cx="0" cy="0"/>
        </a:xfrm>
      </p:grpSpPr>
      <p:sp>
        <p:nvSpPr>
          <p:cNvPr id="19" name="Text Placeholder 5">
            <a:extLst>
              <a:ext uri="{FF2B5EF4-FFF2-40B4-BE49-F238E27FC236}">
                <a16:creationId xmlns:a16="http://schemas.microsoft.com/office/drawing/2014/main" id="{3F686C8C-E081-5242-90B9-38796068D595}"/>
              </a:ext>
            </a:extLst>
          </p:cNvPr>
          <p:cNvSpPr>
            <a:spLocks noGrp="1"/>
          </p:cNvSpPr>
          <p:nvPr>
            <p:ph type="body" sz="quarter" idx="26"/>
          </p:nvPr>
        </p:nvSpPr>
        <p:spPr>
          <a:xfrm>
            <a:off x="6102349" y="1339033"/>
            <a:ext cx="5632450" cy="4630408"/>
          </a:xfrm>
          <a:prstGeom prst="rect">
            <a:avLst/>
          </a:prstGeom>
        </p:spPr>
        <p:txBody>
          <a:bodyPr lIns="0" tIns="0" rIns="0" bIns="0"/>
          <a:lstStyle>
            <a:lvl1pPr marL="0" indent="0" algn="l">
              <a:buNone/>
              <a:defRPr sz="1800" b="0" i="0">
                <a:latin typeface="Montserrat Light" pitchFamily="2" charset="77"/>
                <a:cs typeface="Montserrat Light" pitchFamily="2" charset="77"/>
              </a:defRPr>
            </a:lvl1pPr>
            <a:lvl2pPr marL="174625" indent="-174625" algn="l">
              <a:spcBef>
                <a:spcPts val="1200"/>
              </a:spcBef>
              <a:buFont typeface="Arial" panose="020B0604020202020204" pitchFamily="34" charset="0"/>
              <a:buChar char="•"/>
              <a:tabLst/>
              <a:defRPr sz="1800" b="0" i="0">
                <a:latin typeface="Montserrat Light" pitchFamily="2" charset="77"/>
                <a:cs typeface="Montserrat Light" pitchFamily="2" charset="77"/>
              </a:defRPr>
            </a:lvl2pPr>
            <a:lvl3pPr marL="560070" indent="-285750" algn="l">
              <a:spcBef>
                <a:spcPts val="1200"/>
              </a:spcBef>
              <a:buFont typeface="Montserrat" panose="00000500000000000000" pitchFamily="2" charset="0"/>
              <a:buChar char="–"/>
              <a:defRPr sz="1800" b="0" i="0">
                <a:latin typeface="Montserrat Light" pitchFamily="2" charset="77"/>
                <a:cs typeface="Montserrat Light" pitchFamily="2" charset="77"/>
              </a:defRPr>
            </a:lvl3pPr>
            <a:lvl4pPr marL="834390" indent="-285750" algn="l">
              <a:spcBef>
                <a:spcPts val="1200"/>
              </a:spcBef>
              <a:buFont typeface="Courier New" panose="02070309020205020404" pitchFamily="49" charset="0"/>
              <a:buChar char="o"/>
              <a:defRPr sz="1600" b="0" i="0">
                <a:latin typeface="Montserrat Light" pitchFamily="2" charset="77"/>
                <a:cs typeface="Montserrat Light" pitchFamily="2" charset="77"/>
              </a:defRPr>
            </a:lvl4pPr>
            <a:lvl5pPr marL="1108710" indent="-285750" algn="l">
              <a:defRPr lang="en-US" sz="1400" b="0" i="0" u="none" strike="noStrike" cap="none" spc="0" baseline="0" dirty="0">
                <a:solidFill>
                  <a:srgbClr val="000000"/>
                </a:solidFill>
                <a:uFillTx/>
                <a:latin typeface="Montserrat Light" pitchFamily="2" charset="77"/>
                <a:ea typeface="Montserrat" panose="00000500000000000000" pitchFamily="2" charset="0"/>
                <a:cs typeface="Montserrat Light" pitchFamily="2" charset="77"/>
                <a:sym typeface="Montserrat"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a:extLst>
              <a:ext uri="{FF2B5EF4-FFF2-40B4-BE49-F238E27FC236}">
                <a16:creationId xmlns:a16="http://schemas.microsoft.com/office/drawing/2014/main" id="{F21AE09E-697C-FC45-9E96-2E45E76886AB}"/>
              </a:ext>
            </a:extLst>
          </p:cNvPr>
          <p:cNvSpPr>
            <a:spLocks noGrp="1"/>
          </p:cNvSpPr>
          <p:nvPr>
            <p:ph type="title"/>
          </p:nvPr>
        </p:nvSpPr>
        <p:spPr>
          <a:xfrm>
            <a:off x="463548" y="514928"/>
            <a:ext cx="11271251" cy="365760"/>
          </a:xfrm>
          <a:prstGeom prst="rect">
            <a:avLst/>
          </a:prstGeom>
        </p:spPr>
        <p:txBody>
          <a:bodyPr lIns="0" tIns="0" rIns="0" bIns="0" anchor="t"/>
          <a:lstStyle>
            <a:lvl1pPr marL="0" marR="0" indent="0" algn="l" defTabSz="412750" rtl="0" latinLnBrk="0">
              <a:lnSpc>
                <a:spcPct val="100000"/>
              </a:lnSpc>
              <a:spcBef>
                <a:spcPts val="0"/>
              </a:spcBef>
              <a:spcAft>
                <a:spcPts val="0"/>
              </a:spcAft>
              <a:buClrTx/>
              <a:buSzTx/>
              <a:buFontTx/>
              <a:buNone/>
              <a:tabLst/>
              <a:defRPr lang="en-US" sz="2200" b="1" i="0" u="none" strike="noStrike" cap="none" spc="0" baseline="0" dirty="0" smtClean="0">
                <a:solidFill>
                  <a:srgbClr val="000000"/>
                </a:solidFill>
                <a:uFillTx/>
                <a:latin typeface="Montserrat" panose="00000500000000000000" pitchFamily="2" charset="0"/>
                <a:ea typeface="Montserrat" panose="00000500000000000000" pitchFamily="2" charset="0"/>
                <a:cs typeface="Montserrat" panose="00000500000000000000" pitchFamily="2" charset="0"/>
                <a:sym typeface="Montserrat" panose="00000500000000000000" pitchFamily="2" charset="0"/>
              </a:defRPr>
            </a:lvl1pPr>
          </a:lstStyle>
          <a:p>
            <a:r>
              <a:rPr lang="en-US"/>
              <a:t>Click to edit Master title style</a:t>
            </a:r>
          </a:p>
        </p:txBody>
      </p:sp>
      <p:sp>
        <p:nvSpPr>
          <p:cNvPr id="10" name="Text Placeholder 2">
            <a:extLst>
              <a:ext uri="{FF2B5EF4-FFF2-40B4-BE49-F238E27FC236}">
                <a16:creationId xmlns:a16="http://schemas.microsoft.com/office/drawing/2014/main" id="{E4AEF971-9BCB-1E42-9E22-F8D1F1044C95}"/>
              </a:ext>
            </a:extLst>
          </p:cNvPr>
          <p:cNvSpPr>
            <a:spLocks noGrp="1"/>
          </p:cNvSpPr>
          <p:nvPr>
            <p:ph type="body" sz="quarter" idx="25" hasCustomPrompt="1"/>
          </p:nvPr>
        </p:nvSpPr>
        <p:spPr>
          <a:xfrm>
            <a:off x="463548" y="255612"/>
            <a:ext cx="11271251" cy="201168"/>
          </a:xfrm>
          <a:prstGeom prst="rect">
            <a:avLst/>
          </a:prstGeom>
        </p:spPr>
        <p:txBody>
          <a:bodyPr lIns="0" tIns="0" rIns="0" bIns="0" anchor="ctr"/>
          <a:lstStyle>
            <a:lvl1pPr marL="0" indent="0" algn="l">
              <a:buNone/>
              <a:defRPr lang="en-US" sz="1000" b="0" i="0" cap="all" spc="200" baseline="0" dirty="0">
                <a:solidFill>
                  <a:schemeClr val="accent1"/>
                </a:solidFill>
                <a:latin typeface="Montserrat" panose="00000500000000000000" pitchFamily="2" charset="0"/>
                <a:ea typeface="Montserrat" panose="00000500000000000000" pitchFamily="2" charset="0"/>
                <a:cs typeface="Montserrat" panose="00000500000000000000" pitchFamily="2" charset="0"/>
              </a:defRPr>
            </a:lvl1pPr>
          </a:lstStyle>
          <a:p>
            <a:pPr lvl="0" algn="l"/>
            <a:r>
              <a:rPr lang="en-US"/>
              <a:t>OPTIONAL BREADCRUMB HERE</a:t>
            </a:r>
          </a:p>
        </p:txBody>
      </p:sp>
      <p:sp>
        <p:nvSpPr>
          <p:cNvPr id="8" name="Slide Number Placeholder 5">
            <a:extLst>
              <a:ext uri="{FF2B5EF4-FFF2-40B4-BE49-F238E27FC236}">
                <a16:creationId xmlns:a16="http://schemas.microsoft.com/office/drawing/2014/main" id="{3DB84E04-7731-345F-77EA-3F29E135A0BC}"/>
              </a:ext>
            </a:extLst>
          </p:cNvPr>
          <p:cNvSpPr txBox="1">
            <a:spLocks/>
          </p:cNvSpPr>
          <p:nvPr userDrawn="1"/>
        </p:nvSpPr>
        <p:spPr>
          <a:xfrm>
            <a:off x="11341100" y="6424613"/>
            <a:ext cx="393700" cy="200025"/>
          </a:xfrm>
          <a:prstGeom prst="rect">
            <a:avLst/>
          </a:prstGeom>
        </p:spPr>
        <p:txBody>
          <a:bodyPr vert="horz" lIns="0" tIns="0" rIns="0" bIns="0" rtlCol="0" anchor="ctr">
            <a:noAutofit/>
          </a:bodyPr>
          <a:lstStyle>
            <a:defPPr>
              <a:defRPr lang="en-US"/>
            </a:defPPr>
            <a:lvl1pPr algn="r" rtl="0" eaLnBrk="1" fontAlgn="auto" hangingPunct="1">
              <a:spcBef>
                <a:spcPts val="0"/>
              </a:spcBef>
              <a:spcAft>
                <a:spcPts val="0"/>
              </a:spcAft>
              <a:defRPr sz="800" kern="1200">
                <a:solidFill>
                  <a:schemeClr val="tx2"/>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fld id="{5F05AE8C-CF5F-4A4E-B69B-C9D8FA4EC18A}" type="slidenum">
              <a:rPr lang="en-US" smtClean="0">
                <a:solidFill>
                  <a:srgbClr val="112F64"/>
                </a:solidFill>
                <a:latin typeface="Montserrat" panose="00000500000000000000" pitchFamily="2" charset="0"/>
              </a:rPr>
              <a:pPr>
                <a:defRPr/>
              </a:pPr>
              <a:t>‹#›</a:t>
            </a:fld>
            <a:endParaRPr lang="en-US">
              <a:solidFill>
                <a:srgbClr val="112F64"/>
              </a:solidFill>
              <a:latin typeface="Montserrat" panose="00000500000000000000" pitchFamily="2" charset="0"/>
            </a:endParaRPr>
          </a:p>
        </p:txBody>
      </p:sp>
      <p:sp>
        <p:nvSpPr>
          <p:cNvPr id="11" name="Footer Placeholder 4">
            <a:extLst>
              <a:ext uri="{FF2B5EF4-FFF2-40B4-BE49-F238E27FC236}">
                <a16:creationId xmlns:a16="http://schemas.microsoft.com/office/drawing/2014/main" id="{75064991-9187-8694-627F-2FECE8244915}"/>
              </a:ext>
            </a:extLst>
          </p:cNvPr>
          <p:cNvSpPr txBox="1">
            <a:spLocks/>
          </p:cNvSpPr>
          <p:nvPr userDrawn="1"/>
        </p:nvSpPr>
        <p:spPr>
          <a:xfrm>
            <a:off x="463550" y="6427788"/>
            <a:ext cx="4114800" cy="198437"/>
          </a:xfrm>
          <a:prstGeom prst="rect">
            <a:avLst/>
          </a:prstGeom>
        </p:spPr>
        <p:txBody>
          <a:bodyPr vert="horz" lIns="0" tIns="0" rIns="0" bIns="0" rtlCol="0" anchor="ctr">
            <a:noAutofit/>
          </a:bodyPr>
          <a:lstStyle>
            <a:defPPr>
              <a:defRPr lang="en-US"/>
            </a:defPPr>
            <a:lvl1pPr algn="l" rtl="0" eaLnBrk="1" fontAlgn="auto" hangingPunct="1">
              <a:spcBef>
                <a:spcPts val="0"/>
              </a:spcBef>
              <a:spcAft>
                <a:spcPts val="0"/>
              </a:spcAft>
              <a:defRPr sz="800" kern="1200">
                <a:solidFill>
                  <a:schemeClr val="tx1"/>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r>
              <a:rPr lang="en-US">
                <a:solidFill>
                  <a:srgbClr val="000000"/>
                </a:solidFill>
                <a:latin typeface="Montserrat" panose="00000500000000000000" pitchFamily="2" charset="0"/>
              </a:rPr>
              <a:t>© 2023 Comcast. All rights reserved.</a:t>
            </a:r>
          </a:p>
        </p:txBody>
      </p:sp>
      <p:sp>
        <p:nvSpPr>
          <p:cNvPr id="5" name="Picture Placeholder 4">
            <a:extLst>
              <a:ext uri="{FF2B5EF4-FFF2-40B4-BE49-F238E27FC236}">
                <a16:creationId xmlns:a16="http://schemas.microsoft.com/office/drawing/2014/main" id="{D056465B-E1E1-AEA6-53A4-7E88177F3B48}"/>
              </a:ext>
            </a:extLst>
          </p:cNvPr>
          <p:cNvSpPr>
            <a:spLocks noGrp="1"/>
          </p:cNvSpPr>
          <p:nvPr>
            <p:ph type="pic" sz="quarter" idx="28" hasCustomPrompt="1"/>
          </p:nvPr>
        </p:nvSpPr>
        <p:spPr>
          <a:xfrm>
            <a:off x="0" y="1339034"/>
            <a:ext cx="5632450" cy="4630408"/>
          </a:xfrm>
          <a:custGeom>
            <a:avLst/>
            <a:gdLst>
              <a:gd name="connsiteX0" fmla="*/ 0 w 5632450"/>
              <a:gd name="connsiteY0" fmla="*/ 0 h 4630408"/>
              <a:gd name="connsiteX1" fmla="*/ 3317246 w 5632450"/>
              <a:gd name="connsiteY1" fmla="*/ 0 h 4630408"/>
              <a:gd name="connsiteX2" fmla="*/ 5632450 w 5632450"/>
              <a:gd name="connsiteY2" fmla="*/ 2315204 h 4630408"/>
              <a:gd name="connsiteX3" fmla="*/ 3317246 w 5632450"/>
              <a:gd name="connsiteY3" fmla="*/ 4630408 h 4630408"/>
              <a:gd name="connsiteX4" fmla="*/ 0 w 5632450"/>
              <a:gd name="connsiteY4" fmla="*/ 4630408 h 4630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32450" h="4630408">
                <a:moveTo>
                  <a:pt x="0" y="0"/>
                </a:moveTo>
                <a:lnTo>
                  <a:pt x="3317246" y="0"/>
                </a:lnTo>
                <a:cubicBezTo>
                  <a:pt x="4595898" y="0"/>
                  <a:pt x="5632450" y="1036552"/>
                  <a:pt x="5632450" y="2315204"/>
                </a:cubicBezTo>
                <a:cubicBezTo>
                  <a:pt x="5632450" y="3593856"/>
                  <a:pt x="4595898" y="4630408"/>
                  <a:pt x="3317246" y="4630408"/>
                </a:cubicBezTo>
                <a:lnTo>
                  <a:pt x="0" y="4630408"/>
                </a:lnTo>
                <a:close/>
              </a:path>
            </a:pathLst>
          </a:custGeom>
          <a:solidFill>
            <a:schemeClr val="bg1">
              <a:lumMod val="95000"/>
            </a:schemeClr>
          </a:solidFill>
        </p:spPr>
        <p:txBody>
          <a:bodyPr wrap="square" bIns="1371600" anchor="ctr">
            <a:noAutofit/>
          </a:bodyPr>
          <a:lstStyle>
            <a:lvl1pPr marL="0" marR="0" indent="0" algn="ctr" defTabSz="914400" rtl="0" eaLnBrk="1" fontAlgn="base" latinLnBrk="0" hangingPunct="1">
              <a:lnSpc>
                <a:spcPct val="95000"/>
              </a:lnSpc>
              <a:spcBef>
                <a:spcPts val="1000"/>
              </a:spcBef>
              <a:spcAft>
                <a:spcPct val="0"/>
              </a:spcAft>
              <a:buClrTx/>
              <a:buSzTx/>
              <a:buFont typeface="Arial" panose="020B0604020202020204" pitchFamily="34" charset="0"/>
              <a:buNone/>
              <a:tabLst/>
              <a:defRPr>
                <a:solidFill>
                  <a:schemeClr val="accent1"/>
                </a:solidFill>
              </a:defRPr>
            </a:lvl1pPr>
          </a:lstStyle>
          <a:p>
            <a:r>
              <a:rPr lang="en-US"/>
              <a:t>Drag picture to placeholder</a:t>
            </a:r>
            <a:br>
              <a:rPr lang="en-US"/>
            </a:br>
            <a:r>
              <a:rPr lang="en-US"/>
              <a:t>or click icon to add.</a:t>
            </a:r>
          </a:p>
        </p:txBody>
      </p:sp>
    </p:spTree>
    <p:extLst>
      <p:ext uri="{BB962C8B-B14F-4D97-AF65-F5344CB8AC3E}">
        <p14:creationId xmlns:p14="http://schemas.microsoft.com/office/powerpoint/2010/main" val="3971476835"/>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432">
          <p15:clr>
            <a:srgbClr val="FBAE40"/>
          </p15:clr>
        </p15:guide>
        <p15:guide id="3" pos="7248">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3">
            <a:extLst>
              <a:ext uri="{FF2B5EF4-FFF2-40B4-BE49-F238E27FC236}">
                <a16:creationId xmlns:a16="http://schemas.microsoft.com/office/drawing/2014/main" id="{A5F56953-5C19-44BA-876B-533BF103DC43}"/>
              </a:ext>
            </a:extLst>
          </p:cNvPr>
          <p:cNvSpPr>
            <a:spLocks noGrp="1"/>
          </p:cNvSpPr>
          <p:nvPr>
            <p:ph type="sldNum" sz="quarter" idx="10"/>
          </p:nvPr>
        </p:nvSpPr>
        <p:spPr/>
        <p:txBody>
          <a:bodyPr/>
          <a:lstStyle>
            <a:lvl1pPr>
              <a:defRPr/>
            </a:lvl1pPr>
          </a:lstStyle>
          <a:p>
            <a:pPr>
              <a:defRPr/>
            </a:pPr>
            <a:fld id="{4B0ED8DB-84B1-4EAA-BC65-0B9B530EC627}" type="slidenum">
              <a:rPr lang="en-US"/>
              <a:pPr>
                <a:defRPr/>
              </a:pPr>
              <a:t>‹#›</a:t>
            </a:fld>
            <a:endParaRPr lang="en-US"/>
          </a:p>
        </p:txBody>
      </p:sp>
      <p:sp>
        <p:nvSpPr>
          <p:cNvPr id="3" name="Footer Placeholder 4">
            <a:extLst>
              <a:ext uri="{FF2B5EF4-FFF2-40B4-BE49-F238E27FC236}">
                <a16:creationId xmlns:a16="http://schemas.microsoft.com/office/drawing/2014/main" id="{7379CE49-110A-409A-B246-2599257D74BF}"/>
              </a:ext>
            </a:extLst>
          </p:cNvPr>
          <p:cNvSpPr>
            <a:spLocks noGrp="1"/>
          </p:cNvSpPr>
          <p:nvPr>
            <p:ph type="ftr" sz="quarter" idx="11"/>
          </p:nvPr>
        </p:nvSpPr>
        <p:spPr/>
        <p:txBody>
          <a:bodyPr/>
          <a:lstStyle>
            <a:lvl1pPr algn="l" eaLnBrk="1" fontAlgn="auto" hangingPunct="1">
              <a:spcBef>
                <a:spcPts val="0"/>
              </a:spcBef>
              <a:spcAft>
                <a:spcPts val="0"/>
              </a:spcAft>
              <a:defRPr sz="800">
                <a:solidFill>
                  <a:schemeClr val="tx1"/>
                </a:solidFill>
                <a:latin typeface="+mn-lt"/>
              </a:defRPr>
            </a:lvl1pPr>
          </a:lstStyle>
          <a:p>
            <a:pPr>
              <a:defRPr/>
            </a:pPr>
            <a:r>
              <a:rPr lang="en-US"/>
              <a:t>© 2024 Comcast. All rights reserved.</a:t>
            </a:r>
          </a:p>
        </p:txBody>
      </p:sp>
    </p:spTree>
    <p:extLst>
      <p:ext uri="{BB962C8B-B14F-4D97-AF65-F5344CB8AC3E}">
        <p14:creationId xmlns:p14="http://schemas.microsoft.com/office/powerpoint/2010/main" val="12765804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hre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8194D4-3A07-4F1A-882C-C717883D954E}"/>
              </a:ext>
            </a:extLst>
          </p:cNvPr>
          <p:cNvSpPr>
            <a:spLocks noGrp="1"/>
          </p:cNvSpPr>
          <p:nvPr>
            <p:ph type="title" hasCustomPrompt="1"/>
          </p:nvPr>
        </p:nvSpPr>
        <p:spPr>
          <a:xfrm>
            <a:off x="429488" y="685800"/>
            <a:ext cx="11305313" cy="822960"/>
          </a:xfrm>
        </p:spPr>
        <p:txBody>
          <a:bodyPr/>
          <a:lstStyle>
            <a:lvl1pPr>
              <a:defRPr/>
            </a:lvl1pPr>
          </a:lstStyle>
          <a:p>
            <a:r>
              <a:rPr lang="en-US"/>
              <a:t>Slide title, 32pt Light</a:t>
            </a:r>
          </a:p>
        </p:txBody>
      </p:sp>
      <p:sp>
        <p:nvSpPr>
          <p:cNvPr id="3" name="Content Placeholder 2">
            <a:extLst>
              <a:ext uri="{FF2B5EF4-FFF2-40B4-BE49-F238E27FC236}">
                <a16:creationId xmlns:a16="http://schemas.microsoft.com/office/drawing/2014/main" id="{4A3FEAB6-B0ED-45C1-BC37-9D92F6B30BE6}"/>
              </a:ext>
            </a:extLst>
          </p:cNvPr>
          <p:cNvSpPr>
            <a:spLocks noGrp="1"/>
          </p:cNvSpPr>
          <p:nvPr>
            <p:ph sz="half" idx="1" hasCustomPrompt="1"/>
          </p:nvPr>
        </p:nvSpPr>
        <p:spPr>
          <a:xfrm>
            <a:off x="445207" y="1673352"/>
            <a:ext cx="3520440" cy="4663440"/>
          </a:xfrm>
        </p:spPr>
        <p:txBody>
          <a:bodyPr/>
          <a:lstStyle>
            <a:lvl1pPr>
              <a:defRPr sz="1800"/>
            </a:lvl1pPr>
            <a:lvl2pPr>
              <a:defRPr sz="1600"/>
            </a:lvl2pPr>
            <a:lvl3pPr>
              <a:defRPr sz="1400"/>
            </a:lvl3pPr>
            <a:lvl4pPr>
              <a:defRPr sz="1200"/>
            </a:lvl4pPr>
            <a:lvl5pPr>
              <a:defRPr/>
            </a:lvl5pPr>
          </a:lstStyle>
          <a:p>
            <a:pPr lvl="0"/>
            <a:r>
              <a:rPr lang="en-US"/>
              <a:t>First level, 18pt Regular</a:t>
            </a:r>
          </a:p>
          <a:p>
            <a:pPr lvl="1"/>
            <a:r>
              <a:rPr lang="en-US"/>
              <a:t>Second level, 16pt</a:t>
            </a:r>
          </a:p>
          <a:p>
            <a:pPr lvl="2"/>
            <a:r>
              <a:rPr lang="en-US"/>
              <a:t>Third level, 14pt</a:t>
            </a:r>
          </a:p>
          <a:p>
            <a:pPr lvl="3"/>
            <a:r>
              <a:rPr lang="en-US"/>
              <a:t>Fourth level, 12pt</a:t>
            </a:r>
          </a:p>
          <a:p>
            <a:pPr lvl="4"/>
            <a:r>
              <a:rPr lang="en-US"/>
              <a:t>Fifth level, 12pt Bold, use for captions</a:t>
            </a:r>
          </a:p>
        </p:txBody>
      </p:sp>
      <p:sp>
        <p:nvSpPr>
          <p:cNvPr id="4" name="Content Placeholder 3">
            <a:extLst>
              <a:ext uri="{FF2B5EF4-FFF2-40B4-BE49-F238E27FC236}">
                <a16:creationId xmlns:a16="http://schemas.microsoft.com/office/drawing/2014/main" id="{1582D711-78AA-40DF-9ED8-0A7123D2D990}"/>
              </a:ext>
            </a:extLst>
          </p:cNvPr>
          <p:cNvSpPr>
            <a:spLocks noGrp="1"/>
          </p:cNvSpPr>
          <p:nvPr>
            <p:ph sz="half" idx="2" hasCustomPrompt="1"/>
          </p:nvPr>
        </p:nvSpPr>
        <p:spPr>
          <a:xfrm>
            <a:off x="4334255" y="1673352"/>
            <a:ext cx="3520440" cy="4663440"/>
          </a:xfrm>
        </p:spPr>
        <p:txBody>
          <a:bodyPr/>
          <a:lstStyle>
            <a:lvl1pPr>
              <a:defRPr sz="1800"/>
            </a:lvl1pPr>
            <a:lvl2pPr>
              <a:defRPr sz="1600"/>
            </a:lvl2pPr>
            <a:lvl3pPr>
              <a:defRPr sz="1400"/>
            </a:lvl3pPr>
            <a:lvl4pPr>
              <a:defRPr sz="1200"/>
            </a:lvl4pPr>
            <a:lvl5pPr>
              <a:defRPr/>
            </a:lvl5pPr>
          </a:lstStyle>
          <a:p>
            <a:pPr lvl="0"/>
            <a:r>
              <a:rPr lang="en-US"/>
              <a:t>First level, 18pt Regular</a:t>
            </a:r>
          </a:p>
          <a:p>
            <a:pPr lvl="1"/>
            <a:r>
              <a:rPr lang="en-US"/>
              <a:t>Second level, 16pt</a:t>
            </a:r>
          </a:p>
          <a:p>
            <a:pPr lvl="2"/>
            <a:r>
              <a:rPr lang="en-US"/>
              <a:t>Third level, 14pt</a:t>
            </a:r>
          </a:p>
          <a:p>
            <a:pPr lvl="3"/>
            <a:r>
              <a:rPr lang="en-US"/>
              <a:t>Fourth level, 12pt</a:t>
            </a:r>
          </a:p>
          <a:p>
            <a:pPr lvl="4"/>
            <a:r>
              <a:rPr lang="en-US"/>
              <a:t>Fifth level, 12pt Bold, use for captions</a:t>
            </a:r>
          </a:p>
        </p:txBody>
      </p:sp>
      <p:sp>
        <p:nvSpPr>
          <p:cNvPr id="6" name="Footer Placeholder 5">
            <a:extLst>
              <a:ext uri="{FF2B5EF4-FFF2-40B4-BE49-F238E27FC236}">
                <a16:creationId xmlns:a16="http://schemas.microsoft.com/office/drawing/2014/main" id="{6666C29D-03F7-467C-85B3-28F7651F8315}"/>
              </a:ext>
            </a:extLst>
          </p:cNvPr>
          <p:cNvSpPr>
            <a:spLocks noGrp="1"/>
          </p:cNvSpPr>
          <p:nvPr>
            <p:ph type="ftr" sz="quarter" idx="11"/>
          </p:nvPr>
        </p:nvSpPr>
        <p:spPr/>
        <p:txBody>
          <a:bodyPr/>
          <a:lstStyle/>
          <a:p>
            <a:r>
              <a:rPr lang="en-US"/>
              <a:t>© 2024 Comcast. All rights reserved.</a:t>
            </a:r>
          </a:p>
        </p:txBody>
      </p:sp>
      <p:sp>
        <p:nvSpPr>
          <p:cNvPr id="7" name="Slide Number Placeholder 6">
            <a:extLst>
              <a:ext uri="{FF2B5EF4-FFF2-40B4-BE49-F238E27FC236}">
                <a16:creationId xmlns:a16="http://schemas.microsoft.com/office/drawing/2014/main" id="{51B86CBB-8A54-4818-8CC6-A9598ED3AFFA}"/>
              </a:ext>
            </a:extLst>
          </p:cNvPr>
          <p:cNvSpPr>
            <a:spLocks noGrp="1"/>
          </p:cNvSpPr>
          <p:nvPr>
            <p:ph type="sldNum" sz="quarter" idx="12"/>
          </p:nvPr>
        </p:nvSpPr>
        <p:spPr/>
        <p:txBody>
          <a:bodyPr/>
          <a:lstStyle/>
          <a:p>
            <a:fld id="{A07A7439-3E0E-4A6B-9524-3A8EBA819993}" type="slidenum">
              <a:rPr lang="en-US" smtClean="0"/>
              <a:t>‹#›</a:t>
            </a:fld>
            <a:endParaRPr lang="en-US"/>
          </a:p>
        </p:txBody>
      </p:sp>
      <p:sp>
        <p:nvSpPr>
          <p:cNvPr id="8" name="Content Placeholder 3">
            <a:extLst>
              <a:ext uri="{FF2B5EF4-FFF2-40B4-BE49-F238E27FC236}">
                <a16:creationId xmlns:a16="http://schemas.microsoft.com/office/drawing/2014/main" id="{AB7BE119-4BE0-4EFE-876C-84493FD13122}"/>
              </a:ext>
            </a:extLst>
          </p:cNvPr>
          <p:cNvSpPr>
            <a:spLocks noGrp="1"/>
          </p:cNvSpPr>
          <p:nvPr>
            <p:ph sz="half" idx="13" hasCustomPrompt="1"/>
          </p:nvPr>
        </p:nvSpPr>
        <p:spPr>
          <a:xfrm>
            <a:off x="8211310" y="1673352"/>
            <a:ext cx="3520440" cy="4663440"/>
          </a:xfrm>
        </p:spPr>
        <p:txBody>
          <a:bodyPr/>
          <a:lstStyle>
            <a:lvl1pPr>
              <a:defRPr sz="1800"/>
            </a:lvl1pPr>
            <a:lvl2pPr>
              <a:defRPr sz="1600"/>
            </a:lvl2pPr>
            <a:lvl3pPr>
              <a:defRPr sz="1400"/>
            </a:lvl3pPr>
            <a:lvl4pPr>
              <a:defRPr sz="1200"/>
            </a:lvl4pPr>
            <a:lvl5pPr>
              <a:defRPr/>
            </a:lvl5pPr>
          </a:lstStyle>
          <a:p>
            <a:pPr lvl="0"/>
            <a:r>
              <a:rPr lang="en-US"/>
              <a:t>First level, 18pt Regular</a:t>
            </a:r>
          </a:p>
          <a:p>
            <a:pPr lvl="1"/>
            <a:r>
              <a:rPr lang="en-US"/>
              <a:t>Second level, 16pt</a:t>
            </a:r>
          </a:p>
          <a:p>
            <a:pPr lvl="2"/>
            <a:r>
              <a:rPr lang="en-US"/>
              <a:t>Third level, 14pt</a:t>
            </a:r>
          </a:p>
          <a:p>
            <a:pPr lvl="3"/>
            <a:r>
              <a:rPr lang="en-US"/>
              <a:t>Fourth level, 12pt</a:t>
            </a:r>
          </a:p>
          <a:p>
            <a:pPr lvl="4"/>
            <a:r>
              <a:rPr lang="en-US"/>
              <a:t>Fifth level, 12pt Bold, use for captions</a:t>
            </a:r>
          </a:p>
        </p:txBody>
      </p:sp>
      <p:sp>
        <p:nvSpPr>
          <p:cNvPr id="9" name="Text Placeholder 8">
            <a:extLst>
              <a:ext uri="{FF2B5EF4-FFF2-40B4-BE49-F238E27FC236}">
                <a16:creationId xmlns:a16="http://schemas.microsoft.com/office/drawing/2014/main" id="{3956D059-1F18-4675-9285-602EC3522396}"/>
              </a:ext>
            </a:extLst>
          </p:cNvPr>
          <p:cNvSpPr>
            <a:spLocks noGrp="1"/>
          </p:cNvSpPr>
          <p:nvPr>
            <p:ph type="body" sz="quarter" idx="14" hasCustomPrompt="1"/>
          </p:nvPr>
        </p:nvSpPr>
        <p:spPr>
          <a:xfrm>
            <a:off x="457200" y="411480"/>
            <a:ext cx="6400800" cy="182880"/>
          </a:xfrm>
        </p:spPr>
        <p:txBody>
          <a:bodyPr/>
          <a:lstStyle>
            <a:lvl1pPr marL="0" indent="0">
              <a:buNone/>
              <a:defRPr sz="1200">
                <a:solidFill>
                  <a:schemeClr val="accent1"/>
                </a:solidFill>
              </a:defRPr>
            </a:lvl1pPr>
            <a:lvl2pPr marL="228600" indent="0">
              <a:buNone/>
              <a:defRPr/>
            </a:lvl2pPr>
          </a:lstStyle>
          <a:p>
            <a:pPr lvl="0"/>
            <a:r>
              <a:rPr lang="en-US"/>
              <a:t>Optional subtitle, 12pt Regular</a:t>
            </a:r>
          </a:p>
        </p:txBody>
      </p:sp>
    </p:spTree>
    <p:extLst>
      <p:ext uri="{BB962C8B-B14F-4D97-AF65-F5344CB8AC3E}">
        <p14:creationId xmlns:p14="http://schemas.microsoft.com/office/powerpoint/2010/main" val="313720491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675D6B-6706-686F-440B-250AB458B20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A23161A-B021-5FD5-6186-582CB322C5B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E55B452-9E7B-9302-11A7-115D88FD1B59}"/>
              </a:ext>
            </a:extLst>
          </p:cNvPr>
          <p:cNvSpPr>
            <a:spLocks noGrp="1"/>
          </p:cNvSpPr>
          <p:nvPr>
            <p:ph type="dt" sz="half" idx="10"/>
          </p:nvPr>
        </p:nvSpPr>
        <p:spPr/>
        <p:txBody>
          <a:bodyPr/>
          <a:lstStyle/>
          <a:p>
            <a:fld id="{D117096E-13AD-4F19-8E01-2CB60AD6E4CD}" type="datetimeFigureOut">
              <a:rPr lang="en-US" smtClean="0"/>
              <a:t>6/30/2024</a:t>
            </a:fld>
            <a:endParaRPr lang="en-US"/>
          </a:p>
        </p:txBody>
      </p:sp>
      <p:sp>
        <p:nvSpPr>
          <p:cNvPr id="5" name="Footer Placeholder 4">
            <a:extLst>
              <a:ext uri="{FF2B5EF4-FFF2-40B4-BE49-F238E27FC236}">
                <a16:creationId xmlns:a16="http://schemas.microsoft.com/office/drawing/2014/main" id="{6FCD7770-5ACF-BA62-FDF7-377E053D0FB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1BC76AD-0F58-42E0-0341-2C4391744A9B}"/>
              </a:ext>
            </a:extLst>
          </p:cNvPr>
          <p:cNvSpPr>
            <a:spLocks noGrp="1"/>
          </p:cNvSpPr>
          <p:nvPr>
            <p:ph type="sldNum" sz="quarter" idx="12"/>
          </p:nvPr>
        </p:nvSpPr>
        <p:spPr/>
        <p:txBody>
          <a:bodyPr/>
          <a:lstStyle/>
          <a:p>
            <a:fld id="{95EABA83-0918-4C9F-8334-962618530015}" type="slidenum">
              <a:rPr lang="en-US" smtClean="0"/>
              <a:t>‹#›</a:t>
            </a:fld>
            <a:endParaRPr lang="en-US"/>
          </a:p>
        </p:txBody>
      </p:sp>
    </p:spTree>
    <p:extLst>
      <p:ext uri="{BB962C8B-B14F-4D97-AF65-F5344CB8AC3E}">
        <p14:creationId xmlns:p14="http://schemas.microsoft.com/office/powerpoint/2010/main" val="378044170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ontent Slide - Full Width">
    <p:spTree>
      <p:nvGrpSpPr>
        <p:cNvPr id="1" name=""/>
        <p:cNvGrpSpPr/>
        <p:nvPr/>
      </p:nvGrpSpPr>
      <p:grpSpPr>
        <a:xfrm>
          <a:off x="0" y="0"/>
          <a:ext cx="0" cy="0"/>
          <a:chOff x="0" y="0"/>
          <a:chExt cx="0" cy="0"/>
        </a:xfrm>
      </p:grpSpPr>
      <p:sp>
        <p:nvSpPr>
          <p:cNvPr id="19" name="Text Placeholder 5">
            <a:extLst>
              <a:ext uri="{FF2B5EF4-FFF2-40B4-BE49-F238E27FC236}">
                <a16:creationId xmlns:a16="http://schemas.microsoft.com/office/drawing/2014/main" id="{3F686C8C-E081-5242-90B9-38796068D595}"/>
              </a:ext>
            </a:extLst>
          </p:cNvPr>
          <p:cNvSpPr>
            <a:spLocks noGrp="1"/>
          </p:cNvSpPr>
          <p:nvPr>
            <p:ph type="body" sz="quarter" idx="26"/>
          </p:nvPr>
        </p:nvSpPr>
        <p:spPr>
          <a:xfrm>
            <a:off x="463550" y="1097280"/>
            <a:ext cx="11271250" cy="4872162"/>
          </a:xfrm>
          <a:prstGeom prst="rect">
            <a:avLst/>
          </a:prstGeom>
        </p:spPr>
        <p:txBody>
          <a:bodyPr lIns="0" tIns="0" rIns="0" bIns="0"/>
          <a:lstStyle>
            <a:lvl1pPr marL="0" indent="0" algn="l">
              <a:buNone/>
              <a:defRPr sz="1800" b="0" i="0">
                <a:latin typeface="Montserrat Light" pitchFamily="2" charset="77"/>
                <a:cs typeface="Montserrat Light" pitchFamily="2" charset="77"/>
              </a:defRPr>
            </a:lvl1pPr>
            <a:lvl2pPr marL="174625" indent="-174625" algn="l">
              <a:spcBef>
                <a:spcPts val="1200"/>
              </a:spcBef>
              <a:buFont typeface="Arial" panose="020B0604020202020204" pitchFamily="34" charset="0"/>
              <a:buChar char="•"/>
              <a:tabLst/>
              <a:defRPr sz="1800" b="0" i="0">
                <a:latin typeface="Montserrat Light" pitchFamily="2" charset="77"/>
                <a:cs typeface="Montserrat Light" pitchFamily="2" charset="77"/>
              </a:defRPr>
            </a:lvl2pPr>
            <a:lvl3pPr marL="560070" indent="-285750" algn="l">
              <a:spcBef>
                <a:spcPts val="1200"/>
              </a:spcBef>
              <a:buFont typeface="Montserrat" panose="00000500000000000000" pitchFamily="2" charset="0"/>
              <a:buChar char="–"/>
              <a:defRPr sz="1800" b="0" i="0">
                <a:latin typeface="Montserrat Light" pitchFamily="2" charset="77"/>
                <a:cs typeface="Montserrat Light" pitchFamily="2" charset="77"/>
              </a:defRPr>
            </a:lvl3pPr>
            <a:lvl4pPr marL="834390" indent="-285750" algn="l">
              <a:spcBef>
                <a:spcPts val="1200"/>
              </a:spcBef>
              <a:buFont typeface="Courier New" panose="02070309020205020404" pitchFamily="49" charset="0"/>
              <a:buChar char="o"/>
              <a:defRPr sz="1600" b="0" i="0">
                <a:latin typeface="Montserrat Light" pitchFamily="2" charset="77"/>
                <a:cs typeface="Montserrat Light" pitchFamily="2" charset="77"/>
              </a:defRPr>
            </a:lvl4pPr>
            <a:lvl5pPr marL="1108710" indent="-285750" algn="l">
              <a:defRPr lang="en-US" sz="1400" b="0" i="0" u="none" strike="noStrike" cap="none" spc="0" baseline="0" dirty="0">
                <a:solidFill>
                  <a:srgbClr val="000000"/>
                </a:solidFill>
                <a:uFillTx/>
                <a:latin typeface="Montserrat Light" pitchFamily="2" charset="77"/>
                <a:ea typeface="Montserrat" panose="00000500000000000000" pitchFamily="2" charset="0"/>
                <a:cs typeface="Montserrat Light" pitchFamily="2" charset="77"/>
                <a:sym typeface="Montserrat"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a:extLst>
              <a:ext uri="{FF2B5EF4-FFF2-40B4-BE49-F238E27FC236}">
                <a16:creationId xmlns:a16="http://schemas.microsoft.com/office/drawing/2014/main" id="{F21AE09E-697C-FC45-9E96-2E45E76886AB}"/>
              </a:ext>
            </a:extLst>
          </p:cNvPr>
          <p:cNvSpPr>
            <a:spLocks noGrp="1"/>
          </p:cNvSpPr>
          <p:nvPr>
            <p:ph type="title"/>
          </p:nvPr>
        </p:nvSpPr>
        <p:spPr>
          <a:xfrm>
            <a:off x="463548" y="514928"/>
            <a:ext cx="11271251" cy="365760"/>
          </a:xfrm>
          <a:prstGeom prst="rect">
            <a:avLst/>
          </a:prstGeom>
        </p:spPr>
        <p:txBody>
          <a:bodyPr lIns="0" tIns="0" rIns="0" bIns="0" anchor="t"/>
          <a:lstStyle>
            <a:lvl1pPr marL="0" marR="0" indent="0" algn="l" defTabSz="412750" rtl="0" latinLnBrk="0">
              <a:lnSpc>
                <a:spcPct val="100000"/>
              </a:lnSpc>
              <a:spcBef>
                <a:spcPts val="0"/>
              </a:spcBef>
              <a:spcAft>
                <a:spcPts val="0"/>
              </a:spcAft>
              <a:buClrTx/>
              <a:buSzTx/>
              <a:buFontTx/>
              <a:buNone/>
              <a:tabLst/>
              <a:defRPr lang="en-US" sz="2200" b="1" i="0" u="none" strike="noStrike" cap="none" spc="0" baseline="0" dirty="0" smtClean="0">
                <a:solidFill>
                  <a:srgbClr val="000000"/>
                </a:solidFill>
                <a:uFillTx/>
                <a:latin typeface="Montserrat" panose="00000500000000000000" pitchFamily="2" charset="0"/>
                <a:ea typeface="Montserrat" panose="00000500000000000000" pitchFamily="2" charset="0"/>
                <a:cs typeface="Montserrat" panose="00000500000000000000" pitchFamily="2" charset="0"/>
                <a:sym typeface="Montserrat" panose="00000500000000000000" pitchFamily="2" charset="0"/>
              </a:defRPr>
            </a:lvl1pPr>
          </a:lstStyle>
          <a:p>
            <a:r>
              <a:rPr lang="en-US"/>
              <a:t>Click to edit Master title style</a:t>
            </a:r>
          </a:p>
        </p:txBody>
      </p:sp>
      <p:sp>
        <p:nvSpPr>
          <p:cNvPr id="10" name="Text Placeholder 2">
            <a:extLst>
              <a:ext uri="{FF2B5EF4-FFF2-40B4-BE49-F238E27FC236}">
                <a16:creationId xmlns:a16="http://schemas.microsoft.com/office/drawing/2014/main" id="{E4AEF971-9BCB-1E42-9E22-F8D1F1044C95}"/>
              </a:ext>
            </a:extLst>
          </p:cNvPr>
          <p:cNvSpPr>
            <a:spLocks noGrp="1"/>
          </p:cNvSpPr>
          <p:nvPr>
            <p:ph type="body" sz="quarter" idx="25" hasCustomPrompt="1"/>
          </p:nvPr>
        </p:nvSpPr>
        <p:spPr>
          <a:xfrm>
            <a:off x="463548" y="255612"/>
            <a:ext cx="11271251" cy="201168"/>
          </a:xfrm>
          <a:prstGeom prst="rect">
            <a:avLst/>
          </a:prstGeom>
        </p:spPr>
        <p:txBody>
          <a:bodyPr lIns="0" tIns="0" rIns="0" bIns="0" anchor="ctr"/>
          <a:lstStyle>
            <a:lvl1pPr marL="0" indent="0" algn="l">
              <a:buNone/>
              <a:defRPr lang="en-US" sz="1000" b="0" i="0" cap="all" spc="200" baseline="0" dirty="0">
                <a:solidFill>
                  <a:schemeClr val="accent1"/>
                </a:solidFill>
                <a:latin typeface="Montserrat" panose="00000500000000000000" pitchFamily="2" charset="0"/>
                <a:ea typeface="Montserrat" panose="00000500000000000000" pitchFamily="2" charset="0"/>
                <a:cs typeface="Montserrat" panose="00000500000000000000" pitchFamily="2" charset="0"/>
              </a:defRPr>
            </a:lvl1pPr>
          </a:lstStyle>
          <a:p>
            <a:pPr lvl="0" algn="l"/>
            <a:r>
              <a:rPr lang="en-US"/>
              <a:t>OPTIONAL BREADCRUMB HERE</a:t>
            </a:r>
          </a:p>
        </p:txBody>
      </p:sp>
      <p:sp>
        <p:nvSpPr>
          <p:cNvPr id="8" name="Slide Number Placeholder 5">
            <a:extLst>
              <a:ext uri="{FF2B5EF4-FFF2-40B4-BE49-F238E27FC236}">
                <a16:creationId xmlns:a16="http://schemas.microsoft.com/office/drawing/2014/main" id="{3DB84E04-7731-345F-77EA-3F29E135A0BC}"/>
              </a:ext>
            </a:extLst>
          </p:cNvPr>
          <p:cNvSpPr txBox="1">
            <a:spLocks/>
          </p:cNvSpPr>
          <p:nvPr userDrawn="1"/>
        </p:nvSpPr>
        <p:spPr>
          <a:xfrm>
            <a:off x="11341100" y="6424613"/>
            <a:ext cx="393700" cy="200025"/>
          </a:xfrm>
          <a:prstGeom prst="rect">
            <a:avLst/>
          </a:prstGeom>
        </p:spPr>
        <p:txBody>
          <a:bodyPr vert="horz" lIns="0" tIns="0" rIns="0" bIns="0" rtlCol="0" anchor="ctr">
            <a:noAutofit/>
          </a:bodyPr>
          <a:lstStyle>
            <a:defPPr>
              <a:defRPr lang="en-US"/>
            </a:defPPr>
            <a:lvl1pPr algn="r" rtl="0" eaLnBrk="1" fontAlgn="auto" hangingPunct="1">
              <a:spcBef>
                <a:spcPts val="0"/>
              </a:spcBef>
              <a:spcAft>
                <a:spcPts val="0"/>
              </a:spcAft>
              <a:defRPr sz="800" kern="1200">
                <a:solidFill>
                  <a:schemeClr val="tx2"/>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fld id="{5F05AE8C-CF5F-4A4E-B69B-C9D8FA4EC18A}" type="slidenum">
              <a:rPr lang="en-US" smtClean="0">
                <a:solidFill>
                  <a:srgbClr val="112F64"/>
                </a:solidFill>
                <a:latin typeface="Montserrat" panose="00000500000000000000" pitchFamily="2" charset="0"/>
              </a:rPr>
              <a:pPr>
                <a:defRPr/>
              </a:pPr>
              <a:t>‹#›</a:t>
            </a:fld>
            <a:endParaRPr lang="en-US">
              <a:solidFill>
                <a:srgbClr val="112F64"/>
              </a:solidFill>
              <a:latin typeface="Montserrat" panose="00000500000000000000" pitchFamily="2" charset="0"/>
            </a:endParaRPr>
          </a:p>
        </p:txBody>
      </p:sp>
      <p:sp>
        <p:nvSpPr>
          <p:cNvPr id="11" name="Footer Placeholder 4">
            <a:extLst>
              <a:ext uri="{FF2B5EF4-FFF2-40B4-BE49-F238E27FC236}">
                <a16:creationId xmlns:a16="http://schemas.microsoft.com/office/drawing/2014/main" id="{75064991-9187-8694-627F-2FECE8244915}"/>
              </a:ext>
            </a:extLst>
          </p:cNvPr>
          <p:cNvSpPr txBox="1">
            <a:spLocks/>
          </p:cNvSpPr>
          <p:nvPr userDrawn="1"/>
        </p:nvSpPr>
        <p:spPr>
          <a:xfrm>
            <a:off x="463550" y="6427788"/>
            <a:ext cx="4114800" cy="198437"/>
          </a:xfrm>
          <a:prstGeom prst="rect">
            <a:avLst/>
          </a:prstGeom>
        </p:spPr>
        <p:txBody>
          <a:bodyPr vert="horz" lIns="0" tIns="0" rIns="0" bIns="0" rtlCol="0" anchor="ctr">
            <a:noAutofit/>
          </a:bodyPr>
          <a:lstStyle>
            <a:defPPr>
              <a:defRPr lang="en-US"/>
            </a:defPPr>
            <a:lvl1pPr algn="l" rtl="0" eaLnBrk="1" fontAlgn="auto" hangingPunct="1">
              <a:spcBef>
                <a:spcPts val="0"/>
              </a:spcBef>
              <a:spcAft>
                <a:spcPts val="0"/>
              </a:spcAft>
              <a:defRPr sz="800" kern="1200">
                <a:solidFill>
                  <a:schemeClr val="tx1"/>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r>
              <a:rPr lang="en-US">
                <a:solidFill>
                  <a:srgbClr val="000000"/>
                </a:solidFill>
                <a:latin typeface="Montserrat" panose="00000500000000000000" pitchFamily="2" charset="0"/>
              </a:rPr>
              <a:t>© 2024 Comcast. All rights reserved.</a:t>
            </a:r>
          </a:p>
        </p:txBody>
      </p:sp>
    </p:spTree>
    <p:extLst>
      <p:ext uri="{BB962C8B-B14F-4D97-AF65-F5344CB8AC3E}">
        <p14:creationId xmlns:p14="http://schemas.microsoft.com/office/powerpoint/2010/main" val="4094158746"/>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432">
          <p15:clr>
            <a:srgbClr val="FBAE40"/>
          </p15:clr>
        </p15:guide>
        <p15:guide id="3" pos="7248">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01715D-BBCC-4185-A6D8-5FD229113338}"/>
              </a:ext>
            </a:extLst>
          </p:cNvPr>
          <p:cNvSpPr>
            <a:spLocks noGrp="1"/>
          </p:cNvSpPr>
          <p:nvPr>
            <p:ph type="ctrTitle" hasCustomPrompt="1"/>
          </p:nvPr>
        </p:nvSpPr>
        <p:spPr>
          <a:xfrm>
            <a:off x="374092" y="685800"/>
            <a:ext cx="8460345" cy="2880360"/>
          </a:xfrm>
        </p:spPr>
        <p:txBody>
          <a:bodyPr lIns="0" tIns="0" rIns="0" bIns="0" anchor="b">
            <a:noAutofit/>
          </a:bodyPr>
          <a:lstStyle>
            <a:lvl1pPr algn="l">
              <a:lnSpc>
                <a:spcPct val="85000"/>
              </a:lnSpc>
              <a:defRPr sz="6000">
                <a:solidFill>
                  <a:schemeClr val="tx1"/>
                </a:solidFill>
              </a:defRPr>
            </a:lvl1pPr>
          </a:lstStyle>
          <a:p>
            <a:r>
              <a:rPr lang="en-GB"/>
              <a:t>Presentation title, 60pt Regular, max 3 lines</a:t>
            </a:r>
          </a:p>
        </p:txBody>
      </p:sp>
      <p:sp>
        <p:nvSpPr>
          <p:cNvPr id="3" name="Subtitle 2">
            <a:extLst>
              <a:ext uri="{FF2B5EF4-FFF2-40B4-BE49-F238E27FC236}">
                <a16:creationId xmlns:a16="http://schemas.microsoft.com/office/drawing/2014/main" id="{9ED5964E-2594-47EA-A0C0-745BE90F64D3}"/>
              </a:ext>
            </a:extLst>
          </p:cNvPr>
          <p:cNvSpPr>
            <a:spLocks noGrp="1"/>
          </p:cNvSpPr>
          <p:nvPr>
            <p:ph type="subTitle" idx="1" hasCustomPrompt="1"/>
          </p:nvPr>
        </p:nvSpPr>
        <p:spPr>
          <a:xfrm>
            <a:off x="429332" y="3814757"/>
            <a:ext cx="8405106" cy="641350"/>
          </a:xfrm>
        </p:spPr>
        <p:txBody>
          <a:bodyPr lIns="0" tIns="0" rIns="0" bIns="0">
            <a:noAutofit/>
          </a:bodyPr>
          <a:lstStyle>
            <a:lvl1pPr marL="0" indent="0" algn="l">
              <a:buNone/>
              <a:defRPr sz="2400">
                <a:solidFill>
                  <a:schemeClr val="accent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Place subtitle here, 24pt Regular</a:t>
            </a:r>
          </a:p>
        </p:txBody>
      </p:sp>
      <p:sp>
        <p:nvSpPr>
          <p:cNvPr id="4" name="Date Placeholder 3">
            <a:extLst>
              <a:ext uri="{FF2B5EF4-FFF2-40B4-BE49-F238E27FC236}">
                <a16:creationId xmlns:a16="http://schemas.microsoft.com/office/drawing/2014/main" id="{C7CCBB25-72E7-413F-B042-04DB03FC404C}"/>
              </a:ext>
            </a:extLst>
          </p:cNvPr>
          <p:cNvSpPr>
            <a:spLocks noGrp="1"/>
          </p:cNvSpPr>
          <p:nvPr>
            <p:ph type="dt" sz="half" idx="10"/>
          </p:nvPr>
        </p:nvSpPr>
        <p:spPr>
          <a:xfrm>
            <a:off x="457200" y="6112303"/>
            <a:ext cx="4114799" cy="274320"/>
          </a:xfrm>
        </p:spPr>
        <p:txBody>
          <a:bodyPr lIns="0" tIns="0" rIns="0" bIns="0">
            <a:noAutofit/>
          </a:bodyPr>
          <a:lstStyle>
            <a:lvl1pPr>
              <a:defRPr sz="1400">
                <a:solidFill>
                  <a:schemeClr val="accent1"/>
                </a:solidFill>
              </a:defRPr>
            </a:lvl1pPr>
          </a:lstStyle>
          <a:p>
            <a:endParaRPr lang="en-US"/>
          </a:p>
        </p:txBody>
      </p:sp>
      <p:grpSp>
        <p:nvGrpSpPr>
          <p:cNvPr id="11" name="Group 4">
            <a:extLst>
              <a:ext uri="{FF2B5EF4-FFF2-40B4-BE49-F238E27FC236}">
                <a16:creationId xmlns:a16="http://schemas.microsoft.com/office/drawing/2014/main" id="{7E0F26E8-A786-402B-B35F-EA817C4E12A7}"/>
              </a:ext>
            </a:extLst>
          </p:cNvPr>
          <p:cNvGrpSpPr>
            <a:grpSpLocks noChangeAspect="1"/>
          </p:cNvGrpSpPr>
          <p:nvPr userDrawn="1"/>
        </p:nvGrpSpPr>
        <p:grpSpPr bwMode="auto">
          <a:xfrm>
            <a:off x="10149840" y="5518737"/>
            <a:ext cx="1581912" cy="804798"/>
            <a:chOff x="1436" y="934"/>
            <a:chExt cx="4800" cy="2442"/>
          </a:xfrm>
        </p:grpSpPr>
        <p:sp>
          <p:nvSpPr>
            <p:cNvPr id="12" name="Freeform 5">
              <a:extLst>
                <a:ext uri="{FF2B5EF4-FFF2-40B4-BE49-F238E27FC236}">
                  <a16:creationId xmlns:a16="http://schemas.microsoft.com/office/drawing/2014/main" id="{6F88CA11-1D6A-48C7-945B-2D460DBEB0C6}"/>
                </a:ext>
              </a:extLst>
            </p:cNvPr>
            <p:cNvSpPr>
              <a:spLocks noEditPoints="1"/>
            </p:cNvSpPr>
            <p:nvPr userDrawn="1"/>
          </p:nvSpPr>
          <p:spPr bwMode="auto">
            <a:xfrm>
              <a:off x="1436" y="934"/>
              <a:ext cx="4794" cy="2442"/>
            </a:xfrm>
            <a:custGeom>
              <a:avLst/>
              <a:gdLst>
                <a:gd name="T0" fmla="*/ 9572 w 9986"/>
                <a:gd name="T1" fmla="*/ 153 h 5085"/>
                <a:gd name="T2" fmla="*/ 6835 w 9986"/>
                <a:gd name="T3" fmla="*/ 925 h 5085"/>
                <a:gd name="T4" fmla="*/ 6895 w 9986"/>
                <a:gd name="T5" fmla="*/ 780 h 5085"/>
                <a:gd name="T6" fmla="*/ 3251 w 9986"/>
                <a:gd name="T7" fmla="*/ 1478 h 5085"/>
                <a:gd name="T8" fmla="*/ 4555 w 9986"/>
                <a:gd name="T9" fmla="*/ 55 h 5085"/>
                <a:gd name="T10" fmla="*/ 5001 w 9986"/>
                <a:gd name="T11" fmla="*/ 740 h 5085"/>
                <a:gd name="T12" fmla="*/ 1260 w 9986"/>
                <a:gd name="T13" fmla="*/ 320 h 5085"/>
                <a:gd name="T14" fmla="*/ 738 w 9986"/>
                <a:gd name="T15" fmla="*/ 1331 h 5085"/>
                <a:gd name="T16" fmla="*/ 8772 w 9986"/>
                <a:gd name="T17" fmla="*/ 158 h 5085"/>
                <a:gd name="T18" fmla="*/ 8053 w 9986"/>
                <a:gd name="T19" fmla="*/ 1163 h 5085"/>
                <a:gd name="T20" fmla="*/ 2988 w 9986"/>
                <a:gd name="T21" fmla="*/ 740 h 5085"/>
                <a:gd name="T22" fmla="*/ 9814 w 9986"/>
                <a:gd name="T23" fmla="*/ 4415 h 5085"/>
                <a:gd name="T24" fmla="*/ 9918 w 9986"/>
                <a:gd name="T25" fmla="*/ 4246 h 5085"/>
                <a:gd name="T26" fmla="*/ 9562 w 9986"/>
                <a:gd name="T27" fmla="*/ 4273 h 5085"/>
                <a:gd name="T28" fmla="*/ 9408 w 9986"/>
                <a:gd name="T29" fmla="*/ 4780 h 5085"/>
                <a:gd name="T30" fmla="*/ 9380 w 9986"/>
                <a:gd name="T31" fmla="*/ 4447 h 5085"/>
                <a:gd name="T32" fmla="*/ 9389 w 9986"/>
                <a:gd name="T33" fmla="*/ 4671 h 5085"/>
                <a:gd name="T34" fmla="*/ 8917 w 9986"/>
                <a:gd name="T35" fmla="*/ 4533 h 5085"/>
                <a:gd name="T36" fmla="*/ 9001 w 9986"/>
                <a:gd name="T37" fmla="*/ 4836 h 5085"/>
                <a:gd name="T38" fmla="*/ 8919 w 9986"/>
                <a:gd name="T39" fmla="*/ 4466 h 5085"/>
                <a:gd name="T40" fmla="*/ 8387 w 9986"/>
                <a:gd name="T41" fmla="*/ 4323 h 5085"/>
                <a:gd name="T42" fmla="*/ 8282 w 9986"/>
                <a:gd name="T43" fmla="*/ 4879 h 5085"/>
                <a:gd name="T44" fmla="*/ 8045 w 9986"/>
                <a:gd name="T45" fmla="*/ 4336 h 5085"/>
                <a:gd name="T46" fmla="*/ 8228 w 9986"/>
                <a:gd name="T47" fmla="*/ 4852 h 5085"/>
                <a:gd name="T48" fmla="*/ 7788 w 9986"/>
                <a:gd name="T49" fmla="*/ 4291 h 5085"/>
                <a:gd name="T50" fmla="*/ 7635 w 9986"/>
                <a:gd name="T51" fmla="*/ 4246 h 5085"/>
                <a:gd name="T52" fmla="*/ 7339 w 9986"/>
                <a:gd name="T53" fmla="*/ 4323 h 5085"/>
                <a:gd name="T54" fmla="*/ 7070 w 9986"/>
                <a:gd name="T55" fmla="*/ 4833 h 5085"/>
                <a:gd name="T56" fmla="*/ 6828 w 9986"/>
                <a:gd name="T57" fmla="*/ 4769 h 5085"/>
                <a:gd name="T58" fmla="*/ 6985 w 9986"/>
                <a:gd name="T59" fmla="*/ 4912 h 5085"/>
                <a:gd name="T60" fmla="*/ 6985 w 9986"/>
                <a:gd name="T61" fmla="*/ 4435 h 5085"/>
                <a:gd name="T62" fmla="*/ 6510 w 9986"/>
                <a:gd name="T63" fmla="*/ 4260 h 5085"/>
                <a:gd name="T64" fmla="*/ 6046 w 9986"/>
                <a:gd name="T65" fmla="*/ 4804 h 5085"/>
                <a:gd name="T66" fmla="*/ 6059 w 9986"/>
                <a:gd name="T67" fmla="*/ 4643 h 5085"/>
                <a:gd name="T68" fmla="*/ 6098 w 9986"/>
                <a:gd name="T69" fmla="*/ 4567 h 5085"/>
                <a:gd name="T70" fmla="*/ 6099 w 9986"/>
                <a:gd name="T71" fmla="*/ 4896 h 5085"/>
                <a:gd name="T72" fmla="*/ 5833 w 9986"/>
                <a:gd name="T73" fmla="*/ 4717 h 5085"/>
                <a:gd name="T74" fmla="*/ 5913 w 9986"/>
                <a:gd name="T75" fmla="*/ 4530 h 5085"/>
                <a:gd name="T76" fmla="*/ 5956 w 9986"/>
                <a:gd name="T77" fmla="*/ 4779 h 5085"/>
                <a:gd name="T78" fmla="*/ 5277 w 9986"/>
                <a:gd name="T79" fmla="*/ 4491 h 5085"/>
                <a:gd name="T80" fmla="*/ 5069 w 9986"/>
                <a:gd name="T81" fmla="*/ 4796 h 5085"/>
                <a:gd name="T82" fmla="*/ 5399 w 9986"/>
                <a:gd name="T83" fmla="*/ 4882 h 5085"/>
                <a:gd name="T84" fmla="*/ 4727 w 9986"/>
                <a:gd name="T85" fmla="*/ 4653 h 5085"/>
                <a:gd name="T86" fmla="*/ 4495 w 9986"/>
                <a:gd name="T87" fmla="*/ 4284 h 5085"/>
                <a:gd name="T88" fmla="*/ 3755 w 9986"/>
                <a:gd name="T89" fmla="*/ 4512 h 5085"/>
                <a:gd name="T90" fmla="*/ 4028 w 9986"/>
                <a:gd name="T91" fmla="*/ 5028 h 5085"/>
                <a:gd name="T92" fmla="*/ 4023 w 9986"/>
                <a:gd name="T93" fmla="*/ 4799 h 5085"/>
                <a:gd name="T94" fmla="*/ 3948 w 9986"/>
                <a:gd name="T95" fmla="*/ 4459 h 5085"/>
                <a:gd name="T96" fmla="*/ 3405 w 9986"/>
                <a:gd name="T97" fmla="*/ 4531 h 5085"/>
                <a:gd name="T98" fmla="*/ 3205 w 9986"/>
                <a:gd name="T99" fmla="*/ 4459 h 5085"/>
                <a:gd name="T100" fmla="*/ 2844 w 9986"/>
                <a:gd name="T101" fmla="*/ 4291 h 5085"/>
                <a:gd name="T102" fmla="*/ 2753 w 9986"/>
                <a:gd name="T103" fmla="*/ 4435 h 5085"/>
                <a:gd name="T104" fmla="*/ 2577 w 9986"/>
                <a:gd name="T105" fmla="*/ 4531 h 5085"/>
                <a:gd name="T106" fmla="*/ 2001 w 9986"/>
                <a:gd name="T107" fmla="*/ 4693 h 5085"/>
                <a:gd name="T108" fmla="*/ 1969 w 9986"/>
                <a:gd name="T109" fmla="*/ 4796 h 5085"/>
                <a:gd name="T110" fmla="*/ 1912 w 9986"/>
                <a:gd name="T111" fmla="*/ 4439 h 5085"/>
                <a:gd name="T112" fmla="*/ 1500 w 9986"/>
                <a:gd name="T113" fmla="*/ 4439 h 5085"/>
                <a:gd name="T114" fmla="*/ 965 w 9986"/>
                <a:gd name="T115" fmla="*/ 4513 h 5085"/>
                <a:gd name="T116" fmla="*/ 753 w 9986"/>
                <a:gd name="T117" fmla="*/ 4882 h 5085"/>
                <a:gd name="T118" fmla="*/ 1083 w 9986"/>
                <a:gd name="T119" fmla="*/ 4796 h 5085"/>
                <a:gd name="T120" fmla="*/ 159 w 9986"/>
                <a:gd name="T121" fmla="*/ 4653 h 5085"/>
                <a:gd name="T122" fmla="*/ 93 w 9986"/>
                <a:gd name="T123" fmla="*/ 4908 h 5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986" h="5085">
                  <a:moveTo>
                    <a:pt x="9986" y="81"/>
                  </a:moveTo>
                  <a:cubicBezTo>
                    <a:pt x="9986" y="41"/>
                    <a:pt x="9953" y="8"/>
                    <a:pt x="9913" y="8"/>
                  </a:cubicBezTo>
                  <a:lnTo>
                    <a:pt x="9093" y="8"/>
                  </a:lnTo>
                  <a:cubicBezTo>
                    <a:pt x="9053" y="8"/>
                    <a:pt x="9020" y="40"/>
                    <a:pt x="9020" y="81"/>
                  </a:cubicBezTo>
                  <a:cubicBezTo>
                    <a:pt x="9020" y="121"/>
                    <a:pt x="9051" y="153"/>
                    <a:pt x="9093" y="153"/>
                  </a:cubicBezTo>
                  <a:lnTo>
                    <a:pt x="9438" y="153"/>
                  </a:lnTo>
                  <a:lnTo>
                    <a:pt x="9438" y="1468"/>
                  </a:lnTo>
                  <a:lnTo>
                    <a:pt x="9572" y="1468"/>
                  </a:lnTo>
                  <a:lnTo>
                    <a:pt x="9572" y="153"/>
                  </a:lnTo>
                  <a:lnTo>
                    <a:pt x="9915" y="153"/>
                  </a:lnTo>
                  <a:cubicBezTo>
                    <a:pt x="9955" y="155"/>
                    <a:pt x="9986" y="121"/>
                    <a:pt x="9986" y="81"/>
                  </a:cubicBezTo>
                  <a:close/>
                  <a:moveTo>
                    <a:pt x="7113" y="1"/>
                  </a:moveTo>
                  <a:cubicBezTo>
                    <a:pt x="7085" y="1"/>
                    <a:pt x="7065" y="20"/>
                    <a:pt x="7051" y="43"/>
                  </a:cubicBezTo>
                  <a:cubicBezTo>
                    <a:pt x="7040" y="66"/>
                    <a:pt x="6505" y="1386"/>
                    <a:pt x="6505" y="1386"/>
                  </a:cubicBezTo>
                  <a:cubicBezTo>
                    <a:pt x="6501" y="1395"/>
                    <a:pt x="6500" y="1403"/>
                    <a:pt x="6500" y="1411"/>
                  </a:cubicBezTo>
                  <a:cubicBezTo>
                    <a:pt x="6500" y="1448"/>
                    <a:pt x="6528" y="1476"/>
                    <a:pt x="6565" y="1476"/>
                  </a:cubicBezTo>
                  <a:cubicBezTo>
                    <a:pt x="6593" y="1476"/>
                    <a:pt x="6617" y="1460"/>
                    <a:pt x="6626" y="1435"/>
                  </a:cubicBezTo>
                  <a:lnTo>
                    <a:pt x="6835" y="925"/>
                  </a:lnTo>
                  <a:lnTo>
                    <a:pt x="7393" y="925"/>
                  </a:lnTo>
                  <a:lnTo>
                    <a:pt x="7615" y="1468"/>
                  </a:lnTo>
                  <a:lnTo>
                    <a:pt x="7756" y="1468"/>
                  </a:lnTo>
                  <a:cubicBezTo>
                    <a:pt x="7756" y="1468"/>
                    <a:pt x="7188" y="65"/>
                    <a:pt x="7176" y="41"/>
                  </a:cubicBezTo>
                  <a:cubicBezTo>
                    <a:pt x="7163" y="20"/>
                    <a:pt x="7142" y="1"/>
                    <a:pt x="7113" y="1"/>
                  </a:cubicBezTo>
                  <a:moveTo>
                    <a:pt x="6895" y="780"/>
                  </a:moveTo>
                  <a:lnTo>
                    <a:pt x="7115" y="240"/>
                  </a:lnTo>
                  <a:lnTo>
                    <a:pt x="7335" y="780"/>
                  </a:lnTo>
                  <a:lnTo>
                    <a:pt x="6895" y="780"/>
                  </a:lnTo>
                  <a:close/>
                  <a:moveTo>
                    <a:pt x="4490" y="1"/>
                  </a:moveTo>
                  <a:cubicBezTo>
                    <a:pt x="4463" y="1"/>
                    <a:pt x="4441" y="20"/>
                    <a:pt x="4430" y="41"/>
                  </a:cubicBezTo>
                  <a:cubicBezTo>
                    <a:pt x="4418" y="65"/>
                    <a:pt x="3995" y="1108"/>
                    <a:pt x="3995" y="1108"/>
                  </a:cubicBezTo>
                  <a:cubicBezTo>
                    <a:pt x="3995" y="1108"/>
                    <a:pt x="3572" y="63"/>
                    <a:pt x="3560" y="41"/>
                  </a:cubicBezTo>
                  <a:cubicBezTo>
                    <a:pt x="3548" y="18"/>
                    <a:pt x="3526" y="1"/>
                    <a:pt x="3500" y="1"/>
                  </a:cubicBezTo>
                  <a:cubicBezTo>
                    <a:pt x="3468" y="1"/>
                    <a:pt x="3443" y="25"/>
                    <a:pt x="3435" y="55"/>
                  </a:cubicBezTo>
                  <a:cubicBezTo>
                    <a:pt x="3426" y="85"/>
                    <a:pt x="3188" y="1400"/>
                    <a:pt x="3188" y="1400"/>
                  </a:cubicBezTo>
                  <a:cubicBezTo>
                    <a:pt x="3188" y="1405"/>
                    <a:pt x="3186" y="1408"/>
                    <a:pt x="3186" y="1413"/>
                  </a:cubicBezTo>
                  <a:cubicBezTo>
                    <a:pt x="3186" y="1450"/>
                    <a:pt x="3216" y="1478"/>
                    <a:pt x="3251" y="1478"/>
                  </a:cubicBezTo>
                  <a:cubicBezTo>
                    <a:pt x="3283" y="1478"/>
                    <a:pt x="3310" y="1455"/>
                    <a:pt x="3316" y="1425"/>
                  </a:cubicBezTo>
                  <a:lnTo>
                    <a:pt x="3523" y="300"/>
                  </a:lnTo>
                  <a:cubicBezTo>
                    <a:pt x="3523" y="300"/>
                    <a:pt x="3921" y="1283"/>
                    <a:pt x="3933" y="1306"/>
                  </a:cubicBezTo>
                  <a:cubicBezTo>
                    <a:pt x="3945" y="1330"/>
                    <a:pt x="3966" y="1348"/>
                    <a:pt x="3995" y="1348"/>
                  </a:cubicBezTo>
                  <a:cubicBezTo>
                    <a:pt x="4022" y="1348"/>
                    <a:pt x="4045" y="1330"/>
                    <a:pt x="4056" y="1306"/>
                  </a:cubicBezTo>
                  <a:cubicBezTo>
                    <a:pt x="4068" y="1283"/>
                    <a:pt x="4466" y="300"/>
                    <a:pt x="4466" y="300"/>
                  </a:cubicBezTo>
                  <a:lnTo>
                    <a:pt x="4681" y="1470"/>
                  </a:lnTo>
                  <a:lnTo>
                    <a:pt x="4815" y="1470"/>
                  </a:lnTo>
                  <a:cubicBezTo>
                    <a:pt x="4815" y="1470"/>
                    <a:pt x="4563" y="85"/>
                    <a:pt x="4555" y="55"/>
                  </a:cubicBezTo>
                  <a:cubicBezTo>
                    <a:pt x="4545" y="25"/>
                    <a:pt x="4522" y="1"/>
                    <a:pt x="4490" y="1"/>
                  </a:cubicBezTo>
                  <a:moveTo>
                    <a:pt x="5740" y="146"/>
                  </a:moveTo>
                  <a:cubicBezTo>
                    <a:pt x="5898" y="146"/>
                    <a:pt x="6047" y="208"/>
                    <a:pt x="6158" y="320"/>
                  </a:cubicBezTo>
                  <a:cubicBezTo>
                    <a:pt x="6185" y="346"/>
                    <a:pt x="6235" y="346"/>
                    <a:pt x="6261" y="320"/>
                  </a:cubicBezTo>
                  <a:cubicBezTo>
                    <a:pt x="6275" y="306"/>
                    <a:pt x="6283" y="288"/>
                    <a:pt x="6283" y="268"/>
                  </a:cubicBezTo>
                  <a:cubicBezTo>
                    <a:pt x="6283" y="248"/>
                    <a:pt x="6275" y="230"/>
                    <a:pt x="6261" y="216"/>
                  </a:cubicBezTo>
                  <a:lnTo>
                    <a:pt x="6253" y="208"/>
                  </a:lnTo>
                  <a:cubicBezTo>
                    <a:pt x="6115" y="75"/>
                    <a:pt x="5933" y="1"/>
                    <a:pt x="5740" y="1"/>
                  </a:cubicBezTo>
                  <a:cubicBezTo>
                    <a:pt x="5333" y="1"/>
                    <a:pt x="5001" y="333"/>
                    <a:pt x="5001" y="740"/>
                  </a:cubicBezTo>
                  <a:cubicBezTo>
                    <a:pt x="5001" y="1146"/>
                    <a:pt x="5333" y="1478"/>
                    <a:pt x="5740" y="1478"/>
                  </a:cubicBezTo>
                  <a:cubicBezTo>
                    <a:pt x="5955" y="1478"/>
                    <a:pt x="6148" y="1386"/>
                    <a:pt x="6283" y="1238"/>
                  </a:cubicBezTo>
                  <a:lnTo>
                    <a:pt x="6180" y="1135"/>
                  </a:lnTo>
                  <a:cubicBezTo>
                    <a:pt x="6072" y="1255"/>
                    <a:pt x="5915" y="1331"/>
                    <a:pt x="5740" y="1331"/>
                  </a:cubicBezTo>
                  <a:cubicBezTo>
                    <a:pt x="5413" y="1331"/>
                    <a:pt x="5147" y="1065"/>
                    <a:pt x="5147" y="738"/>
                  </a:cubicBezTo>
                  <a:cubicBezTo>
                    <a:pt x="5147" y="413"/>
                    <a:pt x="5413" y="146"/>
                    <a:pt x="5740" y="146"/>
                  </a:cubicBezTo>
                  <a:moveTo>
                    <a:pt x="736" y="146"/>
                  </a:moveTo>
                  <a:cubicBezTo>
                    <a:pt x="895" y="146"/>
                    <a:pt x="1043" y="208"/>
                    <a:pt x="1156" y="320"/>
                  </a:cubicBezTo>
                  <a:cubicBezTo>
                    <a:pt x="1183" y="346"/>
                    <a:pt x="1233" y="346"/>
                    <a:pt x="1260" y="320"/>
                  </a:cubicBezTo>
                  <a:cubicBezTo>
                    <a:pt x="1273" y="306"/>
                    <a:pt x="1281" y="288"/>
                    <a:pt x="1281" y="268"/>
                  </a:cubicBezTo>
                  <a:cubicBezTo>
                    <a:pt x="1281" y="248"/>
                    <a:pt x="1275" y="230"/>
                    <a:pt x="1260" y="216"/>
                  </a:cubicBezTo>
                  <a:lnTo>
                    <a:pt x="1251" y="208"/>
                  </a:lnTo>
                  <a:cubicBezTo>
                    <a:pt x="1113" y="75"/>
                    <a:pt x="931" y="1"/>
                    <a:pt x="738" y="1"/>
                  </a:cubicBezTo>
                  <a:cubicBezTo>
                    <a:pt x="331" y="1"/>
                    <a:pt x="0" y="333"/>
                    <a:pt x="0" y="740"/>
                  </a:cubicBezTo>
                  <a:cubicBezTo>
                    <a:pt x="0" y="1146"/>
                    <a:pt x="331" y="1478"/>
                    <a:pt x="738" y="1478"/>
                  </a:cubicBezTo>
                  <a:cubicBezTo>
                    <a:pt x="953" y="1478"/>
                    <a:pt x="1147" y="1386"/>
                    <a:pt x="1281" y="1238"/>
                  </a:cubicBezTo>
                  <a:lnTo>
                    <a:pt x="1178" y="1135"/>
                  </a:lnTo>
                  <a:cubicBezTo>
                    <a:pt x="1070" y="1255"/>
                    <a:pt x="911" y="1331"/>
                    <a:pt x="738" y="1331"/>
                  </a:cubicBezTo>
                  <a:cubicBezTo>
                    <a:pt x="411" y="1331"/>
                    <a:pt x="145" y="1065"/>
                    <a:pt x="145" y="738"/>
                  </a:cubicBezTo>
                  <a:cubicBezTo>
                    <a:pt x="143" y="413"/>
                    <a:pt x="410" y="146"/>
                    <a:pt x="736" y="146"/>
                  </a:cubicBezTo>
                  <a:moveTo>
                    <a:pt x="8613" y="748"/>
                  </a:moveTo>
                  <a:cubicBezTo>
                    <a:pt x="8573" y="728"/>
                    <a:pt x="8333" y="603"/>
                    <a:pt x="8298" y="585"/>
                  </a:cubicBezTo>
                  <a:cubicBezTo>
                    <a:pt x="8172" y="520"/>
                    <a:pt x="8126" y="463"/>
                    <a:pt x="8126" y="366"/>
                  </a:cubicBezTo>
                  <a:cubicBezTo>
                    <a:pt x="8126" y="231"/>
                    <a:pt x="8236" y="145"/>
                    <a:pt x="8408" y="145"/>
                  </a:cubicBezTo>
                  <a:cubicBezTo>
                    <a:pt x="8508" y="145"/>
                    <a:pt x="8606" y="188"/>
                    <a:pt x="8663" y="221"/>
                  </a:cubicBezTo>
                  <a:cubicBezTo>
                    <a:pt x="8673" y="226"/>
                    <a:pt x="8686" y="230"/>
                    <a:pt x="8698" y="230"/>
                  </a:cubicBezTo>
                  <a:cubicBezTo>
                    <a:pt x="8738" y="230"/>
                    <a:pt x="8772" y="198"/>
                    <a:pt x="8772" y="158"/>
                  </a:cubicBezTo>
                  <a:cubicBezTo>
                    <a:pt x="8772" y="131"/>
                    <a:pt x="8756" y="108"/>
                    <a:pt x="8735" y="95"/>
                  </a:cubicBezTo>
                  <a:cubicBezTo>
                    <a:pt x="8663" y="55"/>
                    <a:pt x="8542" y="0"/>
                    <a:pt x="8410" y="0"/>
                  </a:cubicBezTo>
                  <a:cubicBezTo>
                    <a:pt x="8158" y="0"/>
                    <a:pt x="7983" y="150"/>
                    <a:pt x="7983" y="366"/>
                  </a:cubicBezTo>
                  <a:cubicBezTo>
                    <a:pt x="7983" y="560"/>
                    <a:pt x="8110" y="651"/>
                    <a:pt x="8235" y="715"/>
                  </a:cubicBezTo>
                  <a:cubicBezTo>
                    <a:pt x="8270" y="733"/>
                    <a:pt x="8513" y="858"/>
                    <a:pt x="8550" y="878"/>
                  </a:cubicBezTo>
                  <a:cubicBezTo>
                    <a:pt x="8647" y="928"/>
                    <a:pt x="8700" y="1005"/>
                    <a:pt x="8700" y="1091"/>
                  </a:cubicBezTo>
                  <a:cubicBezTo>
                    <a:pt x="8700" y="1208"/>
                    <a:pt x="8601" y="1331"/>
                    <a:pt x="8418" y="1331"/>
                  </a:cubicBezTo>
                  <a:cubicBezTo>
                    <a:pt x="8240" y="1331"/>
                    <a:pt x="8101" y="1211"/>
                    <a:pt x="8065" y="1175"/>
                  </a:cubicBezTo>
                  <a:lnTo>
                    <a:pt x="8053" y="1163"/>
                  </a:lnTo>
                  <a:lnTo>
                    <a:pt x="7945" y="1261"/>
                  </a:lnTo>
                  <a:lnTo>
                    <a:pt x="7958" y="1273"/>
                  </a:lnTo>
                  <a:cubicBezTo>
                    <a:pt x="8006" y="1320"/>
                    <a:pt x="8180" y="1475"/>
                    <a:pt x="8418" y="1475"/>
                  </a:cubicBezTo>
                  <a:cubicBezTo>
                    <a:pt x="8685" y="1475"/>
                    <a:pt x="8845" y="1278"/>
                    <a:pt x="8845" y="1088"/>
                  </a:cubicBezTo>
                  <a:cubicBezTo>
                    <a:pt x="8843" y="950"/>
                    <a:pt x="8760" y="825"/>
                    <a:pt x="8613" y="748"/>
                  </a:cubicBezTo>
                  <a:moveTo>
                    <a:pt x="2250" y="1"/>
                  </a:moveTo>
                  <a:cubicBezTo>
                    <a:pt x="1843" y="1"/>
                    <a:pt x="1511" y="333"/>
                    <a:pt x="1511" y="740"/>
                  </a:cubicBezTo>
                  <a:cubicBezTo>
                    <a:pt x="1511" y="1146"/>
                    <a:pt x="1843" y="1478"/>
                    <a:pt x="2250" y="1478"/>
                  </a:cubicBezTo>
                  <a:cubicBezTo>
                    <a:pt x="2656" y="1478"/>
                    <a:pt x="2988" y="1146"/>
                    <a:pt x="2988" y="740"/>
                  </a:cubicBezTo>
                  <a:cubicBezTo>
                    <a:pt x="2988" y="333"/>
                    <a:pt x="2656" y="1"/>
                    <a:pt x="2250" y="1"/>
                  </a:cubicBezTo>
                  <a:moveTo>
                    <a:pt x="2250" y="1331"/>
                  </a:moveTo>
                  <a:cubicBezTo>
                    <a:pt x="1923" y="1331"/>
                    <a:pt x="1656" y="1065"/>
                    <a:pt x="1656" y="738"/>
                  </a:cubicBezTo>
                  <a:cubicBezTo>
                    <a:pt x="1656" y="411"/>
                    <a:pt x="1923" y="145"/>
                    <a:pt x="2250" y="145"/>
                  </a:cubicBezTo>
                  <a:cubicBezTo>
                    <a:pt x="2576" y="145"/>
                    <a:pt x="2843" y="411"/>
                    <a:pt x="2843" y="738"/>
                  </a:cubicBezTo>
                  <a:cubicBezTo>
                    <a:pt x="2841" y="1066"/>
                    <a:pt x="2576" y="1331"/>
                    <a:pt x="2250" y="1331"/>
                  </a:cubicBezTo>
                  <a:close/>
                  <a:moveTo>
                    <a:pt x="9887" y="4438"/>
                  </a:moveTo>
                  <a:lnTo>
                    <a:pt x="9886" y="4303"/>
                  </a:lnTo>
                  <a:lnTo>
                    <a:pt x="9814" y="4415"/>
                  </a:lnTo>
                  <a:lnTo>
                    <a:pt x="9799" y="4415"/>
                  </a:lnTo>
                  <a:lnTo>
                    <a:pt x="9726" y="4306"/>
                  </a:lnTo>
                  <a:lnTo>
                    <a:pt x="9726" y="4438"/>
                  </a:lnTo>
                  <a:lnTo>
                    <a:pt x="9694" y="4438"/>
                  </a:lnTo>
                  <a:lnTo>
                    <a:pt x="9694" y="4246"/>
                  </a:lnTo>
                  <a:lnTo>
                    <a:pt x="9721" y="4246"/>
                  </a:lnTo>
                  <a:lnTo>
                    <a:pt x="9807" y="4377"/>
                  </a:lnTo>
                  <a:lnTo>
                    <a:pt x="9891" y="4246"/>
                  </a:lnTo>
                  <a:lnTo>
                    <a:pt x="9918" y="4246"/>
                  </a:lnTo>
                  <a:lnTo>
                    <a:pt x="9918" y="4438"/>
                  </a:lnTo>
                  <a:lnTo>
                    <a:pt x="9887" y="4438"/>
                  </a:lnTo>
                  <a:close/>
                  <a:moveTo>
                    <a:pt x="9492" y="4246"/>
                  </a:moveTo>
                  <a:lnTo>
                    <a:pt x="9666" y="4246"/>
                  </a:lnTo>
                  <a:lnTo>
                    <a:pt x="9666" y="4273"/>
                  </a:lnTo>
                  <a:lnTo>
                    <a:pt x="9596" y="4273"/>
                  </a:lnTo>
                  <a:lnTo>
                    <a:pt x="9596" y="4438"/>
                  </a:lnTo>
                  <a:lnTo>
                    <a:pt x="9562" y="4438"/>
                  </a:lnTo>
                  <a:lnTo>
                    <a:pt x="9562" y="4273"/>
                  </a:lnTo>
                  <a:lnTo>
                    <a:pt x="9492" y="4273"/>
                  </a:lnTo>
                  <a:lnTo>
                    <a:pt x="9492" y="4246"/>
                  </a:lnTo>
                  <a:close/>
                  <a:moveTo>
                    <a:pt x="9167" y="4896"/>
                  </a:moveTo>
                  <a:cubicBezTo>
                    <a:pt x="9133" y="4885"/>
                    <a:pt x="9105" y="4871"/>
                    <a:pt x="9086" y="4854"/>
                  </a:cubicBezTo>
                  <a:lnTo>
                    <a:pt x="9114" y="4804"/>
                  </a:lnTo>
                  <a:cubicBezTo>
                    <a:pt x="9134" y="4820"/>
                    <a:pt x="9159" y="4833"/>
                    <a:pt x="9188" y="4842"/>
                  </a:cubicBezTo>
                  <a:cubicBezTo>
                    <a:pt x="9218" y="4852"/>
                    <a:pt x="9249" y="4857"/>
                    <a:pt x="9281" y="4857"/>
                  </a:cubicBezTo>
                  <a:cubicBezTo>
                    <a:pt x="9324" y="4857"/>
                    <a:pt x="9356" y="4850"/>
                    <a:pt x="9377" y="4837"/>
                  </a:cubicBezTo>
                  <a:cubicBezTo>
                    <a:pt x="9397" y="4824"/>
                    <a:pt x="9408" y="4805"/>
                    <a:pt x="9408" y="4780"/>
                  </a:cubicBezTo>
                  <a:cubicBezTo>
                    <a:pt x="9408" y="4763"/>
                    <a:pt x="9402" y="4750"/>
                    <a:pt x="9390" y="4740"/>
                  </a:cubicBezTo>
                  <a:cubicBezTo>
                    <a:pt x="9379" y="4730"/>
                    <a:pt x="9365" y="4723"/>
                    <a:pt x="9348" y="4717"/>
                  </a:cubicBezTo>
                  <a:cubicBezTo>
                    <a:pt x="9330" y="4712"/>
                    <a:pt x="9307" y="4708"/>
                    <a:pt x="9279" y="4703"/>
                  </a:cubicBezTo>
                  <a:cubicBezTo>
                    <a:pt x="9241" y="4696"/>
                    <a:pt x="9210" y="4688"/>
                    <a:pt x="9187" y="4681"/>
                  </a:cubicBezTo>
                  <a:cubicBezTo>
                    <a:pt x="9163" y="4674"/>
                    <a:pt x="9144" y="4661"/>
                    <a:pt x="9127" y="4643"/>
                  </a:cubicBezTo>
                  <a:cubicBezTo>
                    <a:pt x="9111" y="4625"/>
                    <a:pt x="9103" y="4601"/>
                    <a:pt x="9103" y="4569"/>
                  </a:cubicBezTo>
                  <a:cubicBezTo>
                    <a:pt x="9103" y="4530"/>
                    <a:pt x="9119" y="4498"/>
                    <a:pt x="9152" y="4473"/>
                  </a:cubicBezTo>
                  <a:cubicBezTo>
                    <a:pt x="9185" y="4448"/>
                    <a:pt x="9230" y="4435"/>
                    <a:pt x="9289" y="4435"/>
                  </a:cubicBezTo>
                  <a:cubicBezTo>
                    <a:pt x="9319" y="4435"/>
                    <a:pt x="9349" y="4439"/>
                    <a:pt x="9380" y="4447"/>
                  </a:cubicBezTo>
                  <a:cubicBezTo>
                    <a:pt x="9410" y="4455"/>
                    <a:pt x="9435" y="4466"/>
                    <a:pt x="9455" y="4479"/>
                  </a:cubicBezTo>
                  <a:lnTo>
                    <a:pt x="9427" y="4530"/>
                  </a:lnTo>
                  <a:cubicBezTo>
                    <a:pt x="9388" y="4503"/>
                    <a:pt x="9342" y="4490"/>
                    <a:pt x="9289" y="4490"/>
                  </a:cubicBezTo>
                  <a:cubicBezTo>
                    <a:pt x="9248" y="4490"/>
                    <a:pt x="9218" y="4497"/>
                    <a:pt x="9197" y="4511"/>
                  </a:cubicBezTo>
                  <a:cubicBezTo>
                    <a:pt x="9176" y="4525"/>
                    <a:pt x="9166" y="4544"/>
                    <a:pt x="9166" y="4567"/>
                  </a:cubicBezTo>
                  <a:cubicBezTo>
                    <a:pt x="9166" y="4585"/>
                    <a:pt x="9172" y="4599"/>
                    <a:pt x="9184" y="4610"/>
                  </a:cubicBezTo>
                  <a:cubicBezTo>
                    <a:pt x="9195" y="4621"/>
                    <a:pt x="9210" y="4629"/>
                    <a:pt x="9227" y="4634"/>
                  </a:cubicBezTo>
                  <a:cubicBezTo>
                    <a:pt x="9244" y="4639"/>
                    <a:pt x="9268" y="4644"/>
                    <a:pt x="9298" y="4649"/>
                  </a:cubicBezTo>
                  <a:cubicBezTo>
                    <a:pt x="9336" y="4656"/>
                    <a:pt x="9366" y="4664"/>
                    <a:pt x="9389" y="4671"/>
                  </a:cubicBezTo>
                  <a:cubicBezTo>
                    <a:pt x="9411" y="4678"/>
                    <a:pt x="9431" y="4690"/>
                    <a:pt x="9447" y="4707"/>
                  </a:cubicBezTo>
                  <a:cubicBezTo>
                    <a:pt x="9463" y="4724"/>
                    <a:pt x="9471" y="4748"/>
                    <a:pt x="9471" y="4779"/>
                  </a:cubicBezTo>
                  <a:cubicBezTo>
                    <a:pt x="9471" y="4820"/>
                    <a:pt x="9454" y="4852"/>
                    <a:pt x="9420" y="4876"/>
                  </a:cubicBezTo>
                  <a:cubicBezTo>
                    <a:pt x="9385" y="4900"/>
                    <a:pt x="9338" y="4912"/>
                    <a:pt x="9277" y="4912"/>
                  </a:cubicBezTo>
                  <a:cubicBezTo>
                    <a:pt x="9239" y="4912"/>
                    <a:pt x="9202" y="4907"/>
                    <a:pt x="9167" y="4896"/>
                  </a:cubicBezTo>
                  <a:moveTo>
                    <a:pt x="8688" y="4533"/>
                  </a:moveTo>
                  <a:cubicBezTo>
                    <a:pt x="8658" y="4562"/>
                    <a:pt x="8640" y="4599"/>
                    <a:pt x="8636" y="4646"/>
                  </a:cubicBezTo>
                  <a:lnTo>
                    <a:pt x="8969" y="4646"/>
                  </a:lnTo>
                  <a:cubicBezTo>
                    <a:pt x="8965" y="4599"/>
                    <a:pt x="8948" y="4562"/>
                    <a:pt x="8917" y="4533"/>
                  </a:cubicBezTo>
                  <a:cubicBezTo>
                    <a:pt x="8886" y="4504"/>
                    <a:pt x="8848" y="4490"/>
                    <a:pt x="8802" y="4490"/>
                  </a:cubicBezTo>
                  <a:cubicBezTo>
                    <a:pt x="8757" y="4490"/>
                    <a:pt x="8719" y="4504"/>
                    <a:pt x="8688" y="4533"/>
                  </a:cubicBezTo>
                  <a:close/>
                  <a:moveTo>
                    <a:pt x="9029" y="4693"/>
                  </a:moveTo>
                  <a:lnTo>
                    <a:pt x="8636" y="4693"/>
                  </a:lnTo>
                  <a:cubicBezTo>
                    <a:pt x="8640" y="4742"/>
                    <a:pt x="8658" y="4781"/>
                    <a:pt x="8692" y="4811"/>
                  </a:cubicBezTo>
                  <a:cubicBezTo>
                    <a:pt x="8726" y="4841"/>
                    <a:pt x="8769" y="4856"/>
                    <a:pt x="8821" y="4856"/>
                  </a:cubicBezTo>
                  <a:cubicBezTo>
                    <a:pt x="8850" y="4856"/>
                    <a:pt x="8877" y="4851"/>
                    <a:pt x="8901" y="4841"/>
                  </a:cubicBezTo>
                  <a:cubicBezTo>
                    <a:pt x="8926" y="4830"/>
                    <a:pt x="8947" y="4815"/>
                    <a:pt x="8965" y="4795"/>
                  </a:cubicBezTo>
                  <a:lnTo>
                    <a:pt x="9001" y="4836"/>
                  </a:lnTo>
                  <a:cubicBezTo>
                    <a:pt x="8980" y="4861"/>
                    <a:pt x="8954" y="4880"/>
                    <a:pt x="8922" y="4893"/>
                  </a:cubicBezTo>
                  <a:cubicBezTo>
                    <a:pt x="8891" y="4906"/>
                    <a:pt x="8857" y="4912"/>
                    <a:pt x="8819" y="4912"/>
                  </a:cubicBezTo>
                  <a:cubicBezTo>
                    <a:pt x="8771" y="4912"/>
                    <a:pt x="8728" y="4902"/>
                    <a:pt x="8691" y="4882"/>
                  </a:cubicBezTo>
                  <a:cubicBezTo>
                    <a:pt x="8654" y="4861"/>
                    <a:pt x="8625" y="4833"/>
                    <a:pt x="8604" y="4796"/>
                  </a:cubicBezTo>
                  <a:cubicBezTo>
                    <a:pt x="8583" y="4760"/>
                    <a:pt x="8572" y="4719"/>
                    <a:pt x="8572" y="4673"/>
                  </a:cubicBezTo>
                  <a:cubicBezTo>
                    <a:pt x="8572" y="4628"/>
                    <a:pt x="8582" y="4587"/>
                    <a:pt x="8602" y="4550"/>
                  </a:cubicBezTo>
                  <a:cubicBezTo>
                    <a:pt x="8622" y="4514"/>
                    <a:pt x="8650" y="4486"/>
                    <a:pt x="8685" y="4466"/>
                  </a:cubicBezTo>
                  <a:cubicBezTo>
                    <a:pt x="8720" y="4445"/>
                    <a:pt x="8759" y="4435"/>
                    <a:pt x="8802" y="4435"/>
                  </a:cubicBezTo>
                  <a:cubicBezTo>
                    <a:pt x="8846" y="4435"/>
                    <a:pt x="8885" y="4445"/>
                    <a:pt x="8919" y="4466"/>
                  </a:cubicBezTo>
                  <a:cubicBezTo>
                    <a:pt x="8954" y="4486"/>
                    <a:pt x="8981" y="4514"/>
                    <a:pt x="9001" y="4550"/>
                  </a:cubicBezTo>
                  <a:cubicBezTo>
                    <a:pt x="9020" y="4586"/>
                    <a:pt x="9030" y="4627"/>
                    <a:pt x="9030" y="4673"/>
                  </a:cubicBezTo>
                  <a:lnTo>
                    <a:pt x="9029" y="4693"/>
                  </a:lnTo>
                  <a:close/>
                  <a:moveTo>
                    <a:pt x="8388" y="4439"/>
                  </a:moveTo>
                  <a:lnTo>
                    <a:pt x="8452" y="4439"/>
                  </a:lnTo>
                  <a:lnTo>
                    <a:pt x="8452" y="4908"/>
                  </a:lnTo>
                  <a:lnTo>
                    <a:pt x="8388" y="4908"/>
                  </a:lnTo>
                  <a:lnTo>
                    <a:pt x="8388" y="4439"/>
                  </a:lnTo>
                  <a:close/>
                  <a:moveTo>
                    <a:pt x="8387" y="4323"/>
                  </a:moveTo>
                  <a:cubicBezTo>
                    <a:pt x="8378" y="4314"/>
                    <a:pt x="8374" y="4303"/>
                    <a:pt x="8374" y="4291"/>
                  </a:cubicBezTo>
                  <a:cubicBezTo>
                    <a:pt x="8374" y="4279"/>
                    <a:pt x="8378" y="4268"/>
                    <a:pt x="8387" y="4260"/>
                  </a:cubicBezTo>
                  <a:cubicBezTo>
                    <a:pt x="8396" y="4251"/>
                    <a:pt x="8407" y="4246"/>
                    <a:pt x="8420" y="4246"/>
                  </a:cubicBezTo>
                  <a:cubicBezTo>
                    <a:pt x="8434" y="4246"/>
                    <a:pt x="8445" y="4250"/>
                    <a:pt x="8454" y="4259"/>
                  </a:cubicBezTo>
                  <a:cubicBezTo>
                    <a:pt x="8462" y="4268"/>
                    <a:pt x="8467" y="4278"/>
                    <a:pt x="8467" y="4290"/>
                  </a:cubicBezTo>
                  <a:cubicBezTo>
                    <a:pt x="8467" y="4303"/>
                    <a:pt x="8462" y="4314"/>
                    <a:pt x="8454" y="4323"/>
                  </a:cubicBezTo>
                  <a:cubicBezTo>
                    <a:pt x="8445" y="4332"/>
                    <a:pt x="8434" y="4336"/>
                    <a:pt x="8420" y="4336"/>
                  </a:cubicBezTo>
                  <a:cubicBezTo>
                    <a:pt x="8407" y="4336"/>
                    <a:pt x="8396" y="4332"/>
                    <a:pt x="8387" y="4323"/>
                  </a:cubicBezTo>
                  <a:close/>
                  <a:moveTo>
                    <a:pt x="8282" y="4879"/>
                  </a:moveTo>
                  <a:cubicBezTo>
                    <a:pt x="8270" y="4890"/>
                    <a:pt x="8255" y="4898"/>
                    <a:pt x="8238" y="4904"/>
                  </a:cubicBezTo>
                  <a:cubicBezTo>
                    <a:pt x="8220" y="4910"/>
                    <a:pt x="8202" y="4912"/>
                    <a:pt x="8183" y="4912"/>
                  </a:cubicBezTo>
                  <a:cubicBezTo>
                    <a:pt x="8139" y="4912"/>
                    <a:pt x="8105" y="4900"/>
                    <a:pt x="8081" y="4877"/>
                  </a:cubicBezTo>
                  <a:cubicBezTo>
                    <a:pt x="8057" y="4853"/>
                    <a:pt x="8045" y="4819"/>
                    <a:pt x="8045" y="4776"/>
                  </a:cubicBezTo>
                  <a:lnTo>
                    <a:pt x="8045" y="4492"/>
                  </a:lnTo>
                  <a:lnTo>
                    <a:pt x="7961" y="4492"/>
                  </a:lnTo>
                  <a:lnTo>
                    <a:pt x="7961" y="4439"/>
                  </a:lnTo>
                  <a:lnTo>
                    <a:pt x="8045" y="4439"/>
                  </a:lnTo>
                  <a:lnTo>
                    <a:pt x="8045" y="4336"/>
                  </a:lnTo>
                  <a:lnTo>
                    <a:pt x="8108" y="4336"/>
                  </a:lnTo>
                  <a:lnTo>
                    <a:pt x="8108" y="4439"/>
                  </a:lnTo>
                  <a:lnTo>
                    <a:pt x="8251" y="4439"/>
                  </a:lnTo>
                  <a:lnTo>
                    <a:pt x="8251" y="4492"/>
                  </a:lnTo>
                  <a:lnTo>
                    <a:pt x="8108" y="4492"/>
                  </a:lnTo>
                  <a:lnTo>
                    <a:pt x="8108" y="4772"/>
                  </a:lnTo>
                  <a:cubicBezTo>
                    <a:pt x="8108" y="4800"/>
                    <a:pt x="8115" y="4822"/>
                    <a:pt x="8129" y="4836"/>
                  </a:cubicBezTo>
                  <a:cubicBezTo>
                    <a:pt x="8143" y="4851"/>
                    <a:pt x="8164" y="4858"/>
                    <a:pt x="8190" y="4858"/>
                  </a:cubicBezTo>
                  <a:cubicBezTo>
                    <a:pt x="8203" y="4858"/>
                    <a:pt x="8216" y="4856"/>
                    <a:pt x="8228" y="4852"/>
                  </a:cubicBezTo>
                  <a:cubicBezTo>
                    <a:pt x="8240" y="4848"/>
                    <a:pt x="8251" y="4842"/>
                    <a:pt x="8260" y="4834"/>
                  </a:cubicBezTo>
                  <a:lnTo>
                    <a:pt x="8282" y="4879"/>
                  </a:lnTo>
                  <a:close/>
                  <a:moveTo>
                    <a:pt x="7803" y="4439"/>
                  </a:moveTo>
                  <a:lnTo>
                    <a:pt x="7866" y="4439"/>
                  </a:lnTo>
                  <a:lnTo>
                    <a:pt x="7866" y="4908"/>
                  </a:lnTo>
                  <a:lnTo>
                    <a:pt x="7803" y="4908"/>
                  </a:lnTo>
                  <a:lnTo>
                    <a:pt x="7803" y="4439"/>
                  </a:lnTo>
                  <a:close/>
                  <a:moveTo>
                    <a:pt x="7802" y="4323"/>
                  </a:moveTo>
                  <a:cubicBezTo>
                    <a:pt x="7793" y="4314"/>
                    <a:pt x="7788" y="4303"/>
                    <a:pt x="7788" y="4291"/>
                  </a:cubicBezTo>
                  <a:cubicBezTo>
                    <a:pt x="7788" y="4279"/>
                    <a:pt x="7793" y="4268"/>
                    <a:pt x="7802" y="4260"/>
                  </a:cubicBezTo>
                  <a:cubicBezTo>
                    <a:pt x="7811" y="4251"/>
                    <a:pt x="7822" y="4246"/>
                    <a:pt x="7835" y="4246"/>
                  </a:cubicBezTo>
                  <a:cubicBezTo>
                    <a:pt x="7848" y="4246"/>
                    <a:pt x="7859" y="4250"/>
                    <a:pt x="7868" y="4259"/>
                  </a:cubicBezTo>
                  <a:cubicBezTo>
                    <a:pt x="7877" y="4268"/>
                    <a:pt x="7881" y="4278"/>
                    <a:pt x="7881" y="4290"/>
                  </a:cubicBezTo>
                  <a:cubicBezTo>
                    <a:pt x="7881" y="4303"/>
                    <a:pt x="7877" y="4314"/>
                    <a:pt x="7868" y="4323"/>
                  </a:cubicBezTo>
                  <a:cubicBezTo>
                    <a:pt x="7859" y="4332"/>
                    <a:pt x="7848" y="4336"/>
                    <a:pt x="7835" y="4336"/>
                  </a:cubicBezTo>
                  <a:cubicBezTo>
                    <a:pt x="7822" y="4336"/>
                    <a:pt x="7811" y="4332"/>
                    <a:pt x="7802" y="4323"/>
                  </a:cubicBezTo>
                  <a:close/>
                  <a:moveTo>
                    <a:pt x="7571" y="4246"/>
                  </a:moveTo>
                  <a:lnTo>
                    <a:pt x="7635" y="4246"/>
                  </a:lnTo>
                  <a:lnTo>
                    <a:pt x="7635" y="4908"/>
                  </a:lnTo>
                  <a:lnTo>
                    <a:pt x="7571" y="4908"/>
                  </a:lnTo>
                  <a:lnTo>
                    <a:pt x="7571" y="4246"/>
                  </a:lnTo>
                  <a:close/>
                  <a:moveTo>
                    <a:pt x="7340" y="4439"/>
                  </a:moveTo>
                  <a:lnTo>
                    <a:pt x="7403" y="4439"/>
                  </a:lnTo>
                  <a:lnTo>
                    <a:pt x="7403" y="4908"/>
                  </a:lnTo>
                  <a:lnTo>
                    <a:pt x="7340" y="4908"/>
                  </a:lnTo>
                  <a:lnTo>
                    <a:pt x="7340" y="4439"/>
                  </a:lnTo>
                  <a:close/>
                  <a:moveTo>
                    <a:pt x="7339" y="4323"/>
                  </a:moveTo>
                  <a:cubicBezTo>
                    <a:pt x="7330" y="4314"/>
                    <a:pt x="7325" y="4303"/>
                    <a:pt x="7325" y="4291"/>
                  </a:cubicBezTo>
                  <a:cubicBezTo>
                    <a:pt x="7325" y="4279"/>
                    <a:pt x="7330" y="4268"/>
                    <a:pt x="7339" y="4260"/>
                  </a:cubicBezTo>
                  <a:cubicBezTo>
                    <a:pt x="7348" y="4251"/>
                    <a:pt x="7359" y="4246"/>
                    <a:pt x="7372" y="4246"/>
                  </a:cubicBezTo>
                  <a:cubicBezTo>
                    <a:pt x="7385" y="4246"/>
                    <a:pt x="7396" y="4250"/>
                    <a:pt x="7405" y="4259"/>
                  </a:cubicBezTo>
                  <a:cubicBezTo>
                    <a:pt x="7414" y="4268"/>
                    <a:pt x="7418" y="4278"/>
                    <a:pt x="7418" y="4290"/>
                  </a:cubicBezTo>
                  <a:cubicBezTo>
                    <a:pt x="7418" y="4303"/>
                    <a:pt x="7414" y="4314"/>
                    <a:pt x="7405" y="4323"/>
                  </a:cubicBezTo>
                  <a:cubicBezTo>
                    <a:pt x="7396" y="4332"/>
                    <a:pt x="7385" y="4336"/>
                    <a:pt x="7372" y="4336"/>
                  </a:cubicBezTo>
                  <a:cubicBezTo>
                    <a:pt x="7359" y="4336"/>
                    <a:pt x="7348" y="4332"/>
                    <a:pt x="7339" y="4323"/>
                  </a:cubicBezTo>
                  <a:close/>
                  <a:moveTo>
                    <a:pt x="7070" y="4833"/>
                  </a:moveTo>
                  <a:cubicBezTo>
                    <a:pt x="7096" y="4818"/>
                    <a:pt x="7117" y="4797"/>
                    <a:pt x="7133" y="4769"/>
                  </a:cubicBezTo>
                  <a:cubicBezTo>
                    <a:pt x="7148" y="4741"/>
                    <a:pt x="7155" y="4709"/>
                    <a:pt x="7155" y="4673"/>
                  </a:cubicBezTo>
                  <a:cubicBezTo>
                    <a:pt x="7155" y="4638"/>
                    <a:pt x="7148" y="4606"/>
                    <a:pt x="7133" y="4578"/>
                  </a:cubicBezTo>
                  <a:cubicBezTo>
                    <a:pt x="7117" y="4550"/>
                    <a:pt x="7096" y="4528"/>
                    <a:pt x="7070" y="4513"/>
                  </a:cubicBezTo>
                  <a:cubicBezTo>
                    <a:pt x="7043" y="4498"/>
                    <a:pt x="7013" y="4491"/>
                    <a:pt x="6980" y="4491"/>
                  </a:cubicBezTo>
                  <a:cubicBezTo>
                    <a:pt x="6947" y="4491"/>
                    <a:pt x="6917" y="4498"/>
                    <a:pt x="6890" y="4513"/>
                  </a:cubicBezTo>
                  <a:cubicBezTo>
                    <a:pt x="6864" y="4528"/>
                    <a:pt x="6843" y="4550"/>
                    <a:pt x="6828" y="4578"/>
                  </a:cubicBezTo>
                  <a:cubicBezTo>
                    <a:pt x="6813" y="4606"/>
                    <a:pt x="6805" y="4638"/>
                    <a:pt x="6805" y="4673"/>
                  </a:cubicBezTo>
                  <a:cubicBezTo>
                    <a:pt x="6805" y="4709"/>
                    <a:pt x="6813" y="4741"/>
                    <a:pt x="6828" y="4769"/>
                  </a:cubicBezTo>
                  <a:cubicBezTo>
                    <a:pt x="6843" y="4797"/>
                    <a:pt x="6864" y="4818"/>
                    <a:pt x="6890" y="4833"/>
                  </a:cubicBezTo>
                  <a:cubicBezTo>
                    <a:pt x="6917" y="4849"/>
                    <a:pt x="6947" y="4856"/>
                    <a:pt x="6980" y="4856"/>
                  </a:cubicBezTo>
                  <a:cubicBezTo>
                    <a:pt x="7013" y="4856"/>
                    <a:pt x="7043" y="4849"/>
                    <a:pt x="7070" y="4833"/>
                  </a:cubicBezTo>
                  <a:close/>
                  <a:moveTo>
                    <a:pt x="7104" y="4465"/>
                  </a:moveTo>
                  <a:cubicBezTo>
                    <a:pt x="7140" y="4485"/>
                    <a:pt x="7168" y="4513"/>
                    <a:pt x="7188" y="4549"/>
                  </a:cubicBezTo>
                  <a:cubicBezTo>
                    <a:pt x="7209" y="4586"/>
                    <a:pt x="7219" y="4627"/>
                    <a:pt x="7219" y="4673"/>
                  </a:cubicBezTo>
                  <a:cubicBezTo>
                    <a:pt x="7219" y="4720"/>
                    <a:pt x="7209" y="4761"/>
                    <a:pt x="7188" y="4797"/>
                  </a:cubicBezTo>
                  <a:cubicBezTo>
                    <a:pt x="7168" y="4834"/>
                    <a:pt x="7140" y="4862"/>
                    <a:pt x="7104" y="4882"/>
                  </a:cubicBezTo>
                  <a:cubicBezTo>
                    <a:pt x="7069" y="4902"/>
                    <a:pt x="7029" y="4912"/>
                    <a:pt x="6985" y="4912"/>
                  </a:cubicBezTo>
                  <a:cubicBezTo>
                    <a:pt x="6945" y="4912"/>
                    <a:pt x="6910" y="4904"/>
                    <a:pt x="6879" y="4887"/>
                  </a:cubicBezTo>
                  <a:cubicBezTo>
                    <a:pt x="6847" y="4871"/>
                    <a:pt x="6822" y="4847"/>
                    <a:pt x="6803" y="4815"/>
                  </a:cubicBezTo>
                  <a:lnTo>
                    <a:pt x="6803" y="4908"/>
                  </a:lnTo>
                  <a:lnTo>
                    <a:pt x="6742" y="4908"/>
                  </a:lnTo>
                  <a:lnTo>
                    <a:pt x="6742" y="4246"/>
                  </a:lnTo>
                  <a:lnTo>
                    <a:pt x="6806" y="4246"/>
                  </a:lnTo>
                  <a:lnTo>
                    <a:pt x="6806" y="4528"/>
                  </a:lnTo>
                  <a:cubicBezTo>
                    <a:pt x="6825" y="4498"/>
                    <a:pt x="6851" y="4475"/>
                    <a:pt x="6881" y="4459"/>
                  </a:cubicBezTo>
                  <a:cubicBezTo>
                    <a:pt x="6912" y="4443"/>
                    <a:pt x="6946" y="4435"/>
                    <a:pt x="6985" y="4435"/>
                  </a:cubicBezTo>
                  <a:cubicBezTo>
                    <a:pt x="7029" y="4435"/>
                    <a:pt x="7069" y="4445"/>
                    <a:pt x="7104" y="4465"/>
                  </a:cubicBezTo>
                  <a:close/>
                  <a:moveTo>
                    <a:pt x="6511" y="4439"/>
                  </a:moveTo>
                  <a:lnTo>
                    <a:pt x="6574" y="4439"/>
                  </a:lnTo>
                  <a:lnTo>
                    <a:pt x="6574" y="4908"/>
                  </a:lnTo>
                  <a:lnTo>
                    <a:pt x="6511" y="4908"/>
                  </a:lnTo>
                  <a:lnTo>
                    <a:pt x="6511" y="4439"/>
                  </a:lnTo>
                  <a:close/>
                  <a:moveTo>
                    <a:pt x="6510" y="4323"/>
                  </a:moveTo>
                  <a:cubicBezTo>
                    <a:pt x="6501" y="4314"/>
                    <a:pt x="6496" y="4303"/>
                    <a:pt x="6496" y="4291"/>
                  </a:cubicBezTo>
                  <a:cubicBezTo>
                    <a:pt x="6496" y="4279"/>
                    <a:pt x="6501" y="4268"/>
                    <a:pt x="6510" y="4260"/>
                  </a:cubicBezTo>
                  <a:cubicBezTo>
                    <a:pt x="6519" y="4251"/>
                    <a:pt x="6530" y="4246"/>
                    <a:pt x="6543" y="4246"/>
                  </a:cubicBezTo>
                  <a:cubicBezTo>
                    <a:pt x="6556" y="4246"/>
                    <a:pt x="6567" y="4250"/>
                    <a:pt x="6576" y="4259"/>
                  </a:cubicBezTo>
                  <a:cubicBezTo>
                    <a:pt x="6585" y="4268"/>
                    <a:pt x="6589" y="4278"/>
                    <a:pt x="6589" y="4290"/>
                  </a:cubicBezTo>
                  <a:cubicBezTo>
                    <a:pt x="6589" y="4303"/>
                    <a:pt x="6585" y="4314"/>
                    <a:pt x="6576" y="4323"/>
                  </a:cubicBezTo>
                  <a:cubicBezTo>
                    <a:pt x="6567" y="4332"/>
                    <a:pt x="6556" y="4336"/>
                    <a:pt x="6543" y="4336"/>
                  </a:cubicBezTo>
                  <a:cubicBezTo>
                    <a:pt x="6530" y="4336"/>
                    <a:pt x="6519" y="4332"/>
                    <a:pt x="6510" y="4323"/>
                  </a:cubicBezTo>
                  <a:close/>
                  <a:moveTo>
                    <a:pt x="6099" y="4896"/>
                  </a:moveTo>
                  <a:cubicBezTo>
                    <a:pt x="6064" y="4885"/>
                    <a:pt x="6037" y="4871"/>
                    <a:pt x="6017" y="4854"/>
                  </a:cubicBezTo>
                  <a:lnTo>
                    <a:pt x="6046" y="4804"/>
                  </a:lnTo>
                  <a:cubicBezTo>
                    <a:pt x="6066" y="4820"/>
                    <a:pt x="6090" y="4833"/>
                    <a:pt x="6120" y="4842"/>
                  </a:cubicBezTo>
                  <a:cubicBezTo>
                    <a:pt x="6150" y="4852"/>
                    <a:pt x="6181" y="4857"/>
                    <a:pt x="6213" y="4857"/>
                  </a:cubicBezTo>
                  <a:cubicBezTo>
                    <a:pt x="6256" y="4857"/>
                    <a:pt x="6288" y="4850"/>
                    <a:pt x="6308" y="4837"/>
                  </a:cubicBezTo>
                  <a:cubicBezTo>
                    <a:pt x="6329" y="4824"/>
                    <a:pt x="6339" y="4805"/>
                    <a:pt x="6339" y="4780"/>
                  </a:cubicBezTo>
                  <a:cubicBezTo>
                    <a:pt x="6339" y="4763"/>
                    <a:pt x="6333" y="4750"/>
                    <a:pt x="6322" y="4740"/>
                  </a:cubicBezTo>
                  <a:cubicBezTo>
                    <a:pt x="6311" y="4730"/>
                    <a:pt x="6296" y="4723"/>
                    <a:pt x="6279" y="4717"/>
                  </a:cubicBezTo>
                  <a:cubicBezTo>
                    <a:pt x="6262" y="4712"/>
                    <a:pt x="6239" y="4708"/>
                    <a:pt x="6210" y="4703"/>
                  </a:cubicBezTo>
                  <a:cubicBezTo>
                    <a:pt x="6172" y="4696"/>
                    <a:pt x="6141" y="4688"/>
                    <a:pt x="6118" y="4681"/>
                  </a:cubicBezTo>
                  <a:cubicBezTo>
                    <a:pt x="6095" y="4674"/>
                    <a:pt x="6075" y="4661"/>
                    <a:pt x="6059" y="4643"/>
                  </a:cubicBezTo>
                  <a:cubicBezTo>
                    <a:pt x="6042" y="4625"/>
                    <a:pt x="6034" y="4601"/>
                    <a:pt x="6034" y="4569"/>
                  </a:cubicBezTo>
                  <a:cubicBezTo>
                    <a:pt x="6034" y="4530"/>
                    <a:pt x="6051" y="4498"/>
                    <a:pt x="6083" y="4473"/>
                  </a:cubicBezTo>
                  <a:cubicBezTo>
                    <a:pt x="6116" y="4448"/>
                    <a:pt x="6162" y="4435"/>
                    <a:pt x="6220" y="4435"/>
                  </a:cubicBezTo>
                  <a:cubicBezTo>
                    <a:pt x="6251" y="4435"/>
                    <a:pt x="6281" y="4439"/>
                    <a:pt x="6311" y="4447"/>
                  </a:cubicBezTo>
                  <a:cubicBezTo>
                    <a:pt x="6342" y="4455"/>
                    <a:pt x="6367" y="4466"/>
                    <a:pt x="6386" y="4479"/>
                  </a:cubicBezTo>
                  <a:lnTo>
                    <a:pt x="6359" y="4530"/>
                  </a:lnTo>
                  <a:cubicBezTo>
                    <a:pt x="6320" y="4503"/>
                    <a:pt x="6274" y="4490"/>
                    <a:pt x="6220" y="4490"/>
                  </a:cubicBezTo>
                  <a:cubicBezTo>
                    <a:pt x="6180" y="4490"/>
                    <a:pt x="6149" y="4497"/>
                    <a:pt x="6129" y="4511"/>
                  </a:cubicBezTo>
                  <a:cubicBezTo>
                    <a:pt x="6108" y="4525"/>
                    <a:pt x="6098" y="4544"/>
                    <a:pt x="6098" y="4567"/>
                  </a:cubicBezTo>
                  <a:cubicBezTo>
                    <a:pt x="6098" y="4585"/>
                    <a:pt x="6104" y="4599"/>
                    <a:pt x="6115" y="4610"/>
                  </a:cubicBezTo>
                  <a:cubicBezTo>
                    <a:pt x="6127" y="4621"/>
                    <a:pt x="6141" y="4629"/>
                    <a:pt x="6158" y="4634"/>
                  </a:cubicBezTo>
                  <a:cubicBezTo>
                    <a:pt x="6176" y="4639"/>
                    <a:pt x="6200" y="4644"/>
                    <a:pt x="6230" y="4649"/>
                  </a:cubicBezTo>
                  <a:cubicBezTo>
                    <a:pt x="6268" y="4656"/>
                    <a:pt x="6298" y="4664"/>
                    <a:pt x="6320" y="4671"/>
                  </a:cubicBezTo>
                  <a:cubicBezTo>
                    <a:pt x="6343" y="4678"/>
                    <a:pt x="6362" y="4690"/>
                    <a:pt x="6378" y="4707"/>
                  </a:cubicBezTo>
                  <a:cubicBezTo>
                    <a:pt x="6395" y="4724"/>
                    <a:pt x="6403" y="4748"/>
                    <a:pt x="6403" y="4779"/>
                  </a:cubicBezTo>
                  <a:cubicBezTo>
                    <a:pt x="6403" y="4820"/>
                    <a:pt x="6385" y="4852"/>
                    <a:pt x="6351" y="4876"/>
                  </a:cubicBezTo>
                  <a:cubicBezTo>
                    <a:pt x="6317" y="4900"/>
                    <a:pt x="6269" y="4912"/>
                    <a:pt x="6209" y="4912"/>
                  </a:cubicBezTo>
                  <a:cubicBezTo>
                    <a:pt x="6170" y="4912"/>
                    <a:pt x="6134" y="4907"/>
                    <a:pt x="6099" y="4896"/>
                  </a:cubicBezTo>
                  <a:moveTo>
                    <a:pt x="5653" y="4896"/>
                  </a:moveTo>
                  <a:cubicBezTo>
                    <a:pt x="5618" y="4885"/>
                    <a:pt x="5591" y="4871"/>
                    <a:pt x="5571" y="4854"/>
                  </a:cubicBezTo>
                  <a:lnTo>
                    <a:pt x="5600" y="4804"/>
                  </a:lnTo>
                  <a:cubicBezTo>
                    <a:pt x="5619" y="4820"/>
                    <a:pt x="5644" y="4833"/>
                    <a:pt x="5674" y="4842"/>
                  </a:cubicBezTo>
                  <a:cubicBezTo>
                    <a:pt x="5704" y="4852"/>
                    <a:pt x="5735" y="4857"/>
                    <a:pt x="5767" y="4857"/>
                  </a:cubicBezTo>
                  <a:cubicBezTo>
                    <a:pt x="5810" y="4857"/>
                    <a:pt x="5842" y="4850"/>
                    <a:pt x="5862" y="4837"/>
                  </a:cubicBezTo>
                  <a:cubicBezTo>
                    <a:pt x="5883" y="4824"/>
                    <a:pt x="5893" y="4805"/>
                    <a:pt x="5893" y="4780"/>
                  </a:cubicBezTo>
                  <a:cubicBezTo>
                    <a:pt x="5893" y="4763"/>
                    <a:pt x="5887" y="4750"/>
                    <a:pt x="5876" y="4740"/>
                  </a:cubicBezTo>
                  <a:cubicBezTo>
                    <a:pt x="5865" y="4730"/>
                    <a:pt x="5850" y="4723"/>
                    <a:pt x="5833" y="4717"/>
                  </a:cubicBezTo>
                  <a:cubicBezTo>
                    <a:pt x="5816" y="4712"/>
                    <a:pt x="5793" y="4708"/>
                    <a:pt x="5764" y="4703"/>
                  </a:cubicBezTo>
                  <a:cubicBezTo>
                    <a:pt x="5726" y="4696"/>
                    <a:pt x="5695" y="4688"/>
                    <a:pt x="5672" y="4681"/>
                  </a:cubicBezTo>
                  <a:cubicBezTo>
                    <a:pt x="5649" y="4674"/>
                    <a:pt x="5629" y="4661"/>
                    <a:pt x="5613" y="4643"/>
                  </a:cubicBezTo>
                  <a:cubicBezTo>
                    <a:pt x="5596" y="4625"/>
                    <a:pt x="5588" y="4601"/>
                    <a:pt x="5588" y="4569"/>
                  </a:cubicBezTo>
                  <a:cubicBezTo>
                    <a:pt x="5588" y="4530"/>
                    <a:pt x="5604" y="4498"/>
                    <a:pt x="5637" y="4473"/>
                  </a:cubicBezTo>
                  <a:cubicBezTo>
                    <a:pt x="5670" y="4448"/>
                    <a:pt x="5716" y="4435"/>
                    <a:pt x="5774" y="4435"/>
                  </a:cubicBezTo>
                  <a:cubicBezTo>
                    <a:pt x="5804" y="4435"/>
                    <a:pt x="5835" y="4439"/>
                    <a:pt x="5865" y="4447"/>
                  </a:cubicBezTo>
                  <a:cubicBezTo>
                    <a:pt x="5896" y="4455"/>
                    <a:pt x="5921" y="4466"/>
                    <a:pt x="5940" y="4479"/>
                  </a:cubicBezTo>
                  <a:lnTo>
                    <a:pt x="5913" y="4530"/>
                  </a:lnTo>
                  <a:cubicBezTo>
                    <a:pt x="5874" y="4503"/>
                    <a:pt x="5828" y="4490"/>
                    <a:pt x="5774" y="4490"/>
                  </a:cubicBezTo>
                  <a:cubicBezTo>
                    <a:pt x="5734" y="4490"/>
                    <a:pt x="5703" y="4497"/>
                    <a:pt x="5682" y="4511"/>
                  </a:cubicBezTo>
                  <a:cubicBezTo>
                    <a:pt x="5662" y="4525"/>
                    <a:pt x="5652" y="4544"/>
                    <a:pt x="5652" y="4567"/>
                  </a:cubicBezTo>
                  <a:cubicBezTo>
                    <a:pt x="5652" y="4585"/>
                    <a:pt x="5657" y="4599"/>
                    <a:pt x="5669" y="4610"/>
                  </a:cubicBezTo>
                  <a:cubicBezTo>
                    <a:pt x="5681" y="4621"/>
                    <a:pt x="5695" y="4629"/>
                    <a:pt x="5712" y="4634"/>
                  </a:cubicBezTo>
                  <a:cubicBezTo>
                    <a:pt x="5730" y="4639"/>
                    <a:pt x="5754" y="4644"/>
                    <a:pt x="5784" y="4649"/>
                  </a:cubicBezTo>
                  <a:cubicBezTo>
                    <a:pt x="5821" y="4656"/>
                    <a:pt x="5852" y="4664"/>
                    <a:pt x="5874" y="4671"/>
                  </a:cubicBezTo>
                  <a:cubicBezTo>
                    <a:pt x="5897" y="4678"/>
                    <a:pt x="5916" y="4690"/>
                    <a:pt x="5932" y="4707"/>
                  </a:cubicBezTo>
                  <a:cubicBezTo>
                    <a:pt x="5948" y="4724"/>
                    <a:pt x="5956" y="4748"/>
                    <a:pt x="5956" y="4779"/>
                  </a:cubicBezTo>
                  <a:cubicBezTo>
                    <a:pt x="5956" y="4820"/>
                    <a:pt x="5939" y="4852"/>
                    <a:pt x="5905" y="4876"/>
                  </a:cubicBezTo>
                  <a:cubicBezTo>
                    <a:pt x="5871" y="4900"/>
                    <a:pt x="5823" y="4912"/>
                    <a:pt x="5762" y="4912"/>
                  </a:cubicBezTo>
                  <a:cubicBezTo>
                    <a:pt x="5724" y="4912"/>
                    <a:pt x="5688" y="4907"/>
                    <a:pt x="5653" y="4896"/>
                  </a:cubicBezTo>
                  <a:moveTo>
                    <a:pt x="5367" y="4833"/>
                  </a:moveTo>
                  <a:cubicBezTo>
                    <a:pt x="5393" y="4818"/>
                    <a:pt x="5414" y="4797"/>
                    <a:pt x="5429" y="4769"/>
                  </a:cubicBezTo>
                  <a:cubicBezTo>
                    <a:pt x="5444" y="4741"/>
                    <a:pt x="5451" y="4709"/>
                    <a:pt x="5451" y="4673"/>
                  </a:cubicBezTo>
                  <a:cubicBezTo>
                    <a:pt x="5451" y="4638"/>
                    <a:pt x="5444" y="4606"/>
                    <a:pt x="5429" y="4578"/>
                  </a:cubicBezTo>
                  <a:cubicBezTo>
                    <a:pt x="5414" y="4550"/>
                    <a:pt x="5393" y="4528"/>
                    <a:pt x="5367" y="4513"/>
                  </a:cubicBezTo>
                  <a:cubicBezTo>
                    <a:pt x="5340" y="4498"/>
                    <a:pt x="5310" y="4491"/>
                    <a:pt x="5277" y="4491"/>
                  </a:cubicBezTo>
                  <a:cubicBezTo>
                    <a:pt x="5244" y="4491"/>
                    <a:pt x="5214" y="4498"/>
                    <a:pt x="5187" y="4513"/>
                  </a:cubicBezTo>
                  <a:cubicBezTo>
                    <a:pt x="5161" y="4528"/>
                    <a:pt x="5140" y="4550"/>
                    <a:pt x="5124" y="4578"/>
                  </a:cubicBezTo>
                  <a:cubicBezTo>
                    <a:pt x="5109" y="4606"/>
                    <a:pt x="5102" y="4638"/>
                    <a:pt x="5102" y="4673"/>
                  </a:cubicBezTo>
                  <a:cubicBezTo>
                    <a:pt x="5102" y="4709"/>
                    <a:pt x="5109" y="4741"/>
                    <a:pt x="5124" y="4769"/>
                  </a:cubicBezTo>
                  <a:cubicBezTo>
                    <a:pt x="5140" y="4797"/>
                    <a:pt x="5161" y="4818"/>
                    <a:pt x="5187" y="4833"/>
                  </a:cubicBezTo>
                  <a:cubicBezTo>
                    <a:pt x="5214" y="4849"/>
                    <a:pt x="5244" y="4856"/>
                    <a:pt x="5277" y="4856"/>
                  </a:cubicBezTo>
                  <a:cubicBezTo>
                    <a:pt x="5310" y="4856"/>
                    <a:pt x="5340" y="4849"/>
                    <a:pt x="5367" y="4833"/>
                  </a:cubicBezTo>
                  <a:close/>
                  <a:moveTo>
                    <a:pt x="5154" y="4882"/>
                  </a:moveTo>
                  <a:cubicBezTo>
                    <a:pt x="5118" y="4861"/>
                    <a:pt x="5089" y="4833"/>
                    <a:pt x="5069" y="4796"/>
                  </a:cubicBezTo>
                  <a:cubicBezTo>
                    <a:pt x="5048" y="4760"/>
                    <a:pt x="5037" y="4719"/>
                    <a:pt x="5037" y="4673"/>
                  </a:cubicBezTo>
                  <a:cubicBezTo>
                    <a:pt x="5037" y="4628"/>
                    <a:pt x="5048" y="4587"/>
                    <a:pt x="5069" y="4550"/>
                  </a:cubicBezTo>
                  <a:cubicBezTo>
                    <a:pt x="5089" y="4514"/>
                    <a:pt x="5118" y="4486"/>
                    <a:pt x="5154" y="4466"/>
                  </a:cubicBezTo>
                  <a:cubicBezTo>
                    <a:pt x="5191" y="4445"/>
                    <a:pt x="5232" y="4435"/>
                    <a:pt x="5277" y="4435"/>
                  </a:cubicBezTo>
                  <a:cubicBezTo>
                    <a:pt x="5322" y="4435"/>
                    <a:pt x="5363" y="4445"/>
                    <a:pt x="5399" y="4466"/>
                  </a:cubicBezTo>
                  <a:cubicBezTo>
                    <a:pt x="5436" y="4486"/>
                    <a:pt x="5464" y="4514"/>
                    <a:pt x="5485" y="4550"/>
                  </a:cubicBezTo>
                  <a:cubicBezTo>
                    <a:pt x="5505" y="4587"/>
                    <a:pt x="5516" y="4628"/>
                    <a:pt x="5516" y="4673"/>
                  </a:cubicBezTo>
                  <a:cubicBezTo>
                    <a:pt x="5516" y="4719"/>
                    <a:pt x="5505" y="4760"/>
                    <a:pt x="5485" y="4796"/>
                  </a:cubicBezTo>
                  <a:cubicBezTo>
                    <a:pt x="5464" y="4833"/>
                    <a:pt x="5436" y="4861"/>
                    <a:pt x="5399" y="4882"/>
                  </a:cubicBezTo>
                  <a:cubicBezTo>
                    <a:pt x="5363" y="4902"/>
                    <a:pt x="5322" y="4912"/>
                    <a:pt x="5277" y="4912"/>
                  </a:cubicBezTo>
                  <a:cubicBezTo>
                    <a:pt x="5232" y="4912"/>
                    <a:pt x="5191" y="4902"/>
                    <a:pt x="5154" y="4882"/>
                  </a:cubicBezTo>
                  <a:close/>
                  <a:moveTo>
                    <a:pt x="4869" y="4612"/>
                  </a:moveTo>
                  <a:cubicBezTo>
                    <a:pt x="4902" y="4585"/>
                    <a:pt x="4918" y="4547"/>
                    <a:pt x="4918" y="4498"/>
                  </a:cubicBezTo>
                  <a:cubicBezTo>
                    <a:pt x="4918" y="4447"/>
                    <a:pt x="4902" y="4408"/>
                    <a:pt x="4869" y="4381"/>
                  </a:cubicBezTo>
                  <a:cubicBezTo>
                    <a:pt x="4836" y="4354"/>
                    <a:pt x="4789" y="4341"/>
                    <a:pt x="4727" y="4341"/>
                  </a:cubicBezTo>
                  <a:lnTo>
                    <a:pt x="4561" y="4341"/>
                  </a:lnTo>
                  <a:lnTo>
                    <a:pt x="4561" y="4653"/>
                  </a:lnTo>
                  <a:lnTo>
                    <a:pt x="4727" y="4653"/>
                  </a:lnTo>
                  <a:cubicBezTo>
                    <a:pt x="4789" y="4653"/>
                    <a:pt x="4836" y="4639"/>
                    <a:pt x="4869" y="4612"/>
                  </a:cubicBezTo>
                  <a:close/>
                  <a:moveTo>
                    <a:pt x="4917" y="4341"/>
                  </a:moveTo>
                  <a:cubicBezTo>
                    <a:pt x="4962" y="4379"/>
                    <a:pt x="4985" y="4431"/>
                    <a:pt x="4985" y="4498"/>
                  </a:cubicBezTo>
                  <a:cubicBezTo>
                    <a:pt x="4985" y="4564"/>
                    <a:pt x="4962" y="4616"/>
                    <a:pt x="4917" y="4654"/>
                  </a:cubicBezTo>
                  <a:cubicBezTo>
                    <a:pt x="4871" y="4692"/>
                    <a:pt x="4809" y="4711"/>
                    <a:pt x="4729" y="4711"/>
                  </a:cubicBezTo>
                  <a:lnTo>
                    <a:pt x="4561" y="4711"/>
                  </a:lnTo>
                  <a:lnTo>
                    <a:pt x="4561" y="4908"/>
                  </a:lnTo>
                  <a:lnTo>
                    <a:pt x="4495" y="4908"/>
                  </a:lnTo>
                  <a:lnTo>
                    <a:pt x="4495" y="4284"/>
                  </a:lnTo>
                  <a:lnTo>
                    <a:pt x="4729" y="4284"/>
                  </a:lnTo>
                  <a:cubicBezTo>
                    <a:pt x="4809" y="4284"/>
                    <a:pt x="4871" y="4303"/>
                    <a:pt x="4917" y="4341"/>
                  </a:cubicBezTo>
                  <a:moveTo>
                    <a:pt x="3939" y="4812"/>
                  </a:moveTo>
                  <a:cubicBezTo>
                    <a:pt x="3966" y="4797"/>
                    <a:pt x="3987" y="4777"/>
                    <a:pt x="4002" y="4751"/>
                  </a:cubicBezTo>
                  <a:cubicBezTo>
                    <a:pt x="4018" y="4725"/>
                    <a:pt x="4025" y="4695"/>
                    <a:pt x="4025" y="4662"/>
                  </a:cubicBezTo>
                  <a:cubicBezTo>
                    <a:pt x="4025" y="4628"/>
                    <a:pt x="4018" y="4599"/>
                    <a:pt x="4002" y="4573"/>
                  </a:cubicBezTo>
                  <a:cubicBezTo>
                    <a:pt x="3987" y="4547"/>
                    <a:pt x="3966" y="4527"/>
                    <a:pt x="3939" y="4512"/>
                  </a:cubicBezTo>
                  <a:cubicBezTo>
                    <a:pt x="3912" y="4498"/>
                    <a:pt x="3881" y="4491"/>
                    <a:pt x="3846" y="4491"/>
                  </a:cubicBezTo>
                  <a:cubicBezTo>
                    <a:pt x="3812" y="4491"/>
                    <a:pt x="3782" y="4498"/>
                    <a:pt x="3755" y="4512"/>
                  </a:cubicBezTo>
                  <a:cubicBezTo>
                    <a:pt x="3728" y="4526"/>
                    <a:pt x="3707" y="4546"/>
                    <a:pt x="3691" y="4573"/>
                  </a:cubicBezTo>
                  <a:cubicBezTo>
                    <a:pt x="3676" y="4599"/>
                    <a:pt x="3669" y="4628"/>
                    <a:pt x="3669" y="4662"/>
                  </a:cubicBezTo>
                  <a:cubicBezTo>
                    <a:pt x="3669" y="4695"/>
                    <a:pt x="3676" y="4725"/>
                    <a:pt x="3691" y="4751"/>
                  </a:cubicBezTo>
                  <a:cubicBezTo>
                    <a:pt x="3707" y="4777"/>
                    <a:pt x="3728" y="4797"/>
                    <a:pt x="3755" y="4812"/>
                  </a:cubicBezTo>
                  <a:cubicBezTo>
                    <a:pt x="3782" y="4827"/>
                    <a:pt x="3812" y="4834"/>
                    <a:pt x="3846" y="4834"/>
                  </a:cubicBezTo>
                  <a:cubicBezTo>
                    <a:pt x="3880" y="4834"/>
                    <a:pt x="3911" y="4827"/>
                    <a:pt x="3939" y="4812"/>
                  </a:cubicBezTo>
                  <a:moveTo>
                    <a:pt x="4087" y="4439"/>
                  </a:moveTo>
                  <a:lnTo>
                    <a:pt x="4087" y="4851"/>
                  </a:lnTo>
                  <a:cubicBezTo>
                    <a:pt x="4087" y="4930"/>
                    <a:pt x="4067" y="4990"/>
                    <a:pt x="4028" y="5028"/>
                  </a:cubicBezTo>
                  <a:cubicBezTo>
                    <a:pt x="3989" y="5066"/>
                    <a:pt x="3930" y="5085"/>
                    <a:pt x="3852" y="5085"/>
                  </a:cubicBezTo>
                  <a:cubicBezTo>
                    <a:pt x="3808" y="5085"/>
                    <a:pt x="3767" y="5079"/>
                    <a:pt x="3728" y="5066"/>
                  </a:cubicBezTo>
                  <a:cubicBezTo>
                    <a:pt x="3689" y="5053"/>
                    <a:pt x="3657" y="5036"/>
                    <a:pt x="3633" y="5013"/>
                  </a:cubicBezTo>
                  <a:lnTo>
                    <a:pt x="3665" y="4965"/>
                  </a:lnTo>
                  <a:cubicBezTo>
                    <a:pt x="3688" y="4985"/>
                    <a:pt x="3715" y="5001"/>
                    <a:pt x="3748" y="5012"/>
                  </a:cubicBezTo>
                  <a:cubicBezTo>
                    <a:pt x="3780" y="5024"/>
                    <a:pt x="3814" y="5029"/>
                    <a:pt x="3850" y="5029"/>
                  </a:cubicBezTo>
                  <a:cubicBezTo>
                    <a:pt x="3910" y="5029"/>
                    <a:pt x="3953" y="5015"/>
                    <a:pt x="3981" y="4988"/>
                  </a:cubicBezTo>
                  <a:cubicBezTo>
                    <a:pt x="4009" y="4960"/>
                    <a:pt x="4023" y="4917"/>
                    <a:pt x="4023" y="4859"/>
                  </a:cubicBezTo>
                  <a:lnTo>
                    <a:pt x="4023" y="4799"/>
                  </a:lnTo>
                  <a:cubicBezTo>
                    <a:pt x="4004" y="4829"/>
                    <a:pt x="3978" y="4851"/>
                    <a:pt x="3946" y="4867"/>
                  </a:cubicBezTo>
                  <a:cubicBezTo>
                    <a:pt x="3914" y="4882"/>
                    <a:pt x="3879" y="4890"/>
                    <a:pt x="3840" y="4890"/>
                  </a:cubicBezTo>
                  <a:cubicBezTo>
                    <a:pt x="3796" y="4890"/>
                    <a:pt x="3756" y="4880"/>
                    <a:pt x="3720" y="4861"/>
                  </a:cubicBezTo>
                  <a:cubicBezTo>
                    <a:pt x="3684" y="4842"/>
                    <a:pt x="3656" y="4815"/>
                    <a:pt x="3635" y="4780"/>
                  </a:cubicBezTo>
                  <a:cubicBezTo>
                    <a:pt x="3614" y="4745"/>
                    <a:pt x="3604" y="4706"/>
                    <a:pt x="3604" y="4662"/>
                  </a:cubicBezTo>
                  <a:cubicBezTo>
                    <a:pt x="3604" y="4618"/>
                    <a:pt x="3614" y="4578"/>
                    <a:pt x="3635" y="4544"/>
                  </a:cubicBezTo>
                  <a:cubicBezTo>
                    <a:pt x="3656" y="4510"/>
                    <a:pt x="3684" y="4483"/>
                    <a:pt x="3719" y="4464"/>
                  </a:cubicBezTo>
                  <a:cubicBezTo>
                    <a:pt x="3755" y="4445"/>
                    <a:pt x="3795" y="4435"/>
                    <a:pt x="3840" y="4435"/>
                  </a:cubicBezTo>
                  <a:cubicBezTo>
                    <a:pt x="3880" y="4435"/>
                    <a:pt x="3916" y="4443"/>
                    <a:pt x="3948" y="4459"/>
                  </a:cubicBezTo>
                  <a:cubicBezTo>
                    <a:pt x="3981" y="4475"/>
                    <a:pt x="4006" y="4499"/>
                    <a:pt x="4026" y="4529"/>
                  </a:cubicBezTo>
                  <a:lnTo>
                    <a:pt x="4026" y="4439"/>
                  </a:lnTo>
                  <a:lnTo>
                    <a:pt x="4087" y="4439"/>
                  </a:lnTo>
                  <a:close/>
                  <a:moveTo>
                    <a:pt x="3453" y="4487"/>
                  </a:moveTo>
                  <a:cubicBezTo>
                    <a:pt x="3487" y="4521"/>
                    <a:pt x="3505" y="4570"/>
                    <a:pt x="3505" y="4636"/>
                  </a:cubicBezTo>
                  <a:lnTo>
                    <a:pt x="3505" y="4908"/>
                  </a:lnTo>
                  <a:lnTo>
                    <a:pt x="3441" y="4908"/>
                  </a:lnTo>
                  <a:lnTo>
                    <a:pt x="3441" y="4642"/>
                  </a:lnTo>
                  <a:cubicBezTo>
                    <a:pt x="3441" y="4593"/>
                    <a:pt x="3429" y="4556"/>
                    <a:pt x="3405" y="4531"/>
                  </a:cubicBezTo>
                  <a:cubicBezTo>
                    <a:pt x="3380" y="4505"/>
                    <a:pt x="3345" y="4492"/>
                    <a:pt x="3300" y="4492"/>
                  </a:cubicBezTo>
                  <a:cubicBezTo>
                    <a:pt x="3249" y="4492"/>
                    <a:pt x="3209" y="4507"/>
                    <a:pt x="3180" y="4537"/>
                  </a:cubicBezTo>
                  <a:cubicBezTo>
                    <a:pt x="3150" y="4567"/>
                    <a:pt x="3136" y="4609"/>
                    <a:pt x="3136" y="4662"/>
                  </a:cubicBezTo>
                  <a:lnTo>
                    <a:pt x="3136" y="4908"/>
                  </a:lnTo>
                  <a:lnTo>
                    <a:pt x="3072" y="4908"/>
                  </a:lnTo>
                  <a:lnTo>
                    <a:pt x="3072" y="4439"/>
                  </a:lnTo>
                  <a:lnTo>
                    <a:pt x="3133" y="4439"/>
                  </a:lnTo>
                  <a:lnTo>
                    <a:pt x="3133" y="4525"/>
                  </a:lnTo>
                  <a:cubicBezTo>
                    <a:pt x="3150" y="4497"/>
                    <a:pt x="3174" y="4475"/>
                    <a:pt x="3205" y="4459"/>
                  </a:cubicBezTo>
                  <a:cubicBezTo>
                    <a:pt x="3236" y="4443"/>
                    <a:pt x="3271" y="4435"/>
                    <a:pt x="3312" y="4435"/>
                  </a:cubicBezTo>
                  <a:cubicBezTo>
                    <a:pt x="3371" y="4435"/>
                    <a:pt x="3418" y="4452"/>
                    <a:pt x="3453" y="4487"/>
                  </a:cubicBezTo>
                  <a:close/>
                  <a:moveTo>
                    <a:pt x="2858" y="4439"/>
                  </a:moveTo>
                  <a:lnTo>
                    <a:pt x="2922" y="4439"/>
                  </a:lnTo>
                  <a:lnTo>
                    <a:pt x="2922" y="4908"/>
                  </a:lnTo>
                  <a:lnTo>
                    <a:pt x="2858" y="4908"/>
                  </a:lnTo>
                  <a:lnTo>
                    <a:pt x="2858" y="4439"/>
                  </a:lnTo>
                  <a:close/>
                  <a:moveTo>
                    <a:pt x="2858" y="4323"/>
                  </a:moveTo>
                  <a:cubicBezTo>
                    <a:pt x="2849" y="4314"/>
                    <a:pt x="2844" y="4303"/>
                    <a:pt x="2844" y="4291"/>
                  </a:cubicBezTo>
                  <a:cubicBezTo>
                    <a:pt x="2844" y="4279"/>
                    <a:pt x="2849" y="4268"/>
                    <a:pt x="2858" y="4260"/>
                  </a:cubicBezTo>
                  <a:cubicBezTo>
                    <a:pt x="2867" y="4251"/>
                    <a:pt x="2878" y="4246"/>
                    <a:pt x="2891" y="4246"/>
                  </a:cubicBezTo>
                  <a:cubicBezTo>
                    <a:pt x="2904" y="4246"/>
                    <a:pt x="2915" y="4250"/>
                    <a:pt x="2924" y="4259"/>
                  </a:cubicBezTo>
                  <a:cubicBezTo>
                    <a:pt x="2933" y="4268"/>
                    <a:pt x="2937" y="4278"/>
                    <a:pt x="2937" y="4290"/>
                  </a:cubicBezTo>
                  <a:cubicBezTo>
                    <a:pt x="2937" y="4303"/>
                    <a:pt x="2933" y="4314"/>
                    <a:pt x="2924" y="4323"/>
                  </a:cubicBezTo>
                  <a:cubicBezTo>
                    <a:pt x="2915" y="4332"/>
                    <a:pt x="2904" y="4336"/>
                    <a:pt x="2891" y="4336"/>
                  </a:cubicBezTo>
                  <a:cubicBezTo>
                    <a:pt x="2878" y="4336"/>
                    <a:pt x="2867" y="4332"/>
                    <a:pt x="2858" y="4323"/>
                  </a:cubicBezTo>
                  <a:close/>
                  <a:moveTo>
                    <a:pt x="2643" y="4459"/>
                  </a:moveTo>
                  <a:cubicBezTo>
                    <a:pt x="2673" y="4443"/>
                    <a:pt x="2710" y="4435"/>
                    <a:pt x="2753" y="4435"/>
                  </a:cubicBezTo>
                  <a:lnTo>
                    <a:pt x="2753" y="4497"/>
                  </a:lnTo>
                  <a:lnTo>
                    <a:pt x="2738" y="4496"/>
                  </a:lnTo>
                  <a:cubicBezTo>
                    <a:pt x="2688" y="4496"/>
                    <a:pt x="2650" y="4511"/>
                    <a:pt x="2622" y="4541"/>
                  </a:cubicBezTo>
                  <a:cubicBezTo>
                    <a:pt x="2594" y="4572"/>
                    <a:pt x="2580" y="4614"/>
                    <a:pt x="2580" y="4669"/>
                  </a:cubicBezTo>
                  <a:lnTo>
                    <a:pt x="2580" y="4908"/>
                  </a:lnTo>
                  <a:lnTo>
                    <a:pt x="2516" y="4908"/>
                  </a:lnTo>
                  <a:lnTo>
                    <a:pt x="2516" y="4439"/>
                  </a:lnTo>
                  <a:lnTo>
                    <a:pt x="2577" y="4439"/>
                  </a:lnTo>
                  <a:lnTo>
                    <a:pt x="2577" y="4531"/>
                  </a:lnTo>
                  <a:cubicBezTo>
                    <a:pt x="2592" y="4499"/>
                    <a:pt x="2614" y="4475"/>
                    <a:pt x="2643" y="4459"/>
                  </a:cubicBezTo>
                  <a:close/>
                  <a:moveTo>
                    <a:pt x="2053" y="4533"/>
                  </a:moveTo>
                  <a:cubicBezTo>
                    <a:pt x="2023" y="4562"/>
                    <a:pt x="2005" y="4599"/>
                    <a:pt x="2001" y="4646"/>
                  </a:cubicBezTo>
                  <a:lnTo>
                    <a:pt x="2335" y="4646"/>
                  </a:lnTo>
                  <a:cubicBezTo>
                    <a:pt x="2330" y="4599"/>
                    <a:pt x="2313" y="4562"/>
                    <a:pt x="2282" y="4533"/>
                  </a:cubicBezTo>
                  <a:cubicBezTo>
                    <a:pt x="2252" y="4504"/>
                    <a:pt x="2213" y="4490"/>
                    <a:pt x="2167" y="4490"/>
                  </a:cubicBezTo>
                  <a:cubicBezTo>
                    <a:pt x="2122" y="4490"/>
                    <a:pt x="2084" y="4504"/>
                    <a:pt x="2053" y="4533"/>
                  </a:cubicBezTo>
                  <a:close/>
                  <a:moveTo>
                    <a:pt x="2395" y="4693"/>
                  </a:moveTo>
                  <a:lnTo>
                    <a:pt x="2001" y="4693"/>
                  </a:lnTo>
                  <a:cubicBezTo>
                    <a:pt x="2005" y="4742"/>
                    <a:pt x="2023" y="4781"/>
                    <a:pt x="2057" y="4811"/>
                  </a:cubicBezTo>
                  <a:cubicBezTo>
                    <a:pt x="2091" y="4841"/>
                    <a:pt x="2134" y="4856"/>
                    <a:pt x="2186" y="4856"/>
                  </a:cubicBezTo>
                  <a:cubicBezTo>
                    <a:pt x="2215" y="4856"/>
                    <a:pt x="2242" y="4851"/>
                    <a:pt x="2267" y="4841"/>
                  </a:cubicBezTo>
                  <a:cubicBezTo>
                    <a:pt x="2291" y="4830"/>
                    <a:pt x="2312" y="4815"/>
                    <a:pt x="2330" y="4795"/>
                  </a:cubicBezTo>
                  <a:lnTo>
                    <a:pt x="2366" y="4836"/>
                  </a:lnTo>
                  <a:cubicBezTo>
                    <a:pt x="2345" y="4861"/>
                    <a:pt x="2319" y="4880"/>
                    <a:pt x="2288" y="4893"/>
                  </a:cubicBezTo>
                  <a:cubicBezTo>
                    <a:pt x="2256" y="4906"/>
                    <a:pt x="2222" y="4912"/>
                    <a:pt x="2184" y="4912"/>
                  </a:cubicBezTo>
                  <a:cubicBezTo>
                    <a:pt x="2136" y="4912"/>
                    <a:pt x="2093" y="4902"/>
                    <a:pt x="2056" y="4882"/>
                  </a:cubicBezTo>
                  <a:cubicBezTo>
                    <a:pt x="2019" y="4861"/>
                    <a:pt x="1990" y="4833"/>
                    <a:pt x="1969" y="4796"/>
                  </a:cubicBezTo>
                  <a:cubicBezTo>
                    <a:pt x="1948" y="4760"/>
                    <a:pt x="1938" y="4719"/>
                    <a:pt x="1938" y="4673"/>
                  </a:cubicBezTo>
                  <a:cubicBezTo>
                    <a:pt x="1938" y="4628"/>
                    <a:pt x="1948" y="4587"/>
                    <a:pt x="1968" y="4550"/>
                  </a:cubicBezTo>
                  <a:cubicBezTo>
                    <a:pt x="1988" y="4514"/>
                    <a:pt x="2015" y="4486"/>
                    <a:pt x="2050" y="4466"/>
                  </a:cubicBezTo>
                  <a:cubicBezTo>
                    <a:pt x="2085" y="4445"/>
                    <a:pt x="2124" y="4435"/>
                    <a:pt x="2167" y="4435"/>
                  </a:cubicBezTo>
                  <a:cubicBezTo>
                    <a:pt x="2211" y="4435"/>
                    <a:pt x="2250" y="4445"/>
                    <a:pt x="2285" y="4466"/>
                  </a:cubicBezTo>
                  <a:cubicBezTo>
                    <a:pt x="2319" y="4486"/>
                    <a:pt x="2346" y="4514"/>
                    <a:pt x="2366" y="4550"/>
                  </a:cubicBezTo>
                  <a:cubicBezTo>
                    <a:pt x="2386" y="4586"/>
                    <a:pt x="2395" y="4627"/>
                    <a:pt x="2395" y="4673"/>
                  </a:cubicBezTo>
                  <a:lnTo>
                    <a:pt x="2395" y="4693"/>
                  </a:lnTo>
                  <a:close/>
                  <a:moveTo>
                    <a:pt x="1912" y="4439"/>
                  </a:moveTo>
                  <a:lnTo>
                    <a:pt x="1734" y="4908"/>
                  </a:lnTo>
                  <a:lnTo>
                    <a:pt x="1674" y="4908"/>
                  </a:lnTo>
                  <a:lnTo>
                    <a:pt x="1525" y="4524"/>
                  </a:lnTo>
                  <a:lnTo>
                    <a:pt x="1377" y="4908"/>
                  </a:lnTo>
                  <a:lnTo>
                    <a:pt x="1317" y="4908"/>
                  </a:lnTo>
                  <a:lnTo>
                    <a:pt x="1140" y="4439"/>
                  </a:lnTo>
                  <a:lnTo>
                    <a:pt x="1201" y="4439"/>
                  </a:lnTo>
                  <a:lnTo>
                    <a:pt x="1348" y="4837"/>
                  </a:lnTo>
                  <a:lnTo>
                    <a:pt x="1500" y="4439"/>
                  </a:lnTo>
                  <a:lnTo>
                    <a:pt x="1554" y="4439"/>
                  </a:lnTo>
                  <a:lnTo>
                    <a:pt x="1704" y="4837"/>
                  </a:lnTo>
                  <a:lnTo>
                    <a:pt x="1854" y="4439"/>
                  </a:lnTo>
                  <a:lnTo>
                    <a:pt x="1912" y="4439"/>
                  </a:lnTo>
                  <a:close/>
                  <a:moveTo>
                    <a:pt x="965" y="4833"/>
                  </a:moveTo>
                  <a:cubicBezTo>
                    <a:pt x="992" y="4818"/>
                    <a:pt x="1013" y="4797"/>
                    <a:pt x="1027" y="4769"/>
                  </a:cubicBezTo>
                  <a:cubicBezTo>
                    <a:pt x="1042" y="4741"/>
                    <a:pt x="1050" y="4709"/>
                    <a:pt x="1050" y="4673"/>
                  </a:cubicBezTo>
                  <a:cubicBezTo>
                    <a:pt x="1050" y="4638"/>
                    <a:pt x="1042" y="4606"/>
                    <a:pt x="1027" y="4578"/>
                  </a:cubicBezTo>
                  <a:cubicBezTo>
                    <a:pt x="1013" y="4550"/>
                    <a:pt x="992" y="4528"/>
                    <a:pt x="965" y="4513"/>
                  </a:cubicBezTo>
                  <a:cubicBezTo>
                    <a:pt x="939" y="4498"/>
                    <a:pt x="909" y="4491"/>
                    <a:pt x="875" y="4491"/>
                  </a:cubicBezTo>
                  <a:cubicBezTo>
                    <a:pt x="842" y="4491"/>
                    <a:pt x="812" y="4498"/>
                    <a:pt x="786" y="4513"/>
                  </a:cubicBezTo>
                  <a:cubicBezTo>
                    <a:pt x="759" y="4528"/>
                    <a:pt x="738" y="4550"/>
                    <a:pt x="723" y="4578"/>
                  </a:cubicBezTo>
                  <a:cubicBezTo>
                    <a:pt x="708" y="4606"/>
                    <a:pt x="700" y="4638"/>
                    <a:pt x="700" y="4673"/>
                  </a:cubicBezTo>
                  <a:cubicBezTo>
                    <a:pt x="700" y="4709"/>
                    <a:pt x="708" y="4741"/>
                    <a:pt x="723" y="4769"/>
                  </a:cubicBezTo>
                  <a:cubicBezTo>
                    <a:pt x="738" y="4797"/>
                    <a:pt x="759" y="4818"/>
                    <a:pt x="786" y="4833"/>
                  </a:cubicBezTo>
                  <a:cubicBezTo>
                    <a:pt x="812" y="4849"/>
                    <a:pt x="842" y="4856"/>
                    <a:pt x="875" y="4856"/>
                  </a:cubicBezTo>
                  <a:cubicBezTo>
                    <a:pt x="909" y="4856"/>
                    <a:pt x="939" y="4849"/>
                    <a:pt x="965" y="4833"/>
                  </a:cubicBezTo>
                  <a:close/>
                  <a:moveTo>
                    <a:pt x="753" y="4882"/>
                  </a:moveTo>
                  <a:cubicBezTo>
                    <a:pt x="717" y="4861"/>
                    <a:pt x="688" y="4833"/>
                    <a:pt x="667" y="4796"/>
                  </a:cubicBezTo>
                  <a:cubicBezTo>
                    <a:pt x="646" y="4760"/>
                    <a:pt x="636" y="4719"/>
                    <a:pt x="636" y="4673"/>
                  </a:cubicBezTo>
                  <a:cubicBezTo>
                    <a:pt x="636" y="4628"/>
                    <a:pt x="646" y="4587"/>
                    <a:pt x="667" y="4550"/>
                  </a:cubicBezTo>
                  <a:cubicBezTo>
                    <a:pt x="688" y="4514"/>
                    <a:pt x="717" y="4486"/>
                    <a:pt x="753" y="4466"/>
                  </a:cubicBezTo>
                  <a:cubicBezTo>
                    <a:pt x="789" y="4445"/>
                    <a:pt x="830" y="4435"/>
                    <a:pt x="875" y="4435"/>
                  </a:cubicBezTo>
                  <a:cubicBezTo>
                    <a:pt x="921" y="4435"/>
                    <a:pt x="962" y="4445"/>
                    <a:pt x="998" y="4466"/>
                  </a:cubicBezTo>
                  <a:cubicBezTo>
                    <a:pt x="1034" y="4486"/>
                    <a:pt x="1063" y="4514"/>
                    <a:pt x="1083" y="4550"/>
                  </a:cubicBezTo>
                  <a:cubicBezTo>
                    <a:pt x="1104" y="4587"/>
                    <a:pt x="1114" y="4628"/>
                    <a:pt x="1114" y="4673"/>
                  </a:cubicBezTo>
                  <a:cubicBezTo>
                    <a:pt x="1114" y="4719"/>
                    <a:pt x="1104" y="4760"/>
                    <a:pt x="1083" y="4796"/>
                  </a:cubicBezTo>
                  <a:cubicBezTo>
                    <a:pt x="1063" y="4833"/>
                    <a:pt x="1034" y="4861"/>
                    <a:pt x="998" y="4882"/>
                  </a:cubicBezTo>
                  <a:cubicBezTo>
                    <a:pt x="962" y="4902"/>
                    <a:pt x="921" y="4912"/>
                    <a:pt x="875" y="4912"/>
                  </a:cubicBezTo>
                  <a:cubicBezTo>
                    <a:pt x="830" y="4912"/>
                    <a:pt x="789" y="4902"/>
                    <a:pt x="753" y="4882"/>
                  </a:cubicBezTo>
                  <a:close/>
                  <a:moveTo>
                    <a:pt x="468" y="4612"/>
                  </a:moveTo>
                  <a:cubicBezTo>
                    <a:pt x="501" y="4585"/>
                    <a:pt x="517" y="4547"/>
                    <a:pt x="517" y="4498"/>
                  </a:cubicBezTo>
                  <a:cubicBezTo>
                    <a:pt x="517" y="4447"/>
                    <a:pt x="501" y="4408"/>
                    <a:pt x="468" y="4381"/>
                  </a:cubicBezTo>
                  <a:cubicBezTo>
                    <a:pt x="435" y="4354"/>
                    <a:pt x="388" y="4341"/>
                    <a:pt x="326" y="4341"/>
                  </a:cubicBezTo>
                  <a:lnTo>
                    <a:pt x="159" y="4341"/>
                  </a:lnTo>
                  <a:lnTo>
                    <a:pt x="159" y="4653"/>
                  </a:lnTo>
                  <a:lnTo>
                    <a:pt x="326" y="4653"/>
                  </a:lnTo>
                  <a:cubicBezTo>
                    <a:pt x="388" y="4653"/>
                    <a:pt x="435" y="4639"/>
                    <a:pt x="468" y="4612"/>
                  </a:cubicBezTo>
                  <a:moveTo>
                    <a:pt x="515" y="4341"/>
                  </a:moveTo>
                  <a:cubicBezTo>
                    <a:pt x="560" y="4379"/>
                    <a:pt x="583" y="4431"/>
                    <a:pt x="583" y="4498"/>
                  </a:cubicBezTo>
                  <a:cubicBezTo>
                    <a:pt x="583" y="4564"/>
                    <a:pt x="560" y="4616"/>
                    <a:pt x="515" y="4654"/>
                  </a:cubicBezTo>
                  <a:cubicBezTo>
                    <a:pt x="470" y="4692"/>
                    <a:pt x="407" y="4711"/>
                    <a:pt x="327" y="4711"/>
                  </a:cubicBezTo>
                  <a:lnTo>
                    <a:pt x="159" y="4711"/>
                  </a:lnTo>
                  <a:lnTo>
                    <a:pt x="159" y="4908"/>
                  </a:lnTo>
                  <a:lnTo>
                    <a:pt x="93" y="4908"/>
                  </a:lnTo>
                  <a:lnTo>
                    <a:pt x="93" y="4284"/>
                  </a:lnTo>
                  <a:lnTo>
                    <a:pt x="327" y="4284"/>
                  </a:lnTo>
                  <a:cubicBezTo>
                    <a:pt x="407" y="4284"/>
                    <a:pt x="470" y="4303"/>
                    <a:pt x="515" y="4341"/>
                  </a:cubicBezTo>
                  <a:close/>
                </a:path>
              </a:pathLst>
            </a:custGeom>
            <a:solidFill>
              <a:srgbClr val="112F64"/>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6">
              <a:extLst>
                <a:ext uri="{FF2B5EF4-FFF2-40B4-BE49-F238E27FC236}">
                  <a16:creationId xmlns:a16="http://schemas.microsoft.com/office/drawing/2014/main" id="{3DD47092-B241-4522-BA6E-C3094A35F1DD}"/>
                </a:ext>
              </a:extLst>
            </p:cNvPr>
            <p:cNvSpPr>
              <a:spLocks noEditPoints="1"/>
            </p:cNvSpPr>
            <p:nvPr userDrawn="1"/>
          </p:nvSpPr>
          <p:spPr bwMode="auto">
            <a:xfrm>
              <a:off x="1481" y="1882"/>
              <a:ext cx="4755" cy="713"/>
            </a:xfrm>
            <a:custGeom>
              <a:avLst/>
              <a:gdLst>
                <a:gd name="T0" fmla="*/ 9402 w 9905"/>
                <a:gd name="T1" fmla="*/ 1485 h 1485"/>
                <a:gd name="T2" fmla="*/ 9609 w 9905"/>
                <a:gd name="T3" fmla="*/ 673 h 1485"/>
                <a:gd name="T4" fmla="*/ 9235 w 9905"/>
                <a:gd name="T5" fmla="*/ 387 h 1485"/>
                <a:gd name="T6" fmla="*/ 9645 w 9905"/>
                <a:gd name="T7" fmla="*/ 272 h 1485"/>
                <a:gd name="T8" fmla="*/ 9852 w 9905"/>
                <a:gd name="T9" fmla="*/ 188 h 1485"/>
                <a:gd name="T10" fmla="*/ 9440 w 9905"/>
                <a:gd name="T11" fmla="*/ 0 h 1485"/>
                <a:gd name="T12" fmla="*/ 9297 w 9905"/>
                <a:gd name="T13" fmla="*/ 792 h 1485"/>
                <a:gd name="T14" fmla="*/ 9655 w 9905"/>
                <a:gd name="T15" fmla="*/ 1077 h 1485"/>
                <a:gd name="T16" fmla="*/ 9102 w 9905"/>
                <a:gd name="T17" fmla="*/ 1105 h 1485"/>
                <a:gd name="T18" fmla="*/ 7727 w 9905"/>
                <a:gd name="T19" fmla="*/ 1267 h 1485"/>
                <a:gd name="T20" fmla="*/ 8704 w 9905"/>
                <a:gd name="T21" fmla="*/ 1072 h 1485"/>
                <a:gd name="T22" fmla="*/ 8168 w 9905"/>
                <a:gd name="T23" fmla="*/ 558 h 1485"/>
                <a:gd name="T24" fmla="*/ 8252 w 9905"/>
                <a:gd name="T25" fmla="*/ 227 h 1485"/>
                <a:gd name="T26" fmla="*/ 8543 w 9905"/>
                <a:gd name="T27" fmla="*/ 300 h 1485"/>
                <a:gd name="T28" fmla="*/ 8567 w 9905"/>
                <a:gd name="T29" fmla="*/ 73 h 1485"/>
                <a:gd name="T30" fmla="*/ 7785 w 9905"/>
                <a:gd name="T31" fmla="*/ 395 h 1485"/>
                <a:gd name="T32" fmla="*/ 8292 w 9905"/>
                <a:gd name="T33" fmla="*/ 885 h 1485"/>
                <a:gd name="T34" fmla="*/ 8225 w 9905"/>
                <a:gd name="T35" fmla="*/ 1257 h 1485"/>
                <a:gd name="T36" fmla="*/ 7727 w 9905"/>
                <a:gd name="T37" fmla="*/ 1267 h 1485"/>
                <a:gd name="T38" fmla="*/ 3354 w 9905"/>
                <a:gd name="T39" fmla="*/ 1485 h 1485"/>
                <a:gd name="T40" fmla="*/ 3560 w 9905"/>
                <a:gd name="T41" fmla="*/ 673 h 1485"/>
                <a:gd name="T42" fmla="*/ 3187 w 9905"/>
                <a:gd name="T43" fmla="*/ 387 h 1485"/>
                <a:gd name="T44" fmla="*/ 3597 w 9905"/>
                <a:gd name="T45" fmla="*/ 272 h 1485"/>
                <a:gd name="T46" fmla="*/ 3805 w 9905"/>
                <a:gd name="T47" fmla="*/ 188 h 1485"/>
                <a:gd name="T48" fmla="*/ 3393 w 9905"/>
                <a:gd name="T49" fmla="*/ 0 h 1485"/>
                <a:gd name="T50" fmla="*/ 3250 w 9905"/>
                <a:gd name="T51" fmla="*/ 792 h 1485"/>
                <a:gd name="T52" fmla="*/ 3609 w 9905"/>
                <a:gd name="T53" fmla="*/ 1077 h 1485"/>
                <a:gd name="T54" fmla="*/ 3055 w 9905"/>
                <a:gd name="T55" fmla="*/ 1105 h 1485"/>
                <a:gd name="T56" fmla="*/ 5023 w 9905"/>
                <a:gd name="T57" fmla="*/ 0 h 1485"/>
                <a:gd name="T58" fmla="*/ 4905 w 9905"/>
                <a:gd name="T59" fmla="*/ 1370 h 1485"/>
                <a:gd name="T60" fmla="*/ 5140 w 9905"/>
                <a:gd name="T61" fmla="*/ 1370 h 1485"/>
                <a:gd name="T62" fmla="*/ 5868 w 9905"/>
                <a:gd name="T63" fmla="*/ 1395 h 1485"/>
                <a:gd name="T64" fmla="*/ 6117 w 9905"/>
                <a:gd name="T65" fmla="*/ 1372 h 1485"/>
                <a:gd name="T66" fmla="*/ 5884 w 9905"/>
                <a:gd name="T67" fmla="*/ 10 h 1485"/>
                <a:gd name="T68" fmla="*/ 5152 w 9905"/>
                <a:gd name="T69" fmla="*/ 88 h 1485"/>
                <a:gd name="T70" fmla="*/ 882 w 9905"/>
                <a:gd name="T71" fmla="*/ 682 h 1485"/>
                <a:gd name="T72" fmla="*/ 652 w 9905"/>
                <a:gd name="T73" fmla="*/ 1475 h 1485"/>
                <a:gd name="T74" fmla="*/ 0 w 9905"/>
                <a:gd name="T75" fmla="*/ 122 h 1485"/>
                <a:gd name="T76" fmla="*/ 622 w 9905"/>
                <a:gd name="T77" fmla="*/ 7 h 1485"/>
                <a:gd name="T78" fmla="*/ 882 w 9905"/>
                <a:gd name="T79" fmla="*/ 682 h 1485"/>
                <a:gd name="T80" fmla="*/ 592 w 9905"/>
                <a:gd name="T81" fmla="*/ 595 h 1485"/>
                <a:gd name="T82" fmla="*/ 592 w 9905"/>
                <a:gd name="T83" fmla="*/ 238 h 1485"/>
                <a:gd name="T84" fmla="*/ 237 w 9905"/>
                <a:gd name="T85" fmla="*/ 595 h 1485"/>
                <a:gd name="T86" fmla="*/ 859 w 9905"/>
                <a:gd name="T87" fmla="*/ 1032 h 1485"/>
                <a:gd name="T88" fmla="*/ 237 w 9905"/>
                <a:gd name="T89" fmla="*/ 812 h 1485"/>
                <a:gd name="T90" fmla="*/ 607 w 9905"/>
                <a:gd name="T91" fmla="*/ 1250 h 1485"/>
                <a:gd name="T92" fmla="*/ 7492 w 9905"/>
                <a:gd name="T93" fmla="*/ 125 h 1485"/>
                <a:gd name="T94" fmla="*/ 6642 w 9905"/>
                <a:gd name="T95" fmla="*/ 10 h 1485"/>
                <a:gd name="T96" fmla="*/ 6527 w 9905"/>
                <a:gd name="T97" fmla="*/ 1365 h 1485"/>
                <a:gd name="T98" fmla="*/ 7484 w 9905"/>
                <a:gd name="T99" fmla="*/ 1478 h 1485"/>
                <a:gd name="T100" fmla="*/ 6764 w 9905"/>
                <a:gd name="T101" fmla="*/ 1248 h 1485"/>
                <a:gd name="T102" fmla="*/ 7307 w 9905"/>
                <a:gd name="T103" fmla="*/ 822 h 1485"/>
                <a:gd name="T104" fmla="*/ 7307 w 9905"/>
                <a:gd name="T105" fmla="*/ 592 h 1485"/>
                <a:gd name="T106" fmla="*/ 6764 w 9905"/>
                <a:gd name="T107" fmla="*/ 240 h 1485"/>
                <a:gd name="T108" fmla="*/ 1635 w 9905"/>
                <a:gd name="T109" fmla="*/ 893 h 1485"/>
                <a:gd name="T110" fmla="*/ 1517 w 9905"/>
                <a:gd name="T111" fmla="*/ 0 h 1485"/>
                <a:gd name="T112" fmla="*/ 1399 w 9905"/>
                <a:gd name="T113" fmla="*/ 885 h 1485"/>
                <a:gd name="T114" fmla="*/ 2605 w 9905"/>
                <a:gd name="T115" fmla="*/ 885 h 1485"/>
                <a:gd name="T116" fmla="*/ 2367 w 9905"/>
                <a:gd name="T117" fmla="*/ 7 h 1485"/>
                <a:gd name="T118" fmla="*/ 2002 w 9905"/>
                <a:gd name="T119" fmla="*/ 1260 h 1485"/>
                <a:gd name="T120" fmla="*/ 4320 w 9905"/>
                <a:gd name="T121" fmla="*/ 0 h 1485"/>
                <a:gd name="T122" fmla="*/ 4439 w 9905"/>
                <a:gd name="T123" fmla="*/ 1477 h 1485"/>
                <a:gd name="T124" fmla="*/ 4202 w 9905"/>
                <a:gd name="T125" fmla="*/ 115 h 1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905" h="1485">
                  <a:moveTo>
                    <a:pt x="8929" y="1267"/>
                  </a:moveTo>
                  <a:cubicBezTo>
                    <a:pt x="8959" y="1305"/>
                    <a:pt x="9097" y="1485"/>
                    <a:pt x="9402" y="1485"/>
                  </a:cubicBezTo>
                  <a:cubicBezTo>
                    <a:pt x="9700" y="1485"/>
                    <a:pt x="9905" y="1313"/>
                    <a:pt x="9905" y="1072"/>
                  </a:cubicBezTo>
                  <a:cubicBezTo>
                    <a:pt x="9905" y="913"/>
                    <a:pt x="9842" y="787"/>
                    <a:pt x="9609" y="673"/>
                  </a:cubicBezTo>
                  <a:cubicBezTo>
                    <a:pt x="9545" y="643"/>
                    <a:pt x="9368" y="558"/>
                    <a:pt x="9368" y="558"/>
                  </a:cubicBezTo>
                  <a:cubicBezTo>
                    <a:pt x="9277" y="513"/>
                    <a:pt x="9235" y="460"/>
                    <a:pt x="9235" y="387"/>
                  </a:cubicBezTo>
                  <a:cubicBezTo>
                    <a:pt x="9235" y="310"/>
                    <a:pt x="9298" y="227"/>
                    <a:pt x="9452" y="227"/>
                  </a:cubicBezTo>
                  <a:cubicBezTo>
                    <a:pt x="9540" y="227"/>
                    <a:pt x="9609" y="255"/>
                    <a:pt x="9645" y="272"/>
                  </a:cubicBezTo>
                  <a:cubicBezTo>
                    <a:pt x="9662" y="280"/>
                    <a:pt x="9704" y="300"/>
                    <a:pt x="9743" y="300"/>
                  </a:cubicBezTo>
                  <a:cubicBezTo>
                    <a:pt x="9795" y="300"/>
                    <a:pt x="9852" y="263"/>
                    <a:pt x="9852" y="188"/>
                  </a:cubicBezTo>
                  <a:cubicBezTo>
                    <a:pt x="9852" y="125"/>
                    <a:pt x="9807" y="92"/>
                    <a:pt x="9767" y="73"/>
                  </a:cubicBezTo>
                  <a:cubicBezTo>
                    <a:pt x="9704" y="43"/>
                    <a:pt x="9605" y="0"/>
                    <a:pt x="9440" y="0"/>
                  </a:cubicBezTo>
                  <a:cubicBezTo>
                    <a:pt x="9179" y="0"/>
                    <a:pt x="8985" y="165"/>
                    <a:pt x="8985" y="395"/>
                  </a:cubicBezTo>
                  <a:cubicBezTo>
                    <a:pt x="8985" y="605"/>
                    <a:pt x="9125" y="710"/>
                    <a:pt x="9297" y="792"/>
                  </a:cubicBezTo>
                  <a:cubicBezTo>
                    <a:pt x="9329" y="807"/>
                    <a:pt x="9455" y="868"/>
                    <a:pt x="9490" y="885"/>
                  </a:cubicBezTo>
                  <a:cubicBezTo>
                    <a:pt x="9598" y="937"/>
                    <a:pt x="9655" y="987"/>
                    <a:pt x="9655" y="1077"/>
                  </a:cubicBezTo>
                  <a:cubicBezTo>
                    <a:pt x="9655" y="1175"/>
                    <a:pt x="9564" y="1257"/>
                    <a:pt x="9425" y="1257"/>
                  </a:cubicBezTo>
                  <a:cubicBezTo>
                    <a:pt x="9227" y="1257"/>
                    <a:pt x="9120" y="1127"/>
                    <a:pt x="9102" y="1105"/>
                  </a:cubicBezTo>
                  <a:lnTo>
                    <a:pt x="8929" y="1267"/>
                  </a:lnTo>
                  <a:close/>
                  <a:moveTo>
                    <a:pt x="7727" y="1267"/>
                  </a:moveTo>
                  <a:cubicBezTo>
                    <a:pt x="7757" y="1305"/>
                    <a:pt x="7897" y="1485"/>
                    <a:pt x="8202" y="1485"/>
                  </a:cubicBezTo>
                  <a:cubicBezTo>
                    <a:pt x="8500" y="1485"/>
                    <a:pt x="8704" y="1313"/>
                    <a:pt x="8704" y="1072"/>
                  </a:cubicBezTo>
                  <a:cubicBezTo>
                    <a:pt x="8704" y="913"/>
                    <a:pt x="8642" y="787"/>
                    <a:pt x="8407" y="673"/>
                  </a:cubicBezTo>
                  <a:cubicBezTo>
                    <a:pt x="8345" y="643"/>
                    <a:pt x="8168" y="558"/>
                    <a:pt x="8168" y="558"/>
                  </a:cubicBezTo>
                  <a:cubicBezTo>
                    <a:pt x="8075" y="513"/>
                    <a:pt x="8034" y="460"/>
                    <a:pt x="8034" y="387"/>
                  </a:cubicBezTo>
                  <a:cubicBezTo>
                    <a:pt x="8034" y="310"/>
                    <a:pt x="8097" y="227"/>
                    <a:pt x="8252" y="227"/>
                  </a:cubicBezTo>
                  <a:cubicBezTo>
                    <a:pt x="8340" y="227"/>
                    <a:pt x="8407" y="255"/>
                    <a:pt x="8443" y="272"/>
                  </a:cubicBezTo>
                  <a:cubicBezTo>
                    <a:pt x="8462" y="280"/>
                    <a:pt x="8504" y="300"/>
                    <a:pt x="8543" y="300"/>
                  </a:cubicBezTo>
                  <a:cubicBezTo>
                    <a:pt x="8595" y="300"/>
                    <a:pt x="8652" y="263"/>
                    <a:pt x="8652" y="188"/>
                  </a:cubicBezTo>
                  <a:cubicBezTo>
                    <a:pt x="8652" y="125"/>
                    <a:pt x="8607" y="92"/>
                    <a:pt x="8567" y="73"/>
                  </a:cubicBezTo>
                  <a:cubicBezTo>
                    <a:pt x="8504" y="43"/>
                    <a:pt x="8404" y="0"/>
                    <a:pt x="8240" y="0"/>
                  </a:cubicBezTo>
                  <a:cubicBezTo>
                    <a:pt x="7979" y="0"/>
                    <a:pt x="7785" y="165"/>
                    <a:pt x="7785" y="395"/>
                  </a:cubicBezTo>
                  <a:cubicBezTo>
                    <a:pt x="7785" y="605"/>
                    <a:pt x="7927" y="710"/>
                    <a:pt x="8097" y="792"/>
                  </a:cubicBezTo>
                  <a:cubicBezTo>
                    <a:pt x="8130" y="807"/>
                    <a:pt x="8257" y="868"/>
                    <a:pt x="8292" y="885"/>
                  </a:cubicBezTo>
                  <a:cubicBezTo>
                    <a:pt x="8398" y="937"/>
                    <a:pt x="8455" y="987"/>
                    <a:pt x="8455" y="1077"/>
                  </a:cubicBezTo>
                  <a:cubicBezTo>
                    <a:pt x="8455" y="1175"/>
                    <a:pt x="8364" y="1257"/>
                    <a:pt x="8225" y="1257"/>
                  </a:cubicBezTo>
                  <a:cubicBezTo>
                    <a:pt x="8025" y="1257"/>
                    <a:pt x="7920" y="1127"/>
                    <a:pt x="7902" y="1105"/>
                  </a:cubicBezTo>
                  <a:lnTo>
                    <a:pt x="7727" y="1267"/>
                  </a:lnTo>
                  <a:close/>
                  <a:moveTo>
                    <a:pt x="2880" y="1267"/>
                  </a:moveTo>
                  <a:cubicBezTo>
                    <a:pt x="2910" y="1305"/>
                    <a:pt x="3049" y="1485"/>
                    <a:pt x="3354" y="1485"/>
                  </a:cubicBezTo>
                  <a:cubicBezTo>
                    <a:pt x="3654" y="1485"/>
                    <a:pt x="3857" y="1313"/>
                    <a:pt x="3857" y="1072"/>
                  </a:cubicBezTo>
                  <a:cubicBezTo>
                    <a:pt x="3857" y="913"/>
                    <a:pt x="3795" y="787"/>
                    <a:pt x="3560" y="673"/>
                  </a:cubicBezTo>
                  <a:cubicBezTo>
                    <a:pt x="3497" y="643"/>
                    <a:pt x="3322" y="558"/>
                    <a:pt x="3322" y="558"/>
                  </a:cubicBezTo>
                  <a:cubicBezTo>
                    <a:pt x="3229" y="513"/>
                    <a:pt x="3187" y="460"/>
                    <a:pt x="3187" y="387"/>
                  </a:cubicBezTo>
                  <a:cubicBezTo>
                    <a:pt x="3187" y="310"/>
                    <a:pt x="3250" y="227"/>
                    <a:pt x="3405" y="227"/>
                  </a:cubicBezTo>
                  <a:cubicBezTo>
                    <a:pt x="3493" y="227"/>
                    <a:pt x="3562" y="255"/>
                    <a:pt x="3597" y="272"/>
                  </a:cubicBezTo>
                  <a:cubicBezTo>
                    <a:pt x="3615" y="280"/>
                    <a:pt x="3657" y="300"/>
                    <a:pt x="3697" y="300"/>
                  </a:cubicBezTo>
                  <a:cubicBezTo>
                    <a:pt x="3749" y="300"/>
                    <a:pt x="3805" y="263"/>
                    <a:pt x="3805" y="188"/>
                  </a:cubicBezTo>
                  <a:cubicBezTo>
                    <a:pt x="3805" y="125"/>
                    <a:pt x="3760" y="92"/>
                    <a:pt x="3720" y="73"/>
                  </a:cubicBezTo>
                  <a:cubicBezTo>
                    <a:pt x="3657" y="43"/>
                    <a:pt x="3559" y="0"/>
                    <a:pt x="3393" y="0"/>
                  </a:cubicBezTo>
                  <a:cubicBezTo>
                    <a:pt x="3132" y="0"/>
                    <a:pt x="2939" y="165"/>
                    <a:pt x="2939" y="395"/>
                  </a:cubicBezTo>
                  <a:cubicBezTo>
                    <a:pt x="2939" y="605"/>
                    <a:pt x="3080" y="710"/>
                    <a:pt x="3250" y="792"/>
                  </a:cubicBezTo>
                  <a:cubicBezTo>
                    <a:pt x="3282" y="807"/>
                    <a:pt x="3409" y="868"/>
                    <a:pt x="3443" y="885"/>
                  </a:cubicBezTo>
                  <a:cubicBezTo>
                    <a:pt x="3552" y="937"/>
                    <a:pt x="3609" y="987"/>
                    <a:pt x="3609" y="1077"/>
                  </a:cubicBezTo>
                  <a:cubicBezTo>
                    <a:pt x="3609" y="1175"/>
                    <a:pt x="3517" y="1257"/>
                    <a:pt x="3379" y="1257"/>
                  </a:cubicBezTo>
                  <a:cubicBezTo>
                    <a:pt x="3180" y="1257"/>
                    <a:pt x="3074" y="1127"/>
                    <a:pt x="3055" y="1105"/>
                  </a:cubicBezTo>
                  <a:lnTo>
                    <a:pt x="2880" y="1267"/>
                  </a:lnTo>
                  <a:close/>
                  <a:moveTo>
                    <a:pt x="5023" y="0"/>
                  </a:moveTo>
                  <a:cubicBezTo>
                    <a:pt x="4952" y="0"/>
                    <a:pt x="4905" y="52"/>
                    <a:pt x="4905" y="113"/>
                  </a:cubicBezTo>
                  <a:lnTo>
                    <a:pt x="4905" y="1370"/>
                  </a:lnTo>
                  <a:cubicBezTo>
                    <a:pt x="4905" y="1433"/>
                    <a:pt x="4960" y="1483"/>
                    <a:pt x="5023" y="1483"/>
                  </a:cubicBezTo>
                  <a:cubicBezTo>
                    <a:pt x="5085" y="1483"/>
                    <a:pt x="5140" y="1433"/>
                    <a:pt x="5140" y="1370"/>
                  </a:cubicBezTo>
                  <a:lnTo>
                    <a:pt x="5140" y="463"/>
                  </a:lnTo>
                  <a:cubicBezTo>
                    <a:pt x="5140" y="463"/>
                    <a:pt x="5717" y="1200"/>
                    <a:pt x="5868" y="1395"/>
                  </a:cubicBezTo>
                  <a:cubicBezTo>
                    <a:pt x="5907" y="1443"/>
                    <a:pt x="5934" y="1485"/>
                    <a:pt x="6002" y="1485"/>
                  </a:cubicBezTo>
                  <a:cubicBezTo>
                    <a:pt x="6070" y="1485"/>
                    <a:pt x="6117" y="1435"/>
                    <a:pt x="6117" y="1372"/>
                  </a:cubicBezTo>
                  <a:lnTo>
                    <a:pt x="6117" y="10"/>
                  </a:lnTo>
                  <a:lnTo>
                    <a:pt x="5884" y="10"/>
                  </a:lnTo>
                  <a:lnTo>
                    <a:pt x="5884" y="1027"/>
                  </a:lnTo>
                  <a:cubicBezTo>
                    <a:pt x="5884" y="1027"/>
                    <a:pt x="5242" y="203"/>
                    <a:pt x="5152" y="88"/>
                  </a:cubicBezTo>
                  <a:cubicBezTo>
                    <a:pt x="5110" y="35"/>
                    <a:pt x="5079" y="0"/>
                    <a:pt x="5023" y="0"/>
                  </a:cubicBezTo>
                  <a:close/>
                  <a:moveTo>
                    <a:pt x="882" y="682"/>
                  </a:moveTo>
                  <a:cubicBezTo>
                    <a:pt x="924" y="702"/>
                    <a:pt x="1099" y="777"/>
                    <a:pt x="1099" y="1037"/>
                  </a:cubicBezTo>
                  <a:cubicBezTo>
                    <a:pt x="1099" y="1283"/>
                    <a:pt x="915" y="1475"/>
                    <a:pt x="652" y="1475"/>
                  </a:cubicBezTo>
                  <a:lnTo>
                    <a:pt x="0" y="1475"/>
                  </a:lnTo>
                  <a:lnTo>
                    <a:pt x="0" y="122"/>
                  </a:lnTo>
                  <a:cubicBezTo>
                    <a:pt x="0" y="53"/>
                    <a:pt x="47" y="7"/>
                    <a:pt x="115" y="7"/>
                  </a:cubicBezTo>
                  <a:lnTo>
                    <a:pt x="622" y="7"/>
                  </a:lnTo>
                  <a:cubicBezTo>
                    <a:pt x="868" y="7"/>
                    <a:pt x="1030" y="155"/>
                    <a:pt x="1030" y="380"/>
                  </a:cubicBezTo>
                  <a:cubicBezTo>
                    <a:pt x="1030" y="572"/>
                    <a:pt x="922" y="657"/>
                    <a:pt x="882" y="682"/>
                  </a:cubicBezTo>
                  <a:moveTo>
                    <a:pt x="237" y="595"/>
                  </a:moveTo>
                  <a:lnTo>
                    <a:pt x="592" y="595"/>
                  </a:lnTo>
                  <a:cubicBezTo>
                    <a:pt x="718" y="595"/>
                    <a:pt x="790" y="515"/>
                    <a:pt x="790" y="417"/>
                  </a:cubicBezTo>
                  <a:cubicBezTo>
                    <a:pt x="790" y="318"/>
                    <a:pt x="725" y="238"/>
                    <a:pt x="592" y="238"/>
                  </a:cubicBezTo>
                  <a:lnTo>
                    <a:pt x="237" y="238"/>
                  </a:lnTo>
                  <a:lnTo>
                    <a:pt x="237" y="595"/>
                  </a:lnTo>
                  <a:close/>
                  <a:moveTo>
                    <a:pt x="607" y="1250"/>
                  </a:moveTo>
                  <a:cubicBezTo>
                    <a:pt x="774" y="1250"/>
                    <a:pt x="859" y="1152"/>
                    <a:pt x="859" y="1032"/>
                  </a:cubicBezTo>
                  <a:cubicBezTo>
                    <a:pt x="859" y="910"/>
                    <a:pt x="777" y="812"/>
                    <a:pt x="607" y="812"/>
                  </a:cubicBezTo>
                  <a:lnTo>
                    <a:pt x="237" y="812"/>
                  </a:lnTo>
                  <a:lnTo>
                    <a:pt x="237" y="1250"/>
                  </a:lnTo>
                  <a:lnTo>
                    <a:pt x="607" y="1250"/>
                  </a:lnTo>
                  <a:close/>
                  <a:moveTo>
                    <a:pt x="7367" y="240"/>
                  </a:moveTo>
                  <a:cubicBezTo>
                    <a:pt x="7445" y="240"/>
                    <a:pt x="7492" y="190"/>
                    <a:pt x="7492" y="125"/>
                  </a:cubicBezTo>
                  <a:cubicBezTo>
                    <a:pt x="7492" y="60"/>
                    <a:pt x="7443" y="10"/>
                    <a:pt x="7367" y="10"/>
                  </a:cubicBezTo>
                  <a:lnTo>
                    <a:pt x="6642" y="10"/>
                  </a:lnTo>
                  <a:cubicBezTo>
                    <a:pt x="6575" y="10"/>
                    <a:pt x="6527" y="58"/>
                    <a:pt x="6527" y="125"/>
                  </a:cubicBezTo>
                  <a:lnTo>
                    <a:pt x="6527" y="1365"/>
                  </a:lnTo>
                  <a:cubicBezTo>
                    <a:pt x="6527" y="1430"/>
                    <a:pt x="6575" y="1478"/>
                    <a:pt x="6642" y="1478"/>
                  </a:cubicBezTo>
                  <a:lnTo>
                    <a:pt x="7484" y="1478"/>
                  </a:lnTo>
                  <a:lnTo>
                    <a:pt x="7484" y="1248"/>
                  </a:lnTo>
                  <a:lnTo>
                    <a:pt x="6764" y="1248"/>
                  </a:lnTo>
                  <a:lnTo>
                    <a:pt x="6764" y="822"/>
                  </a:lnTo>
                  <a:lnTo>
                    <a:pt x="7307" y="822"/>
                  </a:lnTo>
                  <a:cubicBezTo>
                    <a:pt x="7389" y="822"/>
                    <a:pt x="7435" y="773"/>
                    <a:pt x="7435" y="707"/>
                  </a:cubicBezTo>
                  <a:cubicBezTo>
                    <a:pt x="7435" y="640"/>
                    <a:pt x="7390" y="592"/>
                    <a:pt x="7307" y="592"/>
                  </a:cubicBezTo>
                  <a:lnTo>
                    <a:pt x="6764" y="592"/>
                  </a:lnTo>
                  <a:lnTo>
                    <a:pt x="6764" y="240"/>
                  </a:lnTo>
                  <a:lnTo>
                    <a:pt x="7367" y="240"/>
                  </a:lnTo>
                  <a:close/>
                  <a:moveTo>
                    <a:pt x="1635" y="893"/>
                  </a:moveTo>
                  <a:lnTo>
                    <a:pt x="1635" y="115"/>
                  </a:lnTo>
                  <a:cubicBezTo>
                    <a:pt x="1635" y="52"/>
                    <a:pt x="1589" y="0"/>
                    <a:pt x="1517" y="0"/>
                  </a:cubicBezTo>
                  <a:cubicBezTo>
                    <a:pt x="1443" y="0"/>
                    <a:pt x="1399" y="52"/>
                    <a:pt x="1399" y="115"/>
                  </a:cubicBezTo>
                  <a:lnTo>
                    <a:pt x="1399" y="885"/>
                  </a:lnTo>
                  <a:cubicBezTo>
                    <a:pt x="1399" y="1215"/>
                    <a:pt x="1630" y="1483"/>
                    <a:pt x="2002" y="1483"/>
                  </a:cubicBezTo>
                  <a:cubicBezTo>
                    <a:pt x="2372" y="1483"/>
                    <a:pt x="2605" y="1215"/>
                    <a:pt x="2605" y="885"/>
                  </a:cubicBezTo>
                  <a:lnTo>
                    <a:pt x="2605" y="7"/>
                  </a:lnTo>
                  <a:lnTo>
                    <a:pt x="2367" y="7"/>
                  </a:lnTo>
                  <a:lnTo>
                    <a:pt x="2367" y="892"/>
                  </a:lnTo>
                  <a:cubicBezTo>
                    <a:pt x="2367" y="1087"/>
                    <a:pt x="2237" y="1260"/>
                    <a:pt x="2002" y="1260"/>
                  </a:cubicBezTo>
                  <a:cubicBezTo>
                    <a:pt x="1765" y="1262"/>
                    <a:pt x="1635" y="1088"/>
                    <a:pt x="1635" y="893"/>
                  </a:cubicBezTo>
                  <a:close/>
                  <a:moveTo>
                    <a:pt x="4320" y="0"/>
                  </a:moveTo>
                  <a:cubicBezTo>
                    <a:pt x="4393" y="0"/>
                    <a:pt x="4439" y="52"/>
                    <a:pt x="4439" y="115"/>
                  </a:cubicBezTo>
                  <a:lnTo>
                    <a:pt x="4439" y="1477"/>
                  </a:lnTo>
                  <a:lnTo>
                    <a:pt x="4202" y="1477"/>
                  </a:lnTo>
                  <a:lnTo>
                    <a:pt x="4202" y="115"/>
                  </a:lnTo>
                  <a:cubicBezTo>
                    <a:pt x="4202" y="52"/>
                    <a:pt x="4247" y="0"/>
                    <a:pt x="4320" y="0"/>
                  </a:cubicBezTo>
                  <a:close/>
                </a:path>
              </a:pathLst>
            </a:custGeom>
            <a:solidFill>
              <a:srgbClr val="0D62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959236296"/>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itle" preserve="1">
  <p:cSld name="Title Slide 2">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01715D-BBCC-4185-A6D8-5FD229113338}"/>
              </a:ext>
            </a:extLst>
          </p:cNvPr>
          <p:cNvSpPr>
            <a:spLocks noGrp="1"/>
          </p:cNvSpPr>
          <p:nvPr>
            <p:ph type="ctrTitle" hasCustomPrompt="1"/>
          </p:nvPr>
        </p:nvSpPr>
        <p:spPr>
          <a:xfrm>
            <a:off x="374092" y="685800"/>
            <a:ext cx="8460345" cy="2880360"/>
          </a:xfrm>
        </p:spPr>
        <p:txBody>
          <a:bodyPr lIns="0" tIns="0" rIns="0" bIns="0" anchor="b">
            <a:noAutofit/>
          </a:bodyPr>
          <a:lstStyle>
            <a:lvl1pPr algn="l">
              <a:lnSpc>
                <a:spcPct val="85000"/>
              </a:lnSpc>
              <a:defRPr sz="6000">
                <a:solidFill>
                  <a:schemeClr val="bg1"/>
                </a:solidFill>
              </a:defRPr>
            </a:lvl1pPr>
          </a:lstStyle>
          <a:p>
            <a:r>
              <a:rPr lang="en-GB"/>
              <a:t>Presentation title, 60pt Regular, max 3 lines</a:t>
            </a:r>
          </a:p>
        </p:txBody>
      </p:sp>
      <p:sp>
        <p:nvSpPr>
          <p:cNvPr id="3" name="Subtitle 2">
            <a:extLst>
              <a:ext uri="{FF2B5EF4-FFF2-40B4-BE49-F238E27FC236}">
                <a16:creationId xmlns:a16="http://schemas.microsoft.com/office/drawing/2014/main" id="{9ED5964E-2594-47EA-A0C0-745BE90F64D3}"/>
              </a:ext>
            </a:extLst>
          </p:cNvPr>
          <p:cNvSpPr>
            <a:spLocks noGrp="1"/>
          </p:cNvSpPr>
          <p:nvPr>
            <p:ph type="subTitle" idx="1" hasCustomPrompt="1"/>
          </p:nvPr>
        </p:nvSpPr>
        <p:spPr>
          <a:xfrm>
            <a:off x="429332" y="3814757"/>
            <a:ext cx="8405106" cy="641350"/>
          </a:xfrm>
        </p:spPr>
        <p:txBody>
          <a:bodyPr lIns="0" tIns="0" rIns="0" bIns="0">
            <a:noAutofit/>
          </a:bodyPr>
          <a:lstStyle>
            <a:lvl1pPr marL="0" indent="0" algn="l">
              <a:buNone/>
              <a:defRPr sz="2400">
                <a:solidFill>
                  <a:schemeClr val="accent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Place subtitle here, 24pt Regular</a:t>
            </a:r>
          </a:p>
        </p:txBody>
      </p:sp>
      <p:sp>
        <p:nvSpPr>
          <p:cNvPr id="4" name="Date Placeholder 3">
            <a:extLst>
              <a:ext uri="{FF2B5EF4-FFF2-40B4-BE49-F238E27FC236}">
                <a16:creationId xmlns:a16="http://schemas.microsoft.com/office/drawing/2014/main" id="{C7CCBB25-72E7-413F-B042-04DB03FC404C}"/>
              </a:ext>
            </a:extLst>
          </p:cNvPr>
          <p:cNvSpPr>
            <a:spLocks noGrp="1"/>
          </p:cNvSpPr>
          <p:nvPr>
            <p:ph type="dt" sz="half" idx="10"/>
          </p:nvPr>
        </p:nvSpPr>
        <p:spPr>
          <a:xfrm>
            <a:off x="457200" y="6108638"/>
            <a:ext cx="4114799" cy="274320"/>
          </a:xfrm>
        </p:spPr>
        <p:txBody>
          <a:bodyPr lIns="0" tIns="0" rIns="0" bIns="0">
            <a:noAutofit/>
          </a:bodyPr>
          <a:lstStyle>
            <a:lvl1pPr>
              <a:defRPr sz="1400">
                <a:solidFill>
                  <a:schemeClr val="accent2"/>
                </a:solidFill>
              </a:defRPr>
            </a:lvl1pPr>
          </a:lstStyle>
          <a:p>
            <a:endParaRPr lang="en-US"/>
          </a:p>
        </p:txBody>
      </p:sp>
      <p:grpSp>
        <p:nvGrpSpPr>
          <p:cNvPr id="8" name="Group 4">
            <a:extLst>
              <a:ext uri="{FF2B5EF4-FFF2-40B4-BE49-F238E27FC236}">
                <a16:creationId xmlns:a16="http://schemas.microsoft.com/office/drawing/2014/main" id="{88B3B381-2834-4EFF-BDE2-98E8AC551346}"/>
              </a:ext>
            </a:extLst>
          </p:cNvPr>
          <p:cNvGrpSpPr>
            <a:grpSpLocks noChangeAspect="1"/>
          </p:cNvGrpSpPr>
          <p:nvPr userDrawn="1"/>
        </p:nvGrpSpPr>
        <p:grpSpPr bwMode="auto">
          <a:xfrm>
            <a:off x="10149840" y="5518959"/>
            <a:ext cx="1581912" cy="804468"/>
            <a:chOff x="1276" y="2201"/>
            <a:chExt cx="4800" cy="2441"/>
          </a:xfrm>
          <a:solidFill>
            <a:srgbClr val="FFFFFF"/>
          </a:solidFill>
        </p:grpSpPr>
        <p:sp>
          <p:nvSpPr>
            <p:cNvPr id="9" name="Freeform 5">
              <a:extLst>
                <a:ext uri="{FF2B5EF4-FFF2-40B4-BE49-F238E27FC236}">
                  <a16:creationId xmlns:a16="http://schemas.microsoft.com/office/drawing/2014/main" id="{05B5F910-CFA6-478D-85FE-43E431BBBD51}"/>
                </a:ext>
              </a:extLst>
            </p:cNvPr>
            <p:cNvSpPr>
              <a:spLocks noEditPoints="1"/>
            </p:cNvSpPr>
            <p:nvPr userDrawn="1"/>
          </p:nvSpPr>
          <p:spPr bwMode="auto">
            <a:xfrm>
              <a:off x="1276" y="2201"/>
              <a:ext cx="4794" cy="2441"/>
            </a:xfrm>
            <a:custGeom>
              <a:avLst/>
              <a:gdLst>
                <a:gd name="T0" fmla="*/ 9572 w 9986"/>
                <a:gd name="T1" fmla="*/ 153 h 5085"/>
                <a:gd name="T2" fmla="*/ 6835 w 9986"/>
                <a:gd name="T3" fmla="*/ 925 h 5085"/>
                <a:gd name="T4" fmla="*/ 6895 w 9986"/>
                <a:gd name="T5" fmla="*/ 780 h 5085"/>
                <a:gd name="T6" fmla="*/ 3251 w 9986"/>
                <a:gd name="T7" fmla="*/ 1478 h 5085"/>
                <a:gd name="T8" fmla="*/ 4555 w 9986"/>
                <a:gd name="T9" fmla="*/ 55 h 5085"/>
                <a:gd name="T10" fmla="*/ 5001 w 9986"/>
                <a:gd name="T11" fmla="*/ 740 h 5085"/>
                <a:gd name="T12" fmla="*/ 1260 w 9986"/>
                <a:gd name="T13" fmla="*/ 320 h 5085"/>
                <a:gd name="T14" fmla="*/ 738 w 9986"/>
                <a:gd name="T15" fmla="*/ 1331 h 5085"/>
                <a:gd name="T16" fmla="*/ 8772 w 9986"/>
                <a:gd name="T17" fmla="*/ 158 h 5085"/>
                <a:gd name="T18" fmla="*/ 8053 w 9986"/>
                <a:gd name="T19" fmla="*/ 1163 h 5085"/>
                <a:gd name="T20" fmla="*/ 2988 w 9986"/>
                <a:gd name="T21" fmla="*/ 740 h 5085"/>
                <a:gd name="T22" fmla="*/ 9814 w 9986"/>
                <a:gd name="T23" fmla="*/ 4415 h 5085"/>
                <a:gd name="T24" fmla="*/ 9918 w 9986"/>
                <a:gd name="T25" fmla="*/ 4246 h 5085"/>
                <a:gd name="T26" fmla="*/ 9562 w 9986"/>
                <a:gd name="T27" fmla="*/ 4273 h 5085"/>
                <a:gd name="T28" fmla="*/ 9408 w 9986"/>
                <a:gd name="T29" fmla="*/ 4780 h 5085"/>
                <a:gd name="T30" fmla="*/ 9380 w 9986"/>
                <a:gd name="T31" fmla="*/ 4447 h 5085"/>
                <a:gd name="T32" fmla="*/ 9389 w 9986"/>
                <a:gd name="T33" fmla="*/ 4671 h 5085"/>
                <a:gd name="T34" fmla="*/ 8917 w 9986"/>
                <a:gd name="T35" fmla="*/ 4533 h 5085"/>
                <a:gd name="T36" fmla="*/ 9001 w 9986"/>
                <a:gd name="T37" fmla="*/ 4836 h 5085"/>
                <a:gd name="T38" fmla="*/ 8919 w 9986"/>
                <a:gd name="T39" fmla="*/ 4466 h 5085"/>
                <a:gd name="T40" fmla="*/ 8387 w 9986"/>
                <a:gd name="T41" fmla="*/ 4323 h 5085"/>
                <a:gd name="T42" fmla="*/ 8282 w 9986"/>
                <a:gd name="T43" fmla="*/ 4879 h 5085"/>
                <a:gd name="T44" fmla="*/ 8045 w 9986"/>
                <a:gd name="T45" fmla="*/ 4336 h 5085"/>
                <a:gd name="T46" fmla="*/ 8228 w 9986"/>
                <a:gd name="T47" fmla="*/ 4852 h 5085"/>
                <a:gd name="T48" fmla="*/ 7788 w 9986"/>
                <a:gd name="T49" fmla="*/ 4291 h 5085"/>
                <a:gd name="T50" fmla="*/ 7635 w 9986"/>
                <a:gd name="T51" fmla="*/ 4246 h 5085"/>
                <a:gd name="T52" fmla="*/ 7339 w 9986"/>
                <a:gd name="T53" fmla="*/ 4323 h 5085"/>
                <a:gd name="T54" fmla="*/ 7070 w 9986"/>
                <a:gd name="T55" fmla="*/ 4833 h 5085"/>
                <a:gd name="T56" fmla="*/ 6828 w 9986"/>
                <a:gd name="T57" fmla="*/ 4769 h 5085"/>
                <a:gd name="T58" fmla="*/ 6985 w 9986"/>
                <a:gd name="T59" fmla="*/ 4912 h 5085"/>
                <a:gd name="T60" fmla="*/ 6985 w 9986"/>
                <a:gd name="T61" fmla="*/ 4435 h 5085"/>
                <a:gd name="T62" fmla="*/ 6510 w 9986"/>
                <a:gd name="T63" fmla="*/ 4260 h 5085"/>
                <a:gd name="T64" fmla="*/ 6046 w 9986"/>
                <a:gd name="T65" fmla="*/ 4804 h 5085"/>
                <a:gd name="T66" fmla="*/ 6059 w 9986"/>
                <a:gd name="T67" fmla="*/ 4643 h 5085"/>
                <a:gd name="T68" fmla="*/ 6098 w 9986"/>
                <a:gd name="T69" fmla="*/ 4567 h 5085"/>
                <a:gd name="T70" fmla="*/ 6099 w 9986"/>
                <a:gd name="T71" fmla="*/ 4896 h 5085"/>
                <a:gd name="T72" fmla="*/ 5833 w 9986"/>
                <a:gd name="T73" fmla="*/ 4717 h 5085"/>
                <a:gd name="T74" fmla="*/ 5913 w 9986"/>
                <a:gd name="T75" fmla="*/ 4530 h 5085"/>
                <a:gd name="T76" fmla="*/ 5956 w 9986"/>
                <a:gd name="T77" fmla="*/ 4779 h 5085"/>
                <a:gd name="T78" fmla="*/ 5277 w 9986"/>
                <a:gd name="T79" fmla="*/ 4491 h 5085"/>
                <a:gd name="T80" fmla="*/ 5069 w 9986"/>
                <a:gd name="T81" fmla="*/ 4796 h 5085"/>
                <a:gd name="T82" fmla="*/ 5399 w 9986"/>
                <a:gd name="T83" fmla="*/ 4882 h 5085"/>
                <a:gd name="T84" fmla="*/ 4727 w 9986"/>
                <a:gd name="T85" fmla="*/ 4653 h 5085"/>
                <a:gd name="T86" fmla="*/ 4495 w 9986"/>
                <a:gd name="T87" fmla="*/ 4284 h 5085"/>
                <a:gd name="T88" fmla="*/ 3755 w 9986"/>
                <a:gd name="T89" fmla="*/ 4512 h 5085"/>
                <a:gd name="T90" fmla="*/ 4028 w 9986"/>
                <a:gd name="T91" fmla="*/ 5028 h 5085"/>
                <a:gd name="T92" fmla="*/ 4023 w 9986"/>
                <a:gd name="T93" fmla="*/ 4799 h 5085"/>
                <a:gd name="T94" fmla="*/ 3948 w 9986"/>
                <a:gd name="T95" fmla="*/ 4459 h 5085"/>
                <a:gd name="T96" fmla="*/ 3405 w 9986"/>
                <a:gd name="T97" fmla="*/ 4531 h 5085"/>
                <a:gd name="T98" fmla="*/ 3205 w 9986"/>
                <a:gd name="T99" fmla="*/ 4459 h 5085"/>
                <a:gd name="T100" fmla="*/ 2844 w 9986"/>
                <a:gd name="T101" fmla="*/ 4291 h 5085"/>
                <a:gd name="T102" fmla="*/ 2753 w 9986"/>
                <a:gd name="T103" fmla="*/ 4435 h 5085"/>
                <a:gd name="T104" fmla="*/ 2577 w 9986"/>
                <a:gd name="T105" fmla="*/ 4531 h 5085"/>
                <a:gd name="T106" fmla="*/ 2001 w 9986"/>
                <a:gd name="T107" fmla="*/ 4693 h 5085"/>
                <a:gd name="T108" fmla="*/ 1969 w 9986"/>
                <a:gd name="T109" fmla="*/ 4796 h 5085"/>
                <a:gd name="T110" fmla="*/ 1912 w 9986"/>
                <a:gd name="T111" fmla="*/ 4439 h 5085"/>
                <a:gd name="T112" fmla="*/ 1500 w 9986"/>
                <a:gd name="T113" fmla="*/ 4439 h 5085"/>
                <a:gd name="T114" fmla="*/ 965 w 9986"/>
                <a:gd name="T115" fmla="*/ 4513 h 5085"/>
                <a:gd name="T116" fmla="*/ 753 w 9986"/>
                <a:gd name="T117" fmla="*/ 4882 h 5085"/>
                <a:gd name="T118" fmla="*/ 1083 w 9986"/>
                <a:gd name="T119" fmla="*/ 4796 h 5085"/>
                <a:gd name="T120" fmla="*/ 159 w 9986"/>
                <a:gd name="T121" fmla="*/ 4653 h 5085"/>
                <a:gd name="T122" fmla="*/ 93 w 9986"/>
                <a:gd name="T123" fmla="*/ 4908 h 5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986" h="5085">
                  <a:moveTo>
                    <a:pt x="9986" y="81"/>
                  </a:moveTo>
                  <a:cubicBezTo>
                    <a:pt x="9986" y="41"/>
                    <a:pt x="9953" y="8"/>
                    <a:pt x="9913" y="8"/>
                  </a:cubicBezTo>
                  <a:lnTo>
                    <a:pt x="9093" y="8"/>
                  </a:lnTo>
                  <a:cubicBezTo>
                    <a:pt x="9053" y="8"/>
                    <a:pt x="9020" y="40"/>
                    <a:pt x="9020" y="81"/>
                  </a:cubicBezTo>
                  <a:cubicBezTo>
                    <a:pt x="9020" y="121"/>
                    <a:pt x="9051" y="153"/>
                    <a:pt x="9093" y="153"/>
                  </a:cubicBezTo>
                  <a:lnTo>
                    <a:pt x="9438" y="153"/>
                  </a:lnTo>
                  <a:lnTo>
                    <a:pt x="9438" y="1468"/>
                  </a:lnTo>
                  <a:lnTo>
                    <a:pt x="9572" y="1468"/>
                  </a:lnTo>
                  <a:lnTo>
                    <a:pt x="9572" y="153"/>
                  </a:lnTo>
                  <a:lnTo>
                    <a:pt x="9915" y="153"/>
                  </a:lnTo>
                  <a:cubicBezTo>
                    <a:pt x="9955" y="155"/>
                    <a:pt x="9986" y="121"/>
                    <a:pt x="9986" y="81"/>
                  </a:cubicBezTo>
                  <a:close/>
                  <a:moveTo>
                    <a:pt x="7113" y="1"/>
                  </a:moveTo>
                  <a:cubicBezTo>
                    <a:pt x="7085" y="1"/>
                    <a:pt x="7065" y="20"/>
                    <a:pt x="7051" y="43"/>
                  </a:cubicBezTo>
                  <a:cubicBezTo>
                    <a:pt x="7040" y="66"/>
                    <a:pt x="6505" y="1386"/>
                    <a:pt x="6505" y="1386"/>
                  </a:cubicBezTo>
                  <a:cubicBezTo>
                    <a:pt x="6501" y="1395"/>
                    <a:pt x="6500" y="1403"/>
                    <a:pt x="6500" y="1411"/>
                  </a:cubicBezTo>
                  <a:cubicBezTo>
                    <a:pt x="6500" y="1448"/>
                    <a:pt x="6528" y="1476"/>
                    <a:pt x="6565" y="1476"/>
                  </a:cubicBezTo>
                  <a:cubicBezTo>
                    <a:pt x="6593" y="1476"/>
                    <a:pt x="6617" y="1460"/>
                    <a:pt x="6626" y="1435"/>
                  </a:cubicBezTo>
                  <a:lnTo>
                    <a:pt x="6835" y="925"/>
                  </a:lnTo>
                  <a:lnTo>
                    <a:pt x="7393" y="925"/>
                  </a:lnTo>
                  <a:lnTo>
                    <a:pt x="7615" y="1468"/>
                  </a:lnTo>
                  <a:lnTo>
                    <a:pt x="7756" y="1468"/>
                  </a:lnTo>
                  <a:cubicBezTo>
                    <a:pt x="7756" y="1468"/>
                    <a:pt x="7188" y="65"/>
                    <a:pt x="7176" y="41"/>
                  </a:cubicBezTo>
                  <a:cubicBezTo>
                    <a:pt x="7163" y="20"/>
                    <a:pt x="7142" y="1"/>
                    <a:pt x="7113" y="1"/>
                  </a:cubicBezTo>
                  <a:moveTo>
                    <a:pt x="6895" y="780"/>
                  </a:moveTo>
                  <a:lnTo>
                    <a:pt x="7115" y="240"/>
                  </a:lnTo>
                  <a:lnTo>
                    <a:pt x="7335" y="780"/>
                  </a:lnTo>
                  <a:lnTo>
                    <a:pt x="6895" y="780"/>
                  </a:lnTo>
                  <a:close/>
                  <a:moveTo>
                    <a:pt x="4490" y="1"/>
                  </a:moveTo>
                  <a:cubicBezTo>
                    <a:pt x="4463" y="1"/>
                    <a:pt x="4441" y="20"/>
                    <a:pt x="4430" y="41"/>
                  </a:cubicBezTo>
                  <a:cubicBezTo>
                    <a:pt x="4418" y="65"/>
                    <a:pt x="3995" y="1108"/>
                    <a:pt x="3995" y="1108"/>
                  </a:cubicBezTo>
                  <a:cubicBezTo>
                    <a:pt x="3995" y="1108"/>
                    <a:pt x="3572" y="63"/>
                    <a:pt x="3560" y="41"/>
                  </a:cubicBezTo>
                  <a:cubicBezTo>
                    <a:pt x="3548" y="18"/>
                    <a:pt x="3526" y="1"/>
                    <a:pt x="3500" y="1"/>
                  </a:cubicBezTo>
                  <a:cubicBezTo>
                    <a:pt x="3468" y="1"/>
                    <a:pt x="3443" y="25"/>
                    <a:pt x="3435" y="55"/>
                  </a:cubicBezTo>
                  <a:cubicBezTo>
                    <a:pt x="3426" y="85"/>
                    <a:pt x="3188" y="1400"/>
                    <a:pt x="3188" y="1400"/>
                  </a:cubicBezTo>
                  <a:cubicBezTo>
                    <a:pt x="3188" y="1405"/>
                    <a:pt x="3186" y="1408"/>
                    <a:pt x="3186" y="1413"/>
                  </a:cubicBezTo>
                  <a:cubicBezTo>
                    <a:pt x="3186" y="1450"/>
                    <a:pt x="3216" y="1478"/>
                    <a:pt x="3251" y="1478"/>
                  </a:cubicBezTo>
                  <a:cubicBezTo>
                    <a:pt x="3283" y="1478"/>
                    <a:pt x="3310" y="1455"/>
                    <a:pt x="3316" y="1425"/>
                  </a:cubicBezTo>
                  <a:lnTo>
                    <a:pt x="3523" y="300"/>
                  </a:lnTo>
                  <a:cubicBezTo>
                    <a:pt x="3523" y="300"/>
                    <a:pt x="3921" y="1283"/>
                    <a:pt x="3933" y="1306"/>
                  </a:cubicBezTo>
                  <a:cubicBezTo>
                    <a:pt x="3945" y="1330"/>
                    <a:pt x="3966" y="1348"/>
                    <a:pt x="3995" y="1348"/>
                  </a:cubicBezTo>
                  <a:cubicBezTo>
                    <a:pt x="4022" y="1348"/>
                    <a:pt x="4045" y="1330"/>
                    <a:pt x="4056" y="1306"/>
                  </a:cubicBezTo>
                  <a:cubicBezTo>
                    <a:pt x="4068" y="1283"/>
                    <a:pt x="4466" y="300"/>
                    <a:pt x="4466" y="300"/>
                  </a:cubicBezTo>
                  <a:lnTo>
                    <a:pt x="4681" y="1470"/>
                  </a:lnTo>
                  <a:lnTo>
                    <a:pt x="4815" y="1470"/>
                  </a:lnTo>
                  <a:cubicBezTo>
                    <a:pt x="4815" y="1470"/>
                    <a:pt x="4563" y="85"/>
                    <a:pt x="4555" y="55"/>
                  </a:cubicBezTo>
                  <a:cubicBezTo>
                    <a:pt x="4545" y="25"/>
                    <a:pt x="4522" y="1"/>
                    <a:pt x="4490" y="1"/>
                  </a:cubicBezTo>
                  <a:moveTo>
                    <a:pt x="5740" y="146"/>
                  </a:moveTo>
                  <a:cubicBezTo>
                    <a:pt x="5898" y="146"/>
                    <a:pt x="6047" y="208"/>
                    <a:pt x="6158" y="320"/>
                  </a:cubicBezTo>
                  <a:cubicBezTo>
                    <a:pt x="6185" y="346"/>
                    <a:pt x="6235" y="346"/>
                    <a:pt x="6261" y="320"/>
                  </a:cubicBezTo>
                  <a:cubicBezTo>
                    <a:pt x="6275" y="306"/>
                    <a:pt x="6283" y="288"/>
                    <a:pt x="6283" y="268"/>
                  </a:cubicBezTo>
                  <a:cubicBezTo>
                    <a:pt x="6283" y="248"/>
                    <a:pt x="6275" y="230"/>
                    <a:pt x="6261" y="216"/>
                  </a:cubicBezTo>
                  <a:lnTo>
                    <a:pt x="6253" y="208"/>
                  </a:lnTo>
                  <a:cubicBezTo>
                    <a:pt x="6115" y="75"/>
                    <a:pt x="5933" y="1"/>
                    <a:pt x="5740" y="1"/>
                  </a:cubicBezTo>
                  <a:cubicBezTo>
                    <a:pt x="5333" y="1"/>
                    <a:pt x="5001" y="333"/>
                    <a:pt x="5001" y="740"/>
                  </a:cubicBezTo>
                  <a:cubicBezTo>
                    <a:pt x="5001" y="1146"/>
                    <a:pt x="5333" y="1478"/>
                    <a:pt x="5740" y="1478"/>
                  </a:cubicBezTo>
                  <a:cubicBezTo>
                    <a:pt x="5955" y="1478"/>
                    <a:pt x="6148" y="1386"/>
                    <a:pt x="6283" y="1238"/>
                  </a:cubicBezTo>
                  <a:lnTo>
                    <a:pt x="6180" y="1135"/>
                  </a:lnTo>
                  <a:cubicBezTo>
                    <a:pt x="6072" y="1255"/>
                    <a:pt x="5915" y="1331"/>
                    <a:pt x="5740" y="1331"/>
                  </a:cubicBezTo>
                  <a:cubicBezTo>
                    <a:pt x="5413" y="1331"/>
                    <a:pt x="5147" y="1065"/>
                    <a:pt x="5147" y="738"/>
                  </a:cubicBezTo>
                  <a:cubicBezTo>
                    <a:pt x="5147" y="413"/>
                    <a:pt x="5413" y="146"/>
                    <a:pt x="5740" y="146"/>
                  </a:cubicBezTo>
                  <a:moveTo>
                    <a:pt x="736" y="146"/>
                  </a:moveTo>
                  <a:cubicBezTo>
                    <a:pt x="895" y="146"/>
                    <a:pt x="1043" y="208"/>
                    <a:pt x="1156" y="320"/>
                  </a:cubicBezTo>
                  <a:cubicBezTo>
                    <a:pt x="1183" y="346"/>
                    <a:pt x="1233" y="346"/>
                    <a:pt x="1260" y="320"/>
                  </a:cubicBezTo>
                  <a:cubicBezTo>
                    <a:pt x="1273" y="306"/>
                    <a:pt x="1281" y="288"/>
                    <a:pt x="1281" y="268"/>
                  </a:cubicBezTo>
                  <a:cubicBezTo>
                    <a:pt x="1281" y="248"/>
                    <a:pt x="1275" y="230"/>
                    <a:pt x="1260" y="216"/>
                  </a:cubicBezTo>
                  <a:lnTo>
                    <a:pt x="1251" y="208"/>
                  </a:lnTo>
                  <a:cubicBezTo>
                    <a:pt x="1113" y="75"/>
                    <a:pt x="931" y="1"/>
                    <a:pt x="738" y="1"/>
                  </a:cubicBezTo>
                  <a:cubicBezTo>
                    <a:pt x="331" y="1"/>
                    <a:pt x="0" y="333"/>
                    <a:pt x="0" y="740"/>
                  </a:cubicBezTo>
                  <a:cubicBezTo>
                    <a:pt x="0" y="1146"/>
                    <a:pt x="331" y="1478"/>
                    <a:pt x="738" y="1478"/>
                  </a:cubicBezTo>
                  <a:cubicBezTo>
                    <a:pt x="953" y="1478"/>
                    <a:pt x="1147" y="1386"/>
                    <a:pt x="1281" y="1238"/>
                  </a:cubicBezTo>
                  <a:lnTo>
                    <a:pt x="1178" y="1135"/>
                  </a:lnTo>
                  <a:cubicBezTo>
                    <a:pt x="1070" y="1255"/>
                    <a:pt x="911" y="1331"/>
                    <a:pt x="738" y="1331"/>
                  </a:cubicBezTo>
                  <a:cubicBezTo>
                    <a:pt x="411" y="1331"/>
                    <a:pt x="145" y="1065"/>
                    <a:pt x="145" y="738"/>
                  </a:cubicBezTo>
                  <a:cubicBezTo>
                    <a:pt x="143" y="413"/>
                    <a:pt x="410" y="146"/>
                    <a:pt x="736" y="146"/>
                  </a:cubicBezTo>
                  <a:moveTo>
                    <a:pt x="8613" y="748"/>
                  </a:moveTo>
                  <a:cubicBezTo>
                    <a:pt x="8573" y="728"/>
                    <a:pt x="8333" y="603"/>
                    <a:pt x="8298" y="585"/>
                  </a:cubicBezTo>
                  <a:cubicBezTo>
                    <a:pt x="8172" y="520"/>
                    <a:pt x="8126" y="463"/>
                    <a:pt x="8126" y="366"/>
                  </a:cubicBezTo>
                  <a:cubicBezTo>
                    <a:pt x="8126" y="231"/>
                    <a:pt x="8236" y="145"/>
                    <a:pt x="8408" y="145"/>
                  </a:cubicBezTo>
                  <a:cubicBezTo>
                    <a:pt x="8508" y="145"/>
                    <a:pt x="8606" y="188"/>
                    <a:pt x="8663" y="221"/>
                  </a:cubicBezTo>
                  <a:cubicBezTo>
                    <a:pt x="8673" y="226"/>
                    <a:pt x="8686" y="230"/>
                    <a:pt x="8698" y="230"/>
                  </a:cubicBezTo>
                  <a:cubicBezTo>
                    <a:pt x="8738" y="230"/>
                    <a:pt x="8772" y="198"/>
                    <a:pt x="8772" y="158"/>
                  </a:cubicBezTo>
                  <a:cubicBezTo>
                    <a:pt x="8772" y="131"/>
                    <a:pt x="8756" y="108"/>
                    <a:pt x="8735" y="95"/>
                  </a:cubicBezTo>
                  <a:cubicBezTo>
                    <a:pt x="8663" y="55"/>
                    <a:pt x="8542" y="0"/>
                    <a:pt x="8410" y="0"/>
                  </a:cubicBezTo>
                  <a:cubicBezTo>
                    <a:pt x="8158" y="0"/>
                    <a:pt x="7983" y="150"/>
                    <a:pt x="7983" y="366"/>
                  </a:cubicBezTo>
                  <a:cubicBezTo>
                    <a:pt x="7983" y="560"/>
                    <a:pt x="8110" y="651"/>
                    <a:pt x="8235" y="715"/>
                  </a:cubicBezTo>
                  <a:cubicBezTo>
                    <a:pt x="8270" y="733"/>
                    <a:pt x="8513" y="858"/>
                    <a:pt x="8550" y="878"/>
                  </a:cubicBezTo>
                  <a:cubicBezTo>
                    <a:pt x="8647" y="928"/>
                    <a:pt x="8700" y="1005"/>
                    <a:pt x="8700" y="1091"/>
                  </a:cubicBezTo>
                  <a:cubicBezTo>
                    <a:pt x="8700" y="1208"/>
                    <a:pt x="8601" y="1331"/>
                    <a:pt x="8418" y="1331"/>
                  </a:cubicBezTo>
                  <a:cubicBezTo>
                    <a:pt x="8240" y="1331"/>
                    <a:pt x="8101" y="1211"/>
                    <a:pt x="8065" y="1175"/>
                  </a:cubicBezTo>
                  <a:lnTo>
                    <a:pt x="8053" y="1163"/>
                  </a:lnTo>
                  <a:lnTo>
                    <a:pt x="7945" y="1261"/>
                  </a:lnTo>
                  <a:lnTo>
                    <a:pt x="7958" y="1273"/>
                  </a:lnTo>
                  <a:cubicBezTo>
                    <a:pt x="8006" y="1320"/>
                    <a:pt x="8180" y="1475"/>
                    <a:pt x="8418" y="1475"/>
                  </a:cubicBezTo>
                  <a:cubicBezTo>
                    <a:pt x="8685" y="1475"/>
                    <a:pt x="8845" y="1278"/>
                    <a:pt x="8845" y="1088"/>
                  </a:cubicBezTo>
                  <a:cubicBezTo>
                    <a:pt x="8843" y="950"/>
                    <a:pt x="8760" y="825"/>
                    <a:pt x="8613" y="748"/>
                  </a:cubicBezTo>
                  <a:moveTo>
                    <a:pt x="2250" y="1"/>
                  </a:moveTo>
                  <a:cubicBezTo>
                    <a:pt x="1843" y="1"/>
                    <a:pt x="1511" y="333"/>
                    <a:pt x="1511" y="740"/>
                  </a:cubicBezTo>
                  <a:cubicBezTo>
                    <a:pt x="1511" y="1146"/>
                    <a:pt x="1843" y="1478"/>
                    <a:pt x="2250" y="1478"/>
                  </a:cubicBezTo>
                  <a:cubicBezTo>
                    <a:pt x="2656" y="1478"/>
                    <a:pt x="2988" y="1146"/>
                    <a:pt x="2988" y="740"/>
                  </a:cubicBezTo>
                  <a:cubicBezTo>
                    <a:pt x="2988" y="333"/>
                    <a:pt x="2656" y="1"/>
                    <a:pt x="2250" y="1"/>
                  </a:cubicBezTo>
                  <a:moveTo>
                    <a:pt x="2250" y="1331"/>
                  </a:moveTo>
                  <a:cubicBezTo>
                    <a:pt x="1923" y="1331"/>
                    <a:pt x="1656" y="1065"/>
                    <a:pt x="1656" y="738"/>
                  </a:cubicBezTo>
                  <a:cubicBezTo>
                    <a:pt x="1656" y="411"/>
                    <a:pt x="1923" y="145"/>
                    <a:pt x="2250" y="145"/>
                  </a:cubicBezTo>
                  <a:cubicBezTo>
                    <a:pt x="2576" y="145"/>
                    <a:pt x="2843" y="411"/>
                    <a:pt x="2843" y="738"/>
                  </a:cubicBezTo>
                  <a:cubicBezTo>
                    <a:pt x="2841" y="1066"/>
                    <a:pt x="2576" y="1331"/>
                    <a:pt x="2250" y="1331"/>
                  </a:cubicBezTo>
                  <a:close/>
                  <a:moveTo>
                    <a:pt x="9887" y="4438"/>
                  </a:moveTo>
                  <a:lnTo>
                    <a:pt x="9886" y="4303"/>
                  </a:lnTo>
                  <a:lnTo>
                    <a:pt x="9814" y="4415"/>
                  </a:lnTo>
                  <a:lnTo>
                    <a:pt x="9799" y="4415"/>
                  </a:lnTo>
                  <a:lnTo>
                    <a:pt x="9726" y="4306"/>
                  </a:lnTo>
                  <a:lnTo>
                    <a:pt x="9726" y="4438"/>
                  </a:lnTo>
                  <a:lnTo>
                    <a:pt x="9694" y="4438"/>
                  </a:lnTo>
                  <a:lnTo>
                    <a:pt x="9694" y="4246"/>
                  </a:lnTo>
                  <a:lnTo>
                    <a:pt x="9721" y="4246"/>
                  </a:lnTo>
                  <a:lnTo>
                    <a:pt x="9807" y="4377"/>
                  </a:lnTo>
                  <a:lnTo>
                    <a:pt x="9891" y="4246"/>
                  </a:lnTo>
                  <a:lnTo>
                    <a:pt x="9918" y="4246"/>
                  </a:lnTo>
                  <a:lnTo>
                    <a:pt x="9918" y="4438"/>
                  </a:lnTo>
                  <a:lnTo>
                    <a:pt x="9887" y="4438"/>
                  </a:lnTo>
                  <a:close/>
                  <a:moveTo>
                    <a:pt x="9492" y="4246"/>
                  </a:moveTo>
                  <a:lnTo>
                    <a:pt x="9666" y="4246"/>
                  </a:lnTo>
                  <a:lnTo>
                    <a:pt x="9666" y="4273"/>
                  </a:lnTo>
                  <a:lnTo>
                    <a:pt x="9596" y="4273"/>
                  </a:lnTo>
                  <a:lnTo>
                    <a:pt x="9596" y="4438"/>
                  </a:lnTo>
                  <a:lnTo>
                    <a:pt x="9562" y="4438"/>
                  </a:lnTo>
                  <a:lnTo>
                    <a:pt x="9562" y="4273"/>
                  </a:lnTo>
                  <a:lnTo>
                    <a:pt x="9492" y="4273"/>
                  </a:lnTo>
                  <a:lnTo>
                    <a:pt x="9492" y="4246"/>
                  </a:lnTo>
                  <a:close/>
                  <a:moveTo>
                    <a:pt x="9167" y="4896"/>
                  </a:moveTo>
                  <a:cubicBezTo>
                    <a:pt x="9133" y="4885"/>
                    <a:pt x="9105" y="4871"/>
                    <a:pt x="9086" y="4854"/>
                  </a:cubicBezTo>
                  <a:lnTo>
                    <a:pt x="9114" y="4804"/>
                  </a:lnTo>
                  <a:cubicBezTo>
                    <a:pt x="9134" y="4820"/>
                    <a:pt x="9159" y="4833"/>
                    <a:pt x="9188" y="4842"/>
                  </a:cubicBezTo>
                  <a:cubicBezTo>
                    <a:pt x="9218" y="4852"/>
                    <a:pt x="9249" y="4857"/>
                    <a:pt x="9281" y="4857"/>
                  </a:cubicBezTo>
                  <a:cubicBezTo>
                    <a:pt x="9324" y="4857"/>
                    <a:pt x="9356" y="4850"/>
                    <a:pt x="9377" y="4837"/>
                  </a:cubicBezTo>
                  <a:cubicBezTo>
                    <a:pt x="9397" y="4824"/>
                    <a:pt x="9408" y="4805"/>
                    <a:pt x="9408" y="4780"/>
                  </a:cubicBezTo>
                  <a:cubicBezTo>
                    <a:pt x="9408" y="4763"/>
                    <a:pt x="9402" y="4750"/>
                    <a:pt x="9390" y="4740"/>
                  </a:cubicBezTo>
                  <a:cubicBezTo>
                    <a:pt x="9379" y="4730"/>
                    <a:pt x="9365" y="4723"/>
                    <a:pt x="9348" y="4717"/>
                  </a:cubicBezTo>
                  <a:cubicBezTo>
                    <a:pt x="9330" y="4712"/>
                    <a:pt x="9307" y="4708"/>
                    <a:pt x="9279" y="4703"/>
                  </a:cubicBezTo>
                  <a:cubicBezTo>
                    <a:pt x="9241" y="4696"/>
                    <a:pt x="9210" y="4688"/>
                    <a:pt x="9187" y="4681"/>
                  </a:cubicBezTo>
                  <a:cubicBezTo>
                    <a:pt x="9163" y="4674"/>
                    <a:pt x="9144" y="4661"/>
                    <a:pt x="9127" y="4643"/>
                  </a:cubicBezTo>
                  <a:cubicBezTo>
                    <a:pt x="9111" y="4625"/>
                    <a:pt x="9103" y="4601"/>
                    <a:pt x="9103" y="4569"/>
                  </a:cubicBezTo>
                  <a:cubicBezTo>
                    <a:pt x="9103" y="4530"/>
                    <a:pt x="9119" y="4498"/>
                    <a:pt x="9152" y="4473"/>
                  </a:cubicBezTo>
                  <a:cubicBezTo>
                    <a:pt x="9185" y="4448"/>
                    <a:pt x="9230" y="4435"/>
                    <a:pt x="9289" y="4435"/>
                  </a:cubicBezTo>
                  <a:cubicBezTo>
                    <a:pt x="9319" y="4435"/>
                    <a:pt x="9349" y="4439"/>
                    <a:pt x="9380" y="4447"/>
                  </a:cubicBezTo>
                  <a:cubicBezTo>
                    <a:pt x="9410" y="4455"/>
                    <a:pt x="9435" y="4466"/>
                    <a:pt x="9455" y="4479"/>
                  </a:cubicBezTo>
                  <a:lnTo>
                    <a:pt x="9427" y="4530"/>
                  </a:lnTo>
                  <a:cubicBezTo>
                    <a:pt x="9388" y="4503"/>
                    <a:pt x="9342" y="4490"/>
                    <a:pt x="9289" y="4490"/>
                  </a:cubicBezTo>
                  <a:cubicBezTo>
                    <a:pt x="9248" y="4490"/>
                    <a:pt x="9218" y="4497"/>
                    <a:pt x="9197" y="4511"/>
                  </a:cubicBezTo>
                  <a:cubicBezTo>
                    <a:pt x="9176" y="4525"/>
                    <a:pt x="9166" y="4544"/>
                    <a:pt x="9166" y="4567"/>
                  </a:cubicBezTo>
                  <a:cubicBezTo>
                    <a:pt x="9166" y="4585"/>
                    <a:pt x="9172" y="4599"/>
                    <a:pt x="9184" y="4610"/>
                  </a:cubicBezTo>
                  <a:cubicBezTo>
                    <a:pt x="9195" y="4621"/>
                    <a:pt x="9210" y="4629"/>
                    <a:pt x="9227" y="4634"/>
                  </a:cubicBezTo>
                  <a:cubicBezTo>
                    <a:pt x="9244" y="4639"/>
                    <a:pt x="9268" y="4644"/>
                    <a:pt x="9298" y="4649"/>
                  </a:cubicBezTo>
                  <a:cubicBezTo>
                    <a:pt x="9336" y="4656"/>
                    <a:pt x="9366" y="4664"/>
                    <a:pt x="9389" y="4671"/>
                  </a:cubicBezTo>
                  <a:cubicBezTo>
                    <a:pt x="9411" y="4678"/>
                    <a:pt x="9431" y="4690"/>
                    <a:pt x="9447" y="4707"/>
                  </a:cubicBezTo>
                  <a:cubicBezTo>
                    <a:pt x="9463" y="4724"/>
                    <a:pt x="9471" y="4748"/>
                    <a:pt x="9471" y="4779"/>
                  </a:cubicBezTo>
                  <a:cubicBezTo>
                    <a:pt x="9471" y="4820"/>
                    <a:pt x="9454" y="4852"/>
                    <a:pt x="9420" y="4876"/>
                  </a:cubicBezTo>
                  <a:cubicBezTo>
                    <a:pt x="9385" y="4900"/>
                    <a:pt x="9338" y="4912"/>
                    <a:pt x="9277" y="4912"/>
                  </a:cubicBezTo>
                  <a:cubicBezTo>
                    <a:pt x="9239" y="4912"/>
                    <a:pt x="9202" y="4907"/>
                    <a:pt x="9167" y="4896"/>
                  </a:cubicBezTo>
                  <a:moveTo>
                    <a:pt x="8688" y="4533"/>
                  </a:moveTo>
                  <a:cubicBezTo>
                    <a:pt x="8658" y="4562"/>
                    <a:pt x="8640" y="4599"/>
                    <a:pt x="8636" y="4646"/>
                  </a:cubicBezTo>
                  <a:lnTo>
                    <a:pt x="8969" y="4646"/>
                  </a:lnTo>
                  <a:cubicBezTo>
                    <a:pt x="8965" y="4599"/>
                    <a:pt x="8948" y="4562"/>
                    <a:pt x="8917" y="4533"/>
                  </a:cubicBezTo>
                  <a:cubicBezTo>
                    <a:pt x="8886" y="4504"/>
                    <a:pt x="8848" y="4490"/>
                    <a:pt x="8802" y="4490"/>
                  </a:cubicBezTo>
                  <a:cubicBezTo>
                    <a:pt x="8757" y="4490"/>
                    <a:pt x="8719" y="4504"/>
                    <a:pt x="8688" y="4533"/>
                  </a:cubicBezTo>
                  <a:close/>
                  <a:moveTo>
                    <a:pt x="9029" y="4693"/>
                  </a:moveTo>
                  <a:lnTo>
                    <a:pt x="8636" y="4693"/>
                  </a:lnTo>
                  <a:cubicBezTo>
                    <a:pt x="8640" y="4742"/>
                    <a:pt x="8658" y="4781"/>
                    <a:pt x="8692" y="4811"/>
                  </a:cubicBezTo>
                  <a:cubicBezTo>
                    <a:pt x="8726" y="4841"/>
                    <a:pt x="8769" y="4856"/>
                    <a:pt x="8821" y="4856"/>
                  </a:cubicBezTo>
                  <a:cubicBezTo>
                    <a:pt x="8850" y="4856"/>
                    <a:pt x="8877" y="4851"/>
                    <a:pt x="8901" y="4841"/>
                  </a:cubicBezTo>
                  <a:cubicBezTo>
                    <a:pt x="8926" y="4830"/>
                    <a:pt x="8947" y="4815"/>
                    <a:pt x="8965" y="4795"/>
                  </a:cubicBezTo>
                  <a:lnTo>
                    <a:pt x="9001" y="4836"/>
                  </a:lnTo>
                  <a:cubicBezTo>
                    <a:pt x="8980" y="4861"/>
                    <a:pt x="8954" y="4880"/>
                    <a:pt x="8922" y="4893"/>
                  </a:cubicBezTo>
                  <a:cubicBezTo>
                    <a:pt x="8891" y="4906"/>
                    <a:pt x="8857" y="4912"/>
                    <a:pt x="8819" y="4912"/>
                  </a:cubicBezTo>
                  <a:cubicBezTo>
                    <a:pt x="8771" y="4912"/>
                    <a:pt x="8728" y="4902"/>
                    <a:pt x="8691" y="4882"/>
                  </a:cubicBezTo>
                  <a:cubicBezTo>
                    <a:pt x="8654" y="4861"/>
                    <a:pt x="8625" y="4833"/>
                    <a:pt x="8604" y="4796"/>
                  </a:cubicBezTo>
                  <a:cubicBezTo>
                    <a:pt x="8583" y="4760"/>
                    <a:pt x="8572" y="4719"/>
                    <a:pt x="8572" y="4673"/>
                  </a:cubicBezTo>
                  <a:cubicBezTo>
                    <a:pt x="8572" y="4628"/>
                    <a:pt x="8582" y="4587"/>
                    <a:pt x="8602" y="4550"/>
                  </a:cubicBezTo>
                  <a:cubicBezTo>
                    <a:pt x="8622" y="4514"/>
                    <a:pt x="8650" y="4486"/>
                    <a:pt x="8685" y="4466"/>
                  </a:cubicBezTo>
                  <a:cubicBezTo>
                    <a:pt x="8720" y="4445"/>
                    <a:pt x="8759" y="4435"/>
                    <a:pt x="8802" y="4435"/>
                  </a:cubicBezTo>
                  <a:cubicBezTo>
                    <a:pt x="8846" y="4435"/>
                    <a:pt x="8885" y="4445"/>
                    <a:pt x="8919" y="4466"/>
                  </a:cubicBezTo>
                  <a:cubicBezTo>
                    <a:pt x="8954" y="4486"/>
                    <a:pt x="8981" y="4514"/>
                    <a:pt x="9001" y="4550"/>
                  </a:cubicBezTo>
                  <a:cubicBezTo>
                    <a:pt x="9020" y="4586"/>
                    <a:pt x="9030" y="4627"/>
                    <a:pt x="9030" y="4673"/>
                  </a:cubicBezTo>
                  <a:lnTo>
                    <a:pt x="9029" y="4693"/>
                  </a:lnTo>
                  <a:close/>
                  <a:moveTo>
                    <a:pt x="8388" y="4439"/>
                  </a:moveTo>
                  <a:lnTo>
                    <a:pt x="8452" y="4439"/>
                  </a:lnTo>
                  <a:lnTo>
                    <a:pt x="8452" y="4908"/>
                  </a:lnTo>
                  <a:lnTo>
                    <a:pt x="8388" y="4908"/>
                  </a:lnTo>
                  <a:lnTo>
                    <a:pt x="8388" y="4439"/>
                  </a:lnTo>
                  <a:close/>
                  <a:moveTo>
                    <a:pt x="8387" y="4323"/>
                  </a:moveTo>
                  <a:cubicBezTo>
                    <a:pt x="8378" y="4314"/>
                    <a:pt x="8374" y="4303"/>
                    <a:pt x="8374" y="4291"/>
                  </a:cubicBezTo>
                  <a:cubicBezTo>
                    <a:pt x="8374" y="4279"/>
                    <a:pt x="8378" y="4268"/>
                    <a:pt x="8387" y="4260"/>
                  </a:cubicBezTo>
                  <a:cubicBezTo>
                    <a:pt x="8396" y="4251"/>
                    <a:pt x="8407" y="4246"/>
                    <a:pt x="8420" y="4246"/>
                  </a:cubicBezTo>
                  <a:cubicBezTo>
                    <a:pt x="8434" y="4246"/>
                    <a:pt x="8445" y="4250"/>
                    <a:pt x="8454" y="4259"/>
                  </a:cubicBezTo>
                  <a:cubicBezTo>
                    <a:pt x="8462" y="4268"/>
                    <a:pt x="8467" y="4278"/>
                    <a:pt x="8467" y="4290"/>
                  </a:cubicBezTo>
                  <a:cubicBezTo>
                    <a:pt x="8467" y="4303"/>
                    <a:pt x="8462" y="4314"/>
                    <a:pt x="8454" y="4323"/>
                  </a:cubicBezTo>
                  <a:cubicBezTo>
                    <a:pt x="8445" y="4332"/>
                    <a:pt x="8434" y="4336"/>
                    <a:pt x="8420" y="4336"/>
                  </a:cubicBezTo>
                  <a:cubicBezTo>
                    <a:pt x="8407" y="4336"/>
                    <a:pt x="8396" y="4332"/>
                    <a:pt x="8387" y="4323"/>
                  </a:cubicBezTo>
                  <a:close/>
                  <a:moveTo>
                    <a:pt x="8282" y="4879"/>
                  </a:moveTo>
                  <a:cubicBezTo>
                    <a:pt x="8270" y="4890"/>
                    <a:pt x="8255" y="4898"/>
                    <a:pt x="8238" y="4904"/>
                  </a:cubicBezTo>
                  <a:cubicBezTo>
                    <a:pt x="8220" y="4910"/>
                    <a:pt x="8202" y="4912"/>
                    <a:pt x="8183" y="4912"/>
                  </a:cubicBezTo>
                  <a:cubicBezTo>
                    <a:pt x="8139" y="4912"/>
                    <a:pt x="8105" y="4900"/>
                    <a:pt x="8081" y="4877"/>
                  </a:cubicBezTo>
                  <a:cubicBezTo>
                    <a:pt x="8057" y="4853"/>
                    <a:pt x="8045" y="4819"/>
                    <a:pt x="8045" y="4776"/>
                  </a:cubicBezTo>
                  <a:lnTo>
                    <a:pt x="8045" y="4492"/>
                  </a:lnTo>
                  <a:lnTo>
                    <a:pt x="7961" y="4492"/>
                  </a:lnTo>
                  <a:lnTo>
                    <a:pt x="7961" y="4439"/>
                  </a:lnTo>
                  <a:lnTo>
                    <a:pt x="8045" y="4439"/>
                  </a:lnTo>
                  <a:lnTo>
                    <a:pt x="8045" y="4336"/>
                  </a:lnTo>
                  <a:lnTo>
                    <a:pt x="8108" y="4336"/>
                  </a:lnTo>
                  <a:lnTo>
                    <a:pt x="8108" y="4439"/>
                  </a:lnTo>
                  <a:lnTo>
                    <a:pt x="8251" y="4439"/>
                  </a:lnTo>
                  <a:lnTo>
                    <a:pt x="8251" y="4492"/>
                  </a:lnTo>
                  <a:lnTo>
                    <a:pt x="8108" y="4492"/>
                  </a:lnTo>
                  <a:lnTo>
                    <a:pt x="8108" y="4772"/>
                  </a:lnTo>
                  <a:cubicBezTo>
                    <a:pt x="8108" y="4800"/>
                    <a:pt x="8115" y="4822"/>
                    <a:pt x="8129" y="4836"/>
                  </a:cubicBezTo>
                  <a:cubicBezTo>
                    <a:pt x="8143" y="4851"/>
                    <a:pt x="8164" y="4858"/>
                    <a:pt x="8190" y="4858"/>
                  </a:cubicBezTo>
                  <a:cubicBezTo>
                    <a:pt x="8203" y="4858"/>
                    <a:pt x="8216" y="4856"/>
                    <a:pt x="8228" y="4852"/>
                  </a:cubicBezTo>
                  <a:cubicBezTo>
                    <a:pt x="8240" y="4848"/>
                    <a:pt x="8251" y="4842"/>
                    <a:pt x="8260" y="4834"/>
                  </a:cubicBezTo>
                  <a:lnTo>
                    <a:pt x="8282" y="4879"/>
                  </a:lnTo>
                  <a:close/>
                  <a:moveTo>
                    <a:pt x="7803" y="4439"/>
                  </a:moveTo>
                  <a:lnTo>
                    <a:pt x="7866" y="4439"/>
                  </a:lnTo>
                  <a:lnTo>
                    <a:pt x="7866" y="4908"/>
                  </a:lnTo>
                  <a:lnTo>
                    <a:pt x="7803" y="4908"/>
                  </a:lnTo>
                  <a:lnTo>
                    <a:pt x="7803" y="4439"/>
                  </a:lnTo>
                  <a:close/>
                  <a:moveTo>
                    <a:pt x="7802" y="4323"/>
                  </a:moveTo>
                  <a:cubicBezTo>
                    <a:pt x="7793" y="4314"/>
                    <a:pt x="7788" y="4303"/>
                    <a:pt x="7788" y="4291"/>
                  </a:cubicBezTo>
                  <a:cubicBezTo>
                    <a:pt x="7788" y="4279"/>
                    <a:pt x="7793" y="4268"/>
                    <a:pt x="7802" y="4260"/>
                  </a:cubicBezTo>
                  <a:cubicBezTo>
                    <a:pt x="7811" y="4251"/>
                    <a:pt x="7822" y="4246"/>
                    <a:pt x="7835" y="4246"/>
                  </a:cubicBezTo>
                  <a:cubicBezTo>
                    <a:pt x="7848" y="4246"/>
                    <a:pt x="7859" y="4250"/>
                    <a:pt x="7868" y="4259"/>
                  </a:cubicBezTo>
                  <a:cubicBezTo>
                    <a:pt x="7877" y="4268"/>
                    <a:pt x="7881" y="4278"/>
                    <a:pt x="7881" y="4290"/>
                  </a:cubicBezTo>
                  <a:cubicBezTo>
                    <a:pt x="7881" y="4303"/>
                    <a:pt x="7877" y="4314"/>
                    <a:pt x="7868" y="4323"/>
                  </a:cubicBezTo>
                  <a:cubicBezTo>
                    <a:pt x="7859" y="4332"/>
                    <a:pt x="7848" y="4336"/>
                    <a:pt x="7835" y="4336"/>
                  </a:cubicBezTo>
                  <a:cubicBezTo>
                    <a:pt x="7822" y="4336"/>
                    <a:pt x="7811" y="4332"/>
                    <a:pt x="7802" y="4323"/>
                  </a:cubicBezTo>
                  <a:close/>
                  <a:moveTo>
                    <a:pt x="7571" y="4246"/>
                  </a:moveTo>
                  <a:lnTo>
                    <a:pt x="7635" y="4246"/>
                  </a:lnTo>
                  <a:lnTo>
                    <a:pt x="7635" y="4908"/>
                  </a:lnTo>
                  <a:lnTo>
                    <a:pt x="7571" y="4908"/>
                  </a:lnTo>
                  <a:lnTo>
                    <a:pt x="7571" y="4246"/>
                  </a:lnTo>
                  <a:close/>
                  <a:moveTo>
                    <a:pt x="7340" y="4439"/>
                  </a:moveTo>
                  <a:lnTo>
                    <a:pt x="7403" y="4439"/>
                  </a:lnTo>
                  <a:lnTo>
                    <a:pt x="7403" y="4908"/>
                  </a:lnTo>
                  <a:lnTo>
                    <a:pt x="7340" y="4908"/>
                  </a:lnTo>
                  <a:lnTo>
                    <a:pt x="7340" y="4439"/>
                  </a:lnTo>
                  <a:close/>
                  <a:moveTo>
                    <a:pt x="7339" y="4323"/>
                  </a:moveTo>
                  <a:cubicBezTo>
                    <a:pt x="7330" y="4314"/>
                    <a:pt x="7325" y="4303"/>
                    <a:pt x="7325" y="4291"/>
                  </a:cubicBezTo>
                  <a:cubicBezTo>
                    <a:pt x="7325" y="4279"/>
                    <a:pt x="7330" y="4268"/>
                    <a:pt x="7339" y="4260"/>
                  </a:cubicBezTo>
                  <a:cubicBezTo>
                    <a:pt x="7348" y="4251"/>
                    <a:pt x="7359" y="4246"/>
                    <a:pt x="7372" y="4246"/>
                  </a:cubicBezTo>
                  <a:cubicBezTo>
                    <a:pt x="7385" y="4246"/>
                    <a:pt x="7396" y="4250"/>
                    <a:pt x="7405" y="4259"/>
                  </a:cubicBezTo>
                  <a:cubicBezTo>
                    <a:pt x="7414" y="4268"/>
                    <a:pt x="7418" y="4278"/>
                    <a:pt x="7418" y="4290"/>
                  </a:cubicBezTo>
                  <a:cubicBezTo>
                    <a:pt x="7418" y="4303"/>
                    <a:pt x="7414" y="4314"/>
                    <a:pt x="7405" y="4323"/>
                  </a:cubicBezTo>
                  <a:cubicBezTo>
                    <a:pt x="7396" y="4332"/>
                    <a:pt x="7385" y="4336"/>
                    <a:pt x="7372" y="4336"/>
                  </a:cubicBezTo>
                  <a:cubicBezTo>
                    <a:pt x="7359" y="4336"/>
                    <a:pt x="7348" y="4332"/>
                    <a:pt x="7339" y="4323"/>
                  </a:cubicBezTo>
                  <a:close/>
                  <a:moveTo>
                    <a:pt x="7070" y="4833"/>
                  </a:moveTo>
                  <a:cubicBezTo>
                    <a:pt x="7096" y="4818"/>
                    <a:pt x="7117" y="4797"/>
                    <a:pt x="7133" y="4769"/>
                  </a:cubicBezTo>
                  <a:cubicBezTo>
                    <a:pt x="7148" y="4741"/>
                    <a:pt x="7155" y="4709"/>
                    <a:pt x="7155" y="4673"/>
                  </a:cubicBezTo>
                  <a:cubicBezTo>
                    <a:pt x="7155" y="4638"/>
                    <a:pt x="7148" y="4606"/>
                    <a:pt x="7133" y="4578"/>
                  </a:cubicBezTo>
                  <a:cubicBezTo>
                    <a:pt x="7117" y="4550"/>
                    <a:pt x="7096" y="4528"/>
                    <a:pt x="7070" y="4513"/>
                  </a:cubicBezTo>
                  <a:cubicBezTo>
                    <a:pt x="7043" y="4498"/>
                    <a:pt x="7013" y="4491"/>
                    <a:pt x="6980" y="4491"/>
                  </a:cubicBezTo>
                  <a:cubicBezTo>
                    <a:pt x="6947" y="4491"/>
                    <a:pt x="6917" y="4498"/>
                    <a:pt x="6890" y="4513"/>
                  </a:cubicBezTo>
                  <a:cubicBezTo>
                    <a:pt x="6864" y="4528"/>
                    <a:pt x="6843" y="4550"/>
                    <a:pt x="6828" y="4578"/>
                  </a:cubicBezTo>
                  <a:cubicBezTo>
                    <a:pt x="6813" y="4606"/>
                    <a:pt x="6805" y="4638"/>
                    <a:pt x="6805" y="4673"/>
                  </a:cubicBezTo>
                  <a:cubicBezTo>
                    <a:pt x="6805" y="4709"/>
                    <a:pt x="6813" y="4741"/>
                    <a:pt x="6828" y="4769"/>
                  </a:cubicBezTo>
                  <a:cubicBezTo>
                    <a:pt x="6843" y="4797"/>
                    <a:pt x="6864" y="4818"/>
                    <a:pt x="6890" y="4833"/>
                  </a:cubicBezTo>
                  <a:cubicBezTo>
                    <a:pt x="6917" y="4849"/>
                    <a:pt x="6947" y="4856"/>
                    <a:pt x="6980" y="4856"/>
                  </a:cubicBezTo>
                  <a:cubicBezTo>
                    <a:pt x="7013" y="4856"/>
                    <a:pt x="7043" y="4849"/>
                    <a:pt x="7070" y="4833"/>
                  </a:cubicBezTo>
                  <a:close/>
                  <a:moveTo>
                    <a:pt x="7104" y="4465"/>
                  </a:moveTo>
                  <a:cubicBezTo>
                    <a:pt x="7140" y="4485"/>
                    <a:pt x="7168" y="4513"/>
                    <a:pt x="7188" y="4549"/>
                  </a:cubicBezTo>
                  <a:cubicBezTo>
                    <a:pt x="7209" y="4586"/>
                    <a:pt x="7219" y="4627"/>
                    <a:pt x="7219" y="4673"/>
                  </a:cubicBezTo>
                  <a:cubicBezTo>
                    <a:pt x="7219" y="4720"/>
                    <a:pt x="7209" y="4761"/>
                    <a:pt x="7188" y="4797"/>
                  </a:cubicBezTo>
                  <a:cubicBezTo>
                    <a:pt x="7168" y="4834"/>
                    <a:pt x="7140" y="4862"/>
                    <a:pt x="7104" y="4882"/>
                  </a:cubicBezTo>
                  <a:cubicBezTo>
                    <a:pt x="7069" y="4902"/>
                    <a:pt x="7029" y="4912"/>
                    <a:pt x="6985" y="4912"/>
                  </a:cubicBezTo>
                  <a:cubicBezTo>
                    <a:pt x="6945" y="4912"/>
                    <a:pt x="6910" y="4904"/>
                    <a:pt x="6879" y="4887"/>
                  </a:cubicBezTo>
                  <a:cubicBezTo>
                    <a:pt x="6847" y="4871"/>
                    <a:pt x="6822" y="4847"/>
                    <a:pt x="6803" y="4815"/>
                  </a:cubicBezTo>
                  <a:lnTo>
                    <a:pt x="6803" y="4908"/>
                  </a:lnTo>
                  <a:lnTo>
                    <a:pt x="6742" y="4908"/>
                  </a:lnTo>
                  <a:lnTo>
                    <a:pt x="6742" y="4246"/>
                  </a:lnTo>
                  <a:lnTo>
                    <a:pt x="6806" y="4246"/>
                  </a:lnTo>
                  <a:lnTo>
                    <a:pt x="6806" y="4528"/>
                  </a:lnTo>
                  <a:cubicBezTo>
                    <a:pt x="6825" y="4498"/>
                    <a:pt x="6851" y="4475"/>
                    <a:pt x="6881" y="4459"/>
                  </a:cubicBezTo>
                  <a:cubicBezTo>
                    <a:pt x="6912" y="4443"/>
                    <a:pt x="6946" y="4435"/>
                    <a:pt x="6985" y="4435"/>
                  </a:cubicBezTo>
                  <a:cubicBezTo>
                    <a:pt x="7029" y="4435"/>
                    <a:pt x="7069" y="4445"/>
                    <a:pt x="7104" y="4465"/>
                  </a:cubicBezTo>
                  <a:close/>
                  <a:moveTo>
                    <a:pt x="6511" y="4439"/>
                  </a:moveTo>
                  <a:lnTo>
                    <a:pt x="6574" y="4439"/>
                  </a:lnTo>
                  <a:lnTo>
                    <a:pt x="6574" y="4908"/>
                  </a:lnTo>
                  <a:lnTo>
                    <a:pt x="6511" y="4908"/>
                  </a:lnTo>
                  <a:lnTo>
                    <a:pt x="6511" y="4439"/>
                  </a:lnTo>
                  <a:close/>
                  <a:moveTo>
                    <a:pt x="6510" y="4323"/>
                  </a:moveTo>
                  <a:cubicBezTo>
                    <a:pt x="6501" y="4314"/>
                    <a:pt x="6496" y="4303"/>
                    <a:pt x="6496" y="4291"/>
                  </a:cubicBezTo>
                  <a:cubicBezTo>
                    <a:pt x="6496" y="4279"/>
                    <a:pt x="6501" y="4268"/>
                    <a:pt x="6510" y="4260"/>
                  </a:cubicBezTo>
                  <a:cubicBezTo>
                    <a:pt x="6519" y="4251"/>
                    <a:pt x="6530" y="4246"/>
                    <a:pt x="6543" y="4246"/>
                  </a:cubicBezTo>
                  <a:cubicBezTo>
                    <a:pt x="6556" y="4246"/>
                    <a:pt x="6567" y="4250"/>
                    <a:pt x="6576" y="4259"/>
                  </a:cubicBezTo>
                  <a:cubicBezTo>
                    <a:pt x="6585" y="4268"/>
                    <a:pt x="6589" y="4278"/>
                    <a:pt x="6589" y="4290"/>
                  </a:cubicBezTo>
                  <a:cubicBezTo>
                    <a:pt x="6589" y="4303"/>
                    <a:pt x="6585" y="4314"/>
                    <a:pt x="6576" y="4323"/>
                  </a:cubicBezTo>
                  <a:cubicBezTo>
                    <a:pt x="6567" y="4332"/>
                    <a:pt x="6556" y="4336"/>
                    <a:pt x="6543" y="4336"/>
                  </a:cubicBezTo>
                  <a:cubicBezTo>
                    <a:pt x="6530" y="4336"/>
                    <a:pt x="6519" y="4332"/>
                    <a:pt x="6510" y="4323"/>
                  </a:cubicBezTo>
                  <a:close/>
                  <a:moveTo>
                    <a:pt x="6099" y="4896"/>
                  </a:moveTo>
                  <a:cubicBezTo>
                    <a:pt x="6064" y="4885"/>
                    <a:pt x="6037" y="4871"/>
                    <a:pt x="6017" y="4854"/>
                  </a:cubicBezTo>
                  <a:lnTo>
                    <a:pt x="6046" y="4804"/>
                  </a:lnTo>
                  <a:cubicBezTo>
                    <a:pt x="6066" y="4820"/>
                    <a:pt x="6090" y="4833"/>
                    <a:pt x="6120" y="4842"/>
                  </a:cubicBezTo>
                  <a:cubicBezTo>
                    <a:pt x="6150" y="4852"/>
                    <a:pt x="6181" y="4857"/>
                    <a:pt x="6213" y="4857"/>
                  </a:cubicBezTo>
                  <a:cubicBezTo>
                    <a:pt x="6256" y="4857"/>
                    <a:pt x="6288" y="4850"/>
                    <a:pt x="6308" y="4837"/>
                  </a:cubicBezTo>
                  <a:cubicBezTo>
                    <a:pt x="6329" y="4824"/>
                    <a:pt x="6339" y="4805"/>
                    <a:pt x="6339" y="4780"/>
                  </a:cubicBezTo>
                  <a:cubicBezTo>
                    <a:pt x="6339" y="4763"/>
                    <a:pt x="6333" y="4750"/>
                    <a:pt x="6322" y="4740"/>
                  </a:cubicBezTo>
                  <a:cubicBezTo>
                    <a:pt x="6311" y="4730"/>
                    <a:pt x="6296" y="4723"/>
                    <a:pt x="6279" y="4717"/>
                  </a:cubicBezTo>
                  <a:cubicBezTo>
                    <a:pt x="6262" y="4712"/>
                    <a:pt x="6239" y="4708"/>
                    <a:pt x="6210" y="4703"/>
                  </a:cubicBezTo>
                  <a:cubicBezTo>
                    <a:pt x="6172" y="4696"/>
                    <a:pt x="6141" y="4688"/>
                    <a:pt x="6118" y="4681"/>
                  </a:cubicBezTo>
                  <a:cubicBezTo>
                    <a:pt x="6095" y="4674"/>
                    <a:pt x="6075" y="4661"/>
                    <a:pt x="6059" y="4643"/>
                  </a:cubicBezTo>
                  <a:cubicBezTo>
                    <a:pt x="6042" y="4625"/>
                    <a:pt x="6034" y="4601"/>
                    <a:pt x="6034" y="4569"/>
                  </a:cubicBezTo>
                  <a:cubicBezTo>
                    <a:pt x="6034" y="4530"/>
                    <a:pt x="6051" y="4498"/>
                    <a:pt x="6083" y="4473"/>
                  </a:cubicBezTo>
                  <a:cubicBezTo>
                    <a:pt x="6116" y="4448"/>
                    <a:pt x="6162" y="4435"/>
                    <a:pt x="6220" y="4435"/>
                  </a:cubicBezTo>
                  <a:cubicBezTo>
                    <a:pt x="6251" y="4435"/>
                    <a:pt x="6281" y="4439"/>
                    <a:pt x="6311" y="4447"/>
                  </a:cubicBezTo>
                  <a:cubicBezTo>
                    <a:pt x="6342" y="4455"/>
                    <a:pt x="6367" y="4466"/>
                    <a:pt x="6386" y="4479"/>
                  </a:cubicBezTo>
                  <a:lnTo>
                    <a:pt x="6359" y="4530"/>
                  </a:lnTo>
                  <a:cubicBezTo>
                    <a:pt x="6320" y="4503"/>
                    <a:pt x="6274" y="4490"/>
                    <a:pt x="6220" y="4490"/>
                  </a:cubicBezTo>
                  <a:cubicBezTo>
                    <a:pt x="6180" y="4490"/>
                    <a:pt x="6149" y="4497"/>
                    <a:pt x="6129" y="4511"/>
                  </a:cubicBezTo>
                  <a:cubicBezTo>
                    <a:pt x="6108" y="4525"/>
                    <a:pt x="6098" y="4544"/>
                    <a:pt x="6098" y="4567"/>
                  </a:cubicBezTo>
                  <a:cubicBezTo>
                    <a:pt x="6098" y="4585"/>
                    <a:pt x="6104" y="4599"/>
                    <a:pt x="6115" y="4610"/>
                  </a:cubicBezTo>
                  <a:cubicBezTo>
                    <a:pt x="6127" y="4621"/>
                    <a:pt x="6141" y="4629"/>
                    <a:pt x="6158" y="4634"/>
                  </a:cubicBezTo>
                  <a:cubicBezTo>
                    <a:pt x="6176" y="4639"/>
                    <a:pt x="6200" y="4644"/>
                    <a:pt x="6230" y="4649"/>
                  </a:cubicBezTo>
                  <a:cubicBezTo>
                    <a:pt x="6268" y="4656"/>
                    <a:pt x="6298" y="4664"/>
                    <a:pt x="6320" y="4671"/>
                  </a:cubicBezTo>
                  <a:cubicBezTo>
                    <a:pt x="6343" y="4678"/>
                    <a:pt x="6362" y="4690"/>
                    <a:pt x="6378" y="4707"/>
                  </a:cubicBezTo>
                  <a:cubicBezTo>
                    <a:pt x="6395" y="4724"/>
                    <a:pt x="6403" y="4748"/>
                    <a:pt x="6403" y="4779"/>
                  </a:cubicBezTo>
                  <a:cubicBezTo>
                    <a:pt x="6403" y="4820"/>
                    <a:pt x="6385" y="4852"/>
                    <a:pt x="6351" y="4876"/>
                  </a:cubicBezTo>
                  <a:cubicBezTo>
                    <a:pt x="6317" y="4900"/>
                    <a:pt x="6269" y="4912"/>
                    <a:pt x="6209" y="4912"/>
                  </a:cubicBezTo>
                  <a:cubicBezTo>
                    <a:pt x="6170" y="4912"/>
                    <a:pt x="6134" y="4907"/>
                    <a:pt x="6099" y="4896"/>
                  </a:cubicBezTo>
                  <a:moveTo>
                    <a:pt x="5653" y="4896"/>
                  </a:moveTo>
                  <a:cubicBezTo>
                    <a:pt x="5618" y="4885"/>
                    <a:pt x="5591" y="4871"/>
                    <a:pt x="5571" y="4854"/>
                  </a:cubicBezTo>
                  <a:lnTo>
                    <a:pt x="5600" y="4804"/>
                  </a:lnTo>
                  <a:cubicBezTo>
                    <a:pt x="5619" y="4820"/>
                    <a:pt x="5644" y="4833"/>
                    <a:pt x="5674" y="4842"/>
                  </a:cubicBezTo>
                  <a:cubicBezTo>
                    <a:pt x="5704" y="4852"/>
                    <a:pt x="5735" y="4857"/>
                    <a:pt x="5767" y="4857"/>
                  </a:cubicBezTo>
                  <a:cubicBezTo>
                    <a:pt x="5810" y="4857"/>
                    <a:pt x="5842" y="4850"/>
                    <a:pt x="5862" y="4837"/>
                  </a:cubicBezTo>
                  <a:cubicBezTo>
                    <a:pt x="5883" y="4824"/>
                    <a:pt x="5893" y="4805"/>
                    <a:pt x="5893" y="4780"/>
                  </a:cubicBezTo>
                  <a:cubicBezTo>
                    <a:pt x="5893" y="4763"/>
                    <a:pt x="5887" y="4750"/>
                    <a:pt x="5876" y="4740"/>
                  </a:cubicBezTo>
                  <a:cubicBezTo>
                    <a:pt x="5865" y="4730"/>
                    <a:pt x="5850" y="4723"/>
                    <a:pt x="5833" y="4717"/>
                  </a:cubicBezTo>
                  <a:cubicBezTo>
                    <a:pt x="5816" y="4712"/>
                    <a:pt x="5793" y="4708"/>
                    <a:pt x="5764" y="4703"/>
                  </a:cubicBezTo>
                  <a:cubicBezTo>
                    <a:pt x="5726" y="4696"/>
                    <a:pt x="5695" y="4688"/>
                    <a:pt x="5672" y="4681"/>
                  </a:cubicBezTo>
                  <a:cubicBezTo>
                    <a:pt x="5649" y="4674"/>
                    <a:pt x="5629" y="4661"/>
                    <a:pt x="5613" y="4643"/>
                  </a:cubicBezTo>
                  <a:cubicBezTo>
                    <a:pt x="5596" y="4625"/>
                    <a:pt x="5588" y="4601"/>
                    <a:pt x="5588" y="4569"/>
                  </a:cubicBezTo>
                  <a:cubicBezTo>
                    <a:pt x="5588" y="4530"/>
                    <a:pt x="5604" y="4498"/>
                    <a:pt x="5637" y="4473"/>
                  </a:cubicBezTo>
                  <a:cubicBezTo>
                    <a:pt x="5670" y="4448"/>
                    <a:pt x="5716" y="4435"/>
                    <a:pt x="5774" y="4435"/>
                  </a:cubicBezTo>
                  <a:cubicBezTo>
                    <a:pt x="5804" y="4435"/>
                    <a:pt x="5835" y="4439"/>
                    <a:pt x="5865" y="4447"/>
                  </a:cubicBezTo>
                  <a:cubicBezTo>
                    <a:pt x="5896" y="4455"/>
                    <a:pt x="5921" y="4466"/>
                    <a:pt x="5940" y="4479"/>
                  </a:cubicBezTo>
                  <a:lnTo>
                    <a:pt x="5913" y="4530"/>
                  </a:lnTo>
                  <a:cubicBezTo>
                    <a:pt x="5874" y="4503"/>
                    <a:pt x="5828" y="4490"/>
                    <a:pt x="5774" y="4490"/>
                  </a:cubicBezTo>
                  <a:cubicBezTo>
                    <a:pt x="5734" y="4490"/>
                    <a:pt x="5703" y="4497"/>
                    <a:pt x="5682" y="4511"/>
                  </a:cubicBezTo>
                  <a:cubicBezTo>
                    <a:pt x="5662" y="4525"/>
                    <a:pt x="5652" y="4544"/>
                    <a:pt x="5652" y="4567"/>
                  </a:cubicBezTo>
                  <a:cubicBezTo>
                    <a:pt x="5652" y="4585"/>
                    <a:pt x="5657" y="4599"/>
                    <a:pt x="5669" y="4610"/>
                  </a:cubicBezTo>
                  <a:cubicBezTo>
                    <a:pt x="5681" y="4621"/>
                    <a:pt x="5695" y="4629"/>
                    <a:pt x="5712" y="4634"/>
                  </a:cubicBezTo>
                  <a:cubicBezTo>
                    <a:pt x="5730" y="4639"/>
                    <a:pt x="5754" y="4644"/>
                    <a:pt x="5784" y="4649"/>
                  </a:cubicBezTo>
                  <a:cubicBezTo>
                    <a:pt x="5821" y="4656"/>
                    <a:pt x="5852" y="4664"/>
                    <a:pt x="5874" y="4671"/>
                  </a:cubicBezTo>
                  <a:cubicBezTo>
                    <a:pt x="5897" y="4678"/>
                    <a:pt x="5916" y="4690"/>
                    <a:pt x="5932" y="4707"/>
                  </a:cubicBezTo>
                  <a:cubicBezTo>
                    <a:pt x="5948" y="4724"/>
                    <a:pt x="5956" y="4748"/>
                    <a:pt x="5956" y="4779"/>
                  </a:cubicBezTo>
                  <a:cubicBezTo>
                    <a:pt x="5956" y="4820"/>
                    <a:pt x="5939" y="4852"/>
                    <a:pt x="5905" y="4876"/>
                  </a:cubicBezTo>
                  <a:cubicBezTo>
                    <a:pt x="5871" y="4900"/>
                    <a:pt x="5823" y="4912"/>
                    <a:pt x="5762" y="4912"/>
                  </a:cubicBezTo>
                  <a:cubicBezTo>
                    <a:pt x="5724" y="4912"/>
                    <a:pt x="5688" y="4907"/>
                    <a:pt x="5653" y="4896"/>
                  </a:cubicBezTo>
                  <a:moveTo>
                    <a:pt x="5367" y="4833"/>
                  </a:moveTo>
                  <a:cubicBezTo>
                    <a:pt x="5393" y="4818"/>
                    <a:pt x="5414" y="4797"/>
                    <a:pt x="5429" y="4769"/>
                  </a:cubicBezTo>
                  <a:cubicBezTo>
                    <a:pt x="5444" y="4741"/>
                    <a:pt x="5451" y="4709"/>
                    <a:pt x="5451" y="4673"/>
                  </a:cubicBezTo>
                  <a:cubicBezTo>
                    <a:pt x="5451" y="4638"/>
                    <a:pt x="5444" y="4606"/>
                    <a:pt x="5429" y="4578"/>
                  </a:cubicBezTo>
                  <a:cubicBezTo>
                    <a:pt x="5414" y="4550"/>
                    <a:pt x="5393" y="4528"/>
                    <a:pt x="5367" y="4513"/>
                  </a:cubicBezTo>
                  <a:cubicBezTo>
                    <a:pt x="5340" y="4498"/>
                    <a:pt x="5310" y="4491"/>
                    <a:pt x="5277" y="4491"/>
                  </a:cubicBezTo>
                  <a:cubicBezTo>
                    <a:pt x="5244" y="4491"/>
                    <a:pt x="5214" y="4498"/>
                    <a:pt x="5187" y="4513"/>
                  </a:cubicBezTo>
                  <a:cubicBezTo>
                    <a:pt x="5161" y="4528"/>
                    <a:pt x="5140" y="4550"/>
                    <a:pt x="5124" y="4578"/>
                  </a:cubicBezTo>
                  <a:cubicBezTo>
                    <a:pt x="5109" y="4606"/>
                    <a:pt x="5102" y="4638"/>
                    <a:pt x="5102" y="4673"/>
                  </a:cubicBezTo>
                  <a:cubicBezTo>
                    <a:pt x="5102" y="4709"/>
                    <a:pt x="5109" y="4741"/>
                    <a:pt x="5124" y="4769"/>
                  </a:cubicBezTo>
                  <a:cubicBezTo>
                    <a:pt x="5140" y="4797"/>
                    <a:pt x="5161" y="4818"/>
                    <a:pt x="5187" y="4833"/>
                  </a:cubicBezTo>
                  <a:cubicBezTo>
                    <a:pt x="5214" y="4849"/>
                    <a:pt x="5244" y="4856"/>
                    <a:pt x="5277" y="4856"/>
                  </a:cubicBezTo>
                  <a:cubicBezTo>
                    <a:pt x="5310" y="4856"/>
                    <a:pt x="5340" y="4849"/>
                    <a:pt x="5367" y="4833"/>
                  </a:cubicBezTo>
                  <a:close/>
                  <a:moveTo>
                    <a:pt x="5154" y="4882"/>
                  </a:moveTo>
                  <a:cubicBezTo>
                    <a:pt x="5118" y="4861"/>
                    <a:pt x="5089" y="4833"/>
                    <a:pt x="5069" y="4796"/>
                  </a:cubicBezTo>
                  <a:cubicBezTo>
                    <a:pt x="5048" y="4760"/>
                    <a:pt x="5037" y="4719"/>
                    <a:pt x="5037" y="4673"/>
                  </a:cubicBezTo>
                  <a:cubicBezTo>
                    <a:pt x="5037" y="4628"/>
                    <a:pt x="5048" y="4587"/>
                    <a:pt x="5069" y="4550"/>
                  </a:cubicBezTo>
                  <a:cubicBezTo>
                    <a:pt x="5089" y="4514"/>
                    <a:pt x="5118" y="4486"/>
                    <a:pt x="5154" y="4466"/>
                  </a:cubicBezTo>
                  <a:cubicBezTo>
                    <a:pt x="5191" y="4445"/>
                    <a:pt x="5232" y="4435"/>
                    <a:pt x="5277" y="4435"/>
                  </a:cubicBezTo>
                  <a:cubicBezTo>
                    <a:pt x="5322" y="4435"/>
                    <a:pt x="5363" y="4445"/>
                    <a:pt x="5399" y="4466"/>
                  </a:cubicBezTo>
                  <a:cubicBezTo>
                    <a:pt x="5436" y="4486"/>
                    <a:pt x="5464" y="4514"/>
                    <a:pt x="5485" y="4550"/>
                  </a:cubicBezTo>
                  <a:cubicBezTo>
                    <a:pt x="5505" y="4587"/>
                    <a:pt x="5516" y="4628"/>
                    <a:pt x="5516" y="4673"/>
                  </a:cubicBezTo>
                  <a:cubicBezTo>
                    <a:pt x="5516" y="4719"/>
                    <a:pt x="5505" y="4760"/>
                    <a:pt x="5485" y="4796"/>
                  </a:cubicBezTo>
                  <a:cubicBezTo>
                    <a:pt x="5464" y="4833"/>
                    <a:pt x="5436" y="4861"/>
                    <a:pt x="5399" y="4882"/>
                  </a:cubicBezTo>
                  <a:cubicBezTo>
                    <a:pt x="5363" y="4902"/>
                    <a:pt x="5322" y="4912"/>
                    <a:pt x="5277" y="4912"/>
                  </a:cubicBezTo>
                  <a:cubicBezTo>
                    <a:pt x="5232" y="4912"/>
                    <a:pt x="5191" y="4902"/>
                    <a:pt x="5154" y="4882"/>
                  </a:cubicBezTo>
                  <a:close/>
                  <a:moveTo>
                    <a:pt x="4869" y="4612"/>
                  </a:moveTo>
                  <a:cubicBezTo>
                    <a:pt x="4902" y="4585"/>
                    <a:pt x="4918" y="4547"/>
                    <a:pt x="4918" y="4498"/>
                  </a:cubicBezTo>
                  <a:cubicBezTo>
                    <a:pt x="4918" y="4447"/>
                    <a:pt x="4902" y="4408"/>
                    <a:pt x="4869" y="4381"/>
                  </a:cubicBezTo>
                  <a:cubicBezTo>
                    <a:pt x="4836" y="4354"/>
                    <a:pt x="4789" y="4341"/>
                    <a:pt x="4727" y="4341"/>
                  </a:cubicBezTo>
                  <a:lnTo>
                    <a:pt x="4561" y="4341"/>
                  </a:lnTo>
                  <a:lnTo>
                    <a:pt x="4561" y="4653"/>
                  </a:lnTo>
                  <a:lnTo>
                    <a:pt x="4727" y="4653"/>
                  </a:lnTo>
                  <a:cubicBezTo>
                    <a:pt x="4789" y="4653"/>
                    <a:pt x="4836" y="4639"/>
                    <a:pt x="4869" y="4612"/>
                  </a:cubicBezTo>
                  <a:close/>
                  <a:moveTo>
                    <a:pt x="4917" y="4341"/>
                  </a:moveTo>
                  <a:cubicBezTo>
                    <a:pt x="4962" y="4379"/>
                    <a:pt x="4985" y="4431"/>
                    <a:pt x="4985" y="4498"/>
                  </a:cubicBezTo>
                  <a:cubicBezTo>
                    <a:pt x="4985" y="4564"/>
                    <a:pt x="4962" y="4616"/>
                    <a:pt x="4917" y="4654"/>
                  </a:cubicBezTo>
                  <a:cubicBezTo>
                    <a:pt x="4871" y="4692"/>
                    <a:pt x="4809" y="4711"/>
                    <a:pt x="4729" y="4711"/>
                  </a:cubicBezTo>
                  <a:lnTo>
                    <a:pt x="4561" y="4711"/>
                  </a:lnTo>
                  <a:lnTo>
                    <a:pt x="4561" y="4908"/>
                  </a:lnTo>
                  <a:lnTo>
                    <a:pt x="4495" y="4908"/>
                  </a:lnTo>
                  <a:lnTo>
                    <a:pt x="4495" y="4284"/>
                  </a:lnTo>
                  <a:lnTo>
                    <a:pt x="4729" y="4284"/>
                  </a:lnTo>
                  <a:cubicBezTo>
                    <a:pt x="4809" y="4284"/>
                    <a:pt x="4871" y="4303"/>
                    <a:pt x="4917" y="4341"/>
                  </a:cubicBezTo>
                  <a:moveTo>
                    <a:pt x="3939" y="4812"/>
                  </a:moveTo>
                  <a:cubicBezTo>
                    <a:pt x="3966" y="4797"/>
                    <a:pt x="3987" y="4777"/>
                    <a:pt x="4002" y="4751"/>
                  </a:cubicBezTo>
                  <a:cubicBezTo>
                    <a:pt x="4018" y="4725"/>
                    <a:pt x="4025" y="4695"/>
                    <a:pt x="4025" y="4662"/>
                  </a:cubicBezTo>
                  <a:cubicBezTo>
                    <a:pt x="4025" y="4628"/>
                    <a:pt x="4018" y="4599"/>
                    <a:pt x="4002" y="4573"/>
                  </a:cubicBezTo>
                  <a:cubicBezTo>
                    <a:pt x="3987" y="4547"/>
                    <a:pt x="3966" y="4527"/>
                    <a:pt x="3939" y="4512"/>
                  </a:cubicBezTo>
                  <a:cubicBezTo>
                    <a:pt x="3912" y="4498"/>
                    <a:pt x="3881" y="4491"/>
                    <a:pt x="3846" y="4491"/>
                  </a:cubicBezTo>
                  <a:cubicBezTo>
                    <a:pt x="3812" y="4491"/>
                    <a:pt x="3782" y="4498"/>
                    <a:pt x="3755" y="4512"/>
                  </a:cubicBezTo>
                  <a:cubicBezTo>
                    <a:pt x="3728" y="4526"/>
                    <a:pt x="3707" y="4546"/>
                    <a:pt x="3691" y="4573"/>
                  </a:cubicBezTo>
                  <a:cubicBezTo>
                    <a:pt x="3676" y="4599"/>
                    <a:pt x="3669" y="4628"/>
                    <a:pt x="3669" y="4662"/>
                  </a:cubicBezTo>
                  <a:cubicBezTo>
                    <a:pt x="3669" y="4695"/>
                    <a:pt x="3676" y="4725"/>
                    <a:pt x="3691" y="4751"/>
                  </a:cubicBezTo>
                  <a:cubicBezTo>
                    <a:pt x="3707" y="4777"/>
                    <a:pt x="3728" y="4797"/>
                    <a:pt x="3755" y="4812"/>
                  </a:cubicBezTo>
                  <a:cubicBezTo>
                    <a:pt x="3782" y="4827"/>
                    <a:pt x="3812" y="4834"/>
                    <a:pt x="3846" y="4834"/>
                  </a:cubicBezTo>
                  <a:cubicBezTo>
                    <a:pt x="3880" y="4834"/>
                    <a:pt x="3911" y="4827"/>
                    <a:pt x="3939" y="4812"/>
                  </a:cubicBezTo>
                  <a:moveTo>
                    <a:pt x="4087" y="4439"/>
                  </a:moveTo>
                  <a:lnTo>
                    <a:pt x="4087" y="4851"/>
                  </a:lnTo>
                  <a:cubicBezTo>
                    <a:pt x="4087" y="4930"/>
                    <a:pt x="4067" y="4990"/>
                    <a:pt x="4028" y="5028"/>
                  </a:cubicBezTo>
                  <a:cubicBezTo>
                    <a:pt x="3989" y="5066"/>
                    <a:pt x="3930" y="5085"/>
                    <a:pt x="3852" y="5085"/>
                  </a:cubicBezTo>
                  <a:cubicBezTo>
                    <a:pt x="3808" y="5085"/>
                    <a:pt x="3767" y="5079"/>
                    <a:pt x="3728" y="5066"/>
                  </a:cubicBezTo>
                  <a:cubicBezTo>
                    <a:pt x="3689" y="5053"/>
                    <a:pt x="3657" y="5036"/>
                    <a:pt x="3633" y="5013"/>
                  </a:cubicBezTo>
                  <a:lnTo>
                    <a:pt x="3665" y="4965"/>
                  </a:lnTo>
                  <a:cubicBezTo>
                    <a:pt x="3688" y="4985"/>
                    <a:pt x="3715" y="5001"/>
                    <a:pt x="3748" y="5012"/>
                  </a:cubicBezTo>
                  <a:cubicBezTo>
                    <a:pt x="3780" y="5024"/>
                    <a:pt x="3814" y="5029"/>
                    <a:pt x="3850" y="5029"/>
                  </a:cubicBezTo>
                  <a:cubicBezTo>
                    <a:pt x="3910" y="5029"/>
                    <a:pt x="3953" y="5015"/>
                    <a:pt x="3981" y="4988"/>
                  </a:cubicBezTo>
                  <a:cubicBezTo>
                    <a:pt x="4009" y="4960"/>
                    <a:pt x="4023" y="4917"/>
                    <a:pt x="4023" y="4859"/>
                  </a:cubicBezTo>
                  <a:lnTo>
                    <a:pt x="4023" y="4799"/>
                  </a:lnTo>
                  <a:cubicBezTo>
                    <a:pt x="4004" y="4829"/>
                    <a:pt x="3978" y="4851"/>
                    <a:pt x="3946" y="4867"/>
                  </a:cubicBezTo>
                  <a:cubicBezTo>
                    <a:pt x="3914" y="4882"/>
                    <a:pt x="3879" y="4890"/>
                    <a:pt x="3840" y="4890"/>
                  </a:cubicBezTo>
                  <a:cubicBezTo>
                    <a:pt x="3796" y="4890"/>
                    <a:pt x="3756" y="4880"/>
                    <a:pt x="3720" y="4861"/>
                  </a:cubicBezTo>
                  <a:cubicBezTo>
                    <a:pt x="3684" y="4842"/>
                    <a:pt x="3656" y="4815"/>
                    <a:pt x="3635" y="4780"/>
                  </a:cubicBezTo>
                  <a:cubicBezTo>
                    <a:pt x="3614" y="4745"/>
                    <a:pt x="3604" y="4706"/>
                    <a:pt x="3604" y="4662"/>
                  </a:cubicBezTo>
                  <a:cubicBezTo>
                    <a:pt x="3604" y="4618"/>
                    <a:pt x="3614" y="4578"/>
                    <a:pt x="3635" y="4544"/>
                  </a:cubicBezTo>
                  <a:cubicBezTo>
                    <a:pt x="3656" y="4510"/>
                    <a:pt x="3684" y="4483"/>
                    <a:pt x="3719" y="4464"/>
                  </a:cubicBezTo>
                  <a:cubicBezTo>
                    <a:pt x="3755" y="4445"/>
                    <a:pt x="3795" y="4435"/>
                    <a:pt x="3840" y="4435"/>
                  </a:cubicBezTo>
                  <a:cubicBezTo>
                    <a:pt x="3880" y="4435"/>
                    <a:pt x="3916" y="4443"/>
                    <a:pt x="3948" y="4459"/>
                  </a:cubicBezTo>
                  <a:cubicBezTo>
                    <a:pt x="3981" y="4475"/>
                    <a:pt x="4006" y="4499"/>
                    <a:pt x="4026" y="4529"/>
                  </a:cubicBezTo>
                  <a:lnTo>
                    <a:pt x="4026" y="4439"/>
                  </a:lnTo>
                  <a:lnTo>
                    <a:pt x="4087" y="4439"/>
                  </a:lnTo>
                  <a:close/>
                  <a:moveTo>
                    <a:pt x="3453" y="4487"/>
                  </a:moveTo>
                  <a:cubicBezTo>
                    <a:pt x="3487" y="4521"/>
                    <a:pt x="3505" y="4570"/>
                    <a:pt x="3505" y="4636"/>
                  </a:cubicBezTo>
                  <a:lnTo>
                    <a:pt x="3505" y="4908"/>
                  </a:lnTo>
                  <a:lnTo>
                    <a:pt x="3441" y="4908"/>
                  </a:lnTo>
                  <a:lnTo>
                    <a:pt x="3441" y="4642"/>
                  </a:lnTo>
                  <a:cubicBezTo>
                    <a:pt x="3441" y="4593"/>
                    <a:pt x="3429" y="4556"/>
                    <a:pt x="3405" y="4531"/>
                  </a:cubicBezTo>
                  <a:cubicBezTo>
                    <a:pt x="3380" y="4505"/>
                    <a:pt x="3345" y="4492"/>
                    <a:pt x="3300" y="4492"/>
                  </a:cubicBezTo>
                  <a:cubicBezTo>
                    <a:pt x="3249" y="4492"/>
                    <a:pt x="3209" y="4507"/>
                    <a:pt x="3180" y="4537"/>
                  </a:cubicBezTo>
                  <a:cubicBezTo>
                    <a:pt x="3150" y="4567"/>
                    <a:pt x="3136" y="4609"/>
                    <a:pt x="3136" y="4662"/>
                  </a:cubicBezTo>
                  <a:lnTo>
                    <a:pt x="3136" y="4908"/>
                  </a:lnTo>
                  <a:lnTo>
                    <a:pt x="3072" y="4908"/>
                  </a:lnTo>
                  <a:lnTo>
                    <a:pt x="3072" y="4439"/>
                  </a:lnTo>
                  <a:lnTo>
                    <a:pt x="3133" y="4439"/>
                  </a:lnTo>
                  <a:lnTo>
                    <a:pt x="3133" y="4525"/>
                  </a:lnTo>
                  <a:cubicBezTo>
                    <a:pt x="3150" y="4497"/>
                    <a:pt x="3174" y="4475"/>
                    <a:pt x="3205" y="4459"/>
                  </a:cubicBezTo>
                  <a:cubicBezTo>
                    <a:pt x="3236" y="4443"/>
                    <a:pt x="3271" y="4435"/>
                    <a:pt x="3312" y="4435"/>
                  </a:cubicBezTo>
                  <a:cubicBezTo>
                    <a:pt x="3371" y="4435"/>
                    <a:pt x="3418" y="4452"/>
                    <a:pt x="3453" y="4487"/>
                  </a:cubicBezTo>
                  <a:close/>
                  <a:moveTo>
                    <a:pt x="2858" y="4439"/>
                  </a:moveTo>
                  <a:lnTo>
                    <a:pt x="2922" y="4439"/>
                  </a:lnTo>
                  <a:lnTo>
                    <a:pt x="2922" y="4908"/>
                  </a:lnTo>
                  <a:lnTo>
                    <a:pt x="2858" y="4908"/>
                  </a:lnTo>
                  <a:lnTo>
                    <a:pt x="2858" y="4439"/>
                  </a:lnTo>
                  <a:close/>
                  <a:moveTo>
                    <a:pt x="2858" y="4323"/>
                  </a:moveTo>
                  <a:cubicBezTo>
                    <a:pt x="2849" y="4314"/>
                    <a:pt x="2844" y="4303"/>
                    <a:pt x="2844" y="4291"/>
                  </a:cubicBezTo>
                  <a:cubicBezTo>
                    <a:pt x="2844" y="4279"/>
                    <a:pt x="2849" y="4268"/>
                    <a:pt x="2858" y="4260"/>
                  </a:cubicBezTo>
                  <a:cubicBezTo>
                    <a:pt x="2867" y="4251"/>
                    <a:pt x="2878" y="4246"/>
                    <a:pt x="2891" y="4246"/>
                  </a:cubicBezTo>
                  <a:cubicBezTo>
                    <a:pt x="2904" y="4246"/>
                    <a:pt x="2915" y="4250"/>
                    <a:pt x="2924" y="4259"/>
                  </a:cubicBezTo>
                  <a:cubicBezTo>
                    <a:pt x="2933" y="4268"/>
                    <a:pt x="2937" y="4278"/>
                    <a:pt x="2937" y="4290"/>
                  </a:cubicBezTo>
                  <a:cubicBezTo>
                    <a:pt x="2937" y="4303"/>
                    <a:pt x="2933" y="4314"/>
                    <a:pt x="2924" y="4323"/>
                  </a:cubicBezTo>
                  <a:cubicBezTo>
                    <a:pt x="2915" y="4332"/>
                    <a:pt x="2904" y="4336"/>
                    <a:pt x="2891" y="4336"/>
                  </a:cubicBezTo>
                  <a:cubicBezTo>
                    <a:pt x="2878" y="4336"/>
                    <a:pt x="2867" y="4332"/>
                    <a:pt x="2858" y="4323"/>
                  </a:cubicBezTo>
                  <a:close/>
                  <a:moveTo>
                    <a:pt x="2643" y="4459"/>
                  </a:moveTo>
                  <a:cubicBezTo>
                    <a:pt x="2673" y="4443"/>
                    <a:pt x="2710" y="4435"/>
                    <a:pt x="2753" y="4435"/>
                  </a:cubicBezTo>
                  <a:lnTo>
                    <a:pt x="2753" y="4497"/>
                  </a:lnTo>
                  <a:lnTo>
                    <a:pt x="2738" y="4496"/>
                  </a:lnTo>
                  <a:cubicBezTo>
                    <a:pt x="2688" y="4496"/>
                    <a:pt x="2650" y="4511"/>
                    <a:pt x="2622" y="4541"/>
                  </a:cubicBezTo>
                  <a:cubicBezTo>
                    <a:pt x="2594" y="4572"/>
                    <a:pt x="2580" y="4614"/>
                    <a:pt x="2580" y="4669"/>
                  </a:cubicBezTo>
                  <a:lnTo>
                    <a:pt x="2580" y="4908"/>
                  </a:lnTo>
                  <a:lnTo>
                    <a:pt x="2516" y="4908"/>
                  </a:lnTo>
                  <a:lnTo>
                    <a:pt x="2516" y="4439"/>
                  </a:lnTo>
                  <a:lnTo>
                    <a:pt x="2577" y="4439"/>
                  </a:lnTo>
                  <a:lnTo>
                    <a:pt x="2577" y="4531"/>
                  </a:lnTo>
                  <a:cubicBezTo>
                    <a:pt x="2592" y="4499"/>
                    <a:pt x="2614" y="4475"/>
                    <a:pt x="2643" y="4459"/>
                  </a:cubicBezTo>
                  <a:close/>
                  <a:moveTo>
                    <a:pt x="2053" y="4533"/>
                  </a:moveTo>
                  <a:cubicBezTo>
                    <a:pt x="2023" y="4562"/>
                    <a:pt x="2005" y="4599"/>
                    <a:pt x="2001" y="4646"/>
                  </a:cubicBezTo>
                  <a:lnTo>
                    <a:pt x="2335" y="4646"/>
                  </a:lnTo>
                  <a:cubicBezTo>
                    <a:pt x="2330" y="4599"/>
                    <a:pt x="2313" y="4562"/>
                    <a:pt x="2282" y="4533"/>
                  </a:cubicBezTo>
                  <a:cubicBezTo>
                    <a:pt x="2252" y="4504"/>
                    <a:pt x="2213" y="4490"/>
                    <a:pt x="2167" y="4490"/>
                  </a:cubicBezTo>
                  <a:cubicBezTo>
                    <a:pt x="2122" y="4490"/>
                    <a:pt x="2084" y="4504"/>
                    <a:pt x="2053" y="4533"/>
                  </a:cubicBezTo>
                  <a:close/>
                  <a:moveTo>
                    <a:pt x="2395" y="4693"/>
                  </a:moveTo>
                  <a:lnTo>
                    <a:pt x="2001" y="4693"/>
                  </a:lnTo>
                  <a:cubicBezTo>
                    <a:pt x="2005" y="4742"/>
                    <a:pt x="2023" y="4781"/>
                    <a:pt x="2057" y="4811"/>
                  </a:cubicBezTo>
                  <a:cubicBezTo>
                    <a:pt x="2091" y="4841"/>
                    <a:pt x="2134" y="4856"/>
                    <a:pt x="2186" y="4856"/>
                  </a:cubicBezTo>
                  <a:cubicBezTo>
                    <a:pt x="2215" y="4856"/>
                    <a:pt x="2242" y="4851"/>
                    <a:pt x="2267" y="4841"/>
                  </a:cubicBezTo>
                  <a:cubicBezTo>
                    <a:pt x="2291" y="4830"/>
                    <a:pt x="2312" y="4815"/>
                    <a:pt x="2330" y="4795"/>
                  </a:cubicBezTo>
                  <a:lnTo>
                    <a:pt x="2366" y="4836"/>
                  </a:lnTo>
                  <a:cubicBezTo>
                    <a:pt x="2345" y="4861"/>
                    <a:pt x="2319" y="4880"/>
                    <a:pt x="2288" y="4893"/>
                  </a:cubicBezTo>
                  <a:cubicBezTo>
                    <a:pt x="2256" y="4906"/>
                    <a:pt x="2222" y="4912"/>
                    <a:pt x="2184" y="4912"/>
                  </a:cubicBezTo>
                  <a:cubicBezTo>
                    <a:pt x="2136" y="4912"/>
                    <a:pt x="2093" y="4902"/>
                    <a:pt x="2056" y="4882"/>
                  </a:cubicBezTo>
                  <a:cubicBezTo>
                    <a:pt x="2019" y="4861"/>
                    <a:pt x="1990" y="4833"/>
                    <a:pt x="1969" y="4796"/>
                  </a:cubicBezTo>
                  <a:cubicBezTo>
                    <a:pt x="1948" y="4760"/>
                    <a:pt x="1938" y="4719"/>
                    <a:pt x="1938" y="4673"/>
                  </a:cubicBezTo>
                  <a:cubicBezTo>
                    <a:pt x="1938" y="4628"/>
                    <a:pt x="1948" y="4587"/>
                    <a:pt x="1968" y="4550"/>
                  </a:cubicBezTo>
                  <a:cubicBezTo>
                    <a:pt x="1988" y="4514"/>
                    <a:pt x="2015" y="4486"/>
                    <a:pt x="2050" y="4466"/>
                  </a:cubicBezTo>
                  <a:cubicBezTo>
                    <a:pt x="2085" y="4445"/>
                    <a:pt x="2124" y="4435"/>
                    <a:pt x="2167" y="4435"/>
                  </a:cubicBezTo>
                  <a:cubicBezTo>
                    <a:pt x="2211" y="4435"/>
                    <a:pt x="2250" y="4445"/>
                    <a:pt x="2285" y="4466"/>
                  </a:cubicBezTo>
                  <a:cubicBezTo>
                    <a:pt x="2319" y="4486"/>
                    <a:pt x="2346" y="4514"/>
                    <a:pt x="2366" y="4550"/>
                  </a:cubicBezTo>
                  <a:cubicBezTo>
                    <a:pt x="2386" y="4586"/>
                    <a:pt x="2395" y="4627"/>
                    <a:pt x="2395" y="4673"/>
                  </a:cubicBezTo>
                  <a:lnTo>
                    <a:pt x="2395" y="4693"/>
                  </a:lnTo>
                  <a:close/>
                  <a:moveTo>
                    <a:pt x="1912" y="4439"/>
                  </a:moveTo>
                  <a:lnTo>
                    <a:pt x="1734" y="4908"/>
                  </a:lnTo>
                  <a:lnTo>
                    <a:pt x="1674" y="4908"/>
                  </a:lnTo>
                  <a:lnTo>
                    <a:pt x="1525" y="4524"/>
                  </a:lnTo>
                  <a:lnTo>
                    <a:pt x="1377" y="4908"/>
                  </a:lnTo>
                  <a:lnTo>
                    <a:pt x="1317" y="4908"/>
                  </a:lnTo>
                  <a:lnTo>
                    <a:pt x="1140" y="4439"/>
                  </a:lnTo>
                  <a:lnTo>
                    <a:pt x="1201" y="4439"/>
                  </a:lnTo>
                  <a:lnTo>
                    <a:pt x="1348" y="4837"/>
                  </a:lnTo>
                  <a:lnTo>
                    <a:pt x="1500" y="4439"/>
                  </a:lnTo>
                  <a:lnTo>
                    <a:pt x="1554" y="4439"/>
                  </a:lnTo>
                  <a:lnTo>
                    <a:pt x="1704" y="4837"/>
                  </a:lnTo>
                  <a:lnTo>
                    <a:pt x="1854" y="4439"/>
                  </a:lnTo>
                  <a:lnTo>
                    <a:pt x="1912" y="4439"/>
                  </a:lnTo>
                  <a:close/>
                  <a:moveTo>
                    <a:pt x="965" y="4833"/>
                  </a:moveTo>
                  <a:cubicBezTo>
                    <a:pt x="992" y="4818"/>
                    <a:pt x="1013" y="4797"/>
                    <a:pt x="1027" y="4769"/>
                  </a:cubicBezTo>
                  <a:cubicBezTo>
                    <a:pt x="1042" y="4741"/>
                    <a:pt x="1050" y="4709"/>
                    <a:pt x="1050" y="4673"/>
                  </a:cubicBezTo>
                  <a:cubicBezTo>
                    <a:pt x="1050" y="4638"/>
                    <a:pt x="1042" y="4606"/>
                    <a:pt x="1027" y="4578"/>
                  </a:cubicBezTo>
                  <a:cubicBezTo>
                    <a:pt x="1013" y="4550"/>
                    <a:pt x="992" y="4528"/>
                    <a:pt x="965" y="4513"/>
                  </a:cubicBezTo>
                  <a:cubicBezTo>
                    <a:pt x="939" y="4498"/>
                    <a:pt x="909" y="4491"/>
                    <a:pt x="875" y="4491"/>
                  </a:cubicBezTo>
                  <a:cubicBezTo>
                    <a:pt x="842" y="4491"/>
                    <a:pt x="812" y="4498"/>
                    <a:pt x="786" y="4513"/>
                  </a:cubicBezTo>
                  <a:cubicBezTo>
                    <a:pt x="759" y="4528"/>
                    <a:pt x="738" y="4550"/>
                    <a:pt x="723" y="4578"/>
                  </a:cubicBezTo>
                  <a:cubicBezTo>
                    <a:pt x="708" y="4606"/>
                    <a:pt x="700" y="4638"/>
                    <a:pt x="700" y="4673"/>
                  </a:cubicBezTo>
                  <a:cubicBezTo>
                    <a:pt x="700" y="4709"/>
                    <a:pt x="708" y="4741"/>
                    <a:pt x="723" y="4769"/>
                  </a:cubicBezTo>
                  <a:cubicBezTo>
                    <a:pt x="738" y="4797"/>
                    <a:pt x="759" y="4818"/>
                    <a:pt x="786" y="4833"/>
                  </a:cubicBezTo>
                  <a:cubicBezTo>
                    <a:pt x="812" y="4849"/>
                    <a:pt x="842" y="4856"/>
                    <a:pt x="875" y="4856"/>
                  </a:cubicBezTo>
                  <a:cubicBezTo>
                    <a:pt x="909" y="4856"/>
                    <a:pt x="939" y="4849"/>
                    <a:pt x="965" y="4833"/>
                  </a:cubicBezTo>
                  <a:close/>
                  <a:moveTo>
                    <a:pt x="753" y="4882"/>
                  </a:moveTo>
                  <a:cubicBezTo>
                    <a:pt x="717" y="4861"/>
                    <a:pt x="688" y="4833"/>
                    <a:pt x="667" y="4796"/>
                  </a:cubicBezTo>
                  <a:cubicBezTo>
                    <a:pt x="646" y="4760"/>
                    <a:pt x="636" y="4719"/>
                    <a:pt x="636" y="4673"/>
                  </a:cubicBezTo>
                  <a:cubicBezTo>
                    <a:pt x="636" y="4628"/>
                    <a:pt x="646" y="4587"/>
                    <a:pt x="667" y="4550"/>
                  </a:cubicBezTo>
                  <a:cubicBezTo>
                    <a:pt x="688" y="4514"/>
                    <a:pt x="717" y="4486"/>
                    <a:pt x="753" y="4466"/>
                  </a:cubicBezTo>
                  <a:cubicBezTo>
                    <a:pt x="789" y="4445"/>
                    <a:pt x="830" y="4435"/>
                    <a:pt x="875" y="4435"/>
                  </a:cubicBezTo>
                  <a:cubicBezTo>
                    <a:pt x="921" y="4435"/>
                    <a:pt x="962" y="4445"/>
                    <a:pt x="998" y="4466"/>
                  </a:cubicBezTo>
                  <a:cubicBezTo>
                    <a:pt x="1034" y="4486"/>
                    <a:pt x="1063" y="4514"/>
                    <a:pt x="1083" y="4550"/>
                  </a:cubicBezTo>
                  <a:cubicBezTo>
                    <a:pt x="1104" y="4587"/>
                    <a:pt x="1114" y="4628"/>
                    <a:pt x="1114" y="4673"/>
                  </a:cubicBezTo>
                  <a:cubicBezTo>
                    <a:pt x="1114" y="4719"/>
                    <a:pt x="1104" y="4760"/>
                    <a:pt x="1083" y="4796"/>
                  </a:cubicBezTo>
                  <a:cubicBezTo>
                    <a:pt x="1063" y="4833"/>
                    <a:pt x="1034" y="4861"/>
                    <a:pt x="998" y="4882"/>
                  </a:cubicBezTo>
                  <a:cubicBezTo>
                    <a:pt x="962" y="4902"/>
                    <a:pt x="921" y="4912"/>
                    <a:pt x="875" y="4912"/>
                  </a:cubicBezTo>
                  <a:cubicBezTo>
                    <a:pt x="830" y="4912"/>
                    <a:pt x="789" y="4902"/>
                    <a:pt x="753" y="4882"/>
                  </a:cubicBezTo>
                  <a:close/>
                  <a:moveTo>
                    <a:pt x="468" y="4612"/>
                  </a:moveTo>
                  <a:cubicBezTo>
                    <a:pt x="501" y="4585"/>
                    <a:pt x="517" y="4547"/>
                    <a:pt x="517" y="4498"/>
                  </a:cubicBezTo>
                  <a:cubicBezTo>
                    <a:pt x="517" y="4447"/>
                    <a:pt x="501" y="4408"/>
                    <a:pt x="468" y="4381"/>
                  </a:cubicBezTo>
                  <a:cubicBezTo>
                    <a:pt x="435" y="4354"/>
                    <a:pt x="388" y="4341"/>
                    <a:pt x="326" y="4341"/>
                  </a:cubicBezTo>
                  <a:lnTo>
                    <a:pt x="159" y="4341"/>
                  </a:lnTo>
                  <a:lnTo>
                    <a:pt x="159" y="4653"/>
                  </a:lnTo>
                  <a:lnTo>
                    <a:pt x="326" y="4653"/>
                  </a:lnTo>
                  <a:cubicBezTo>
                    <a:pt x="388" y="4653"/>
                    <a:pt x="435" y="4639"/>
                    <a:pt x="468" y="4612"/>
                  </a:cubicBezTo>
                  <a:moveTo>
                    <a:pt x="515" y="4341"/>
                  </a:moveTo>
                  <a:cubicBezTo>
                    <a:pt x="560" y="4379"/>
                    <a:pt x="583" y="4431"/>
                    <a:pt x="583" y="4498"/>
                  </a:cubicBezTo>
                  <a:cubicBezTo>
                    <a:pt x="583" y="4564"/>
                    <a:pt x="560" y="4616"/>
                    <a:pt x="515" y="4654"/>
                  </a:cubicBezTo>
                  <a:cubicBezTo>
                    <a:pt x="470" y="4692"/>
                    <a:pt x="407" y="4711"/>
                    <a:pt x="327" y="4711"/>
                  </a:cubicBezTo>
                  <a:lnTo>
                    <a:pt x="159" y="4711"/>
                  </a:lnTo>
                  <a:lnTo>
                    <a:pt x="159" y="4908"/>
                  </a:lnTo>
                  <a:lnTo>
                    <a:pt x="93" y="4908"/>
                  </a:lnTo>
                  <a:lnTo>
                    <a:pt x="93" y="4284"/>
                  </a:lnTo>
                  <a:lnTo>
                    <a:pt x="327" y="4284"/>
                  </a:lnTo>
                  <a:cubicBezTo>
                    <a:pt x="407" y="4284"/>
                    <a:pt x="470" y="4303"/>
                    <a:pt x="515" y="4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6">
              <a:extLst>
                <a:ext uri="{FF2B5EF4-FFF2-40B4-BE49-F238E27FC236}">
                  <a16:creationId xmlns:a16="http://schemas.microsoft.com/office/drawing/2014/main" id="{E74E5163-8B9D-4D28-81A5-C64240056FF4}"/>
                </a:ext>
              </a:extLst>
            </p:cNvPr>
            <p:cNvSpPr>
              <a:spLocks noEditPoints="1"/>
            </p:cNvSpPr>
            <p:nvPr userDrawn="1"/>
          </p:nvSpPr>
          <p:spPr bwMode="auto">
            <a:xfrm>
              <a:off x="1321" y="3148"/>
              <a:ext cx="4755" cy="713"/>
            </a:xfrm>
            <a:custGeom>
              <a:avLst/>
              <a:gdLst>
                <a:gd name="T0" fmla="*/ 9402 w 9905"/>
                <a:gd name="T1" fmla="*/ 1485 h 1485"/>
                <a:gd name="T2" fmla="*/ 9609 w 9905"/>
                <a:gd name="T3" fmla="*/ 673 h 1485"/>
                <a:gd name="T4" fmla="*/ 9235 w 9905"/>
                <a:gd name="T5" fmla="*/ 387 h 1485"/>
                <a:gd name="T6" fmla="*/ 9645 w 9905"/>
                <a:gd name="T7" fmla="*/ 272 h 1485"/>
                <a:gd name="T8" fmla="*/ 9852 w 9905"/>
                <a:gd name="T9" fmla="*/ 188 h 1485"/>
                <a:gd name="T10" fmla="*/ 9440 w 9905"/>
                <a:gd name="T11" fmla="*/ 0 h 1485"/>
                <a:gd name="T12" fmla="*/ 9297 w 9905"/>
                <a:gd name="T13" fmla="*/ 792 h 1485"/>
                <a:gd name="T14" fmla="*/ 9655 w 9905"/>
                <a:gd name="T15" fmla="*/ 1077 h 1485"/>
                <a:gd name="T16" fmla="*/ 9102 w 9905"/>
                <a:gd name="T17" fmla="*/ 1105 h 1485"/>
                <a:gd name="T18" fmla="*/ 7727 w 9905"/>
                <a:gd name="T19" fmla="*/ 1267 h 1485"/>
                <a:gd name="T20" fmla="*/ 8704 w 9905"/>
                <a:gd name="T21" fmla="*/ 1072 h 1485"/>
                <a:gd name="T22" fmla="*/ 8168 w 9905"/>
                <a:gd name="T23" fmla="*/ 558 h 1485"/>
                <a:gd name="T24" fmla="*/ 8252 w 9905"/>
                <a:gd name="T25" fmla="*/ 227 h 1485"/>
                <a:gd name="T26" fmla="*/ 8543 w 9905"/>
                <a:gd name="T27" fmla="*/ 300 h 1485"/>
                <a:gd name="T28" fmla="*/ 8567 w 9905"/>
                <a:gd name="T29" fmla="*/ 73 h 1485"/>
                <a:gd name="T30" fmla="*/ 7785 w 9905"/>
                <a:gd name="T31" fmla="*/ 395 h 1485"/>
                <a:gd name="T32" fmla="*/ 8292 w 9905"/>
                <a:gd name="T33" fmla="*/ 885 h 1485"/>
                <a:gd name="T34" fmla="*/ 8225 w 9905"/>
                <a:gd name="T35" fmla="*/ 1257 h 1485"/>
                <a:gd name="T36" fmla="*/ 7727 w 9905"/>
                <a:gd name="T37" fmla="*/ 1267 h 1485"/>
                <a:gd name="T38" fmla="*/ 3354 w 9905"/>
                <a:gd name="T39" fmla="*/ 1485 h 1485"/>
                <a:gd name="T40" fmla="*/ 3560 w 9905"/>
                <a:gd name="T41" fmla="*/ 673 h 1485"/>
                <a:gd name="T42" fmla="*/ 3187 w 9905"/>
                <a:gd name="T43" fmla="*/ 387 h 1485"/>
                <a:gd name="T44" fmla="*/ 3597 w 9905"/>
                <a:gd name="T45" fmla="*/ 272 h 1485"/>
                <a:gd name="T46" fmla="*/ 3805 w 9905"/>
                <a:gd name="T47" fmla="*/ 188 h 1485"/>
                <a:gd name="T48" fmla="*/ 3393 w 9905"/>
                <a:gd name="T49" fmla="*/ 0 h 1485"/>
                <a:gd name="T50" fmla="*/ 3250 w 9905"/>
                <a:gd name="T51" fmla="*/ 792 h 1485"/>
                <a:gd name="T52" fmla="*/ 3609 w 9905"/>
                <a:gd name="T53" fmla="*/ 1077 h 1485"/>
                <a:gd name="T54" fmla="*/ 3055 w 9905"/>
                <a:gd name="T55" fmla="*/ 1105 h 1485"/>
                <a:gd name="T56" fmla="*/ 5023 w 9905"/>
                <a:gd name="T57" fmla="*/ 0 h 1485"/>
                <a:gd name="T58" fmla="*/ 4905 w 9905"/>
                <a:gd name="T59" fmla="*/ 1370 h 1485"/>
                <a:gd name="T60" fmla="*/ 5140 w 9905"/>
                <a:gd name="T61" fmla="*/ 1370 h 1485"/>
                <a:gd name="T62" fmla="*/ 5868 w 9905"/>
                <a:gd name="T63" fmla="*/ 1395 h 1485"/>
                <a:gd name="T64" fmla="*/ 6117 w 9905"/>
                <a:gd name="T65" fmla="*/ 1372 h 1485"/>
                <a:gd name="T66" fmla="*/ 5884 w 9905"/>
                <a:gd name="T67" fmla="*/ 10 h 1485"/>
                <a:gd name="T68" fmla="*/ 5152 w 9905"/>
                <a:gd name="T69" fmla="*/ 88 h 1485"/>
                <a:gd name="T70" fmla="*/ 882 w 9905"/>
                <a:gd name="T71" fmla="*/ 682 h 1485"/>
                <a:gd name="T72" fmla="*/ 652 w 9905"/>
                <a:gd name="T73" fmla="*/ 1475 h 1485"/>
                <a:gd name="T74" fmla="*/ 0 w 9905"/>
                <a:gd name="T75" fmla="*/ 122 h 1485"/>
                <a:gd name="T76" fmla="*/ 622 w 9905"/>
                <a:gd name="T77" fmla="*/ 7 h 1485"/>
                <a:gd name="T78" fmla="*/ 882 w 9905"/>
                <a:gd name="T79" fmla="*/ 682 h 1485"/>
                <a:gd name="T80" fmla="*/ 592 w 9905"/>
                <a:gd name="T81" fmla="*/ 595 h 1485"/>
                <a:gd name="T82" fmla="*/ 592 w 9905"/>
                <a:gd name="T83" fmla="*/ 238 h 1485"/>
                <a:gd name="T84" fmla="*/ 237 w 9905"/>
                <a:gd name="T85" fmla="*/ 595 h 1485"/>
                <a:gd name="T86" fmla="*/ 859 w 9905"/>
                <a:gd name="T87" fmla="*/ 1032 h 1485"/>
                <a:gd name="T88" fmla="*/ 237 w 9905"/>
                <a:gd name="T89" fmla="*/ 812 h 1485"/>
                <a:gd name="T90" fmla="*/ 607 w 9905"/>
                <a:gd name="T91" fmla="*/ 1250 h 1485"/>
                <a:gd name="T92" fmla="*/ 7492 w 9905"/>
                <a:gd name="T93" fmla="*/ 125 h 1485"/>
                <a:gd name="T94" fmla="*/ 6642 w 9905"/>
                <a:gd name="T95" fmla="*/ 10 h 1485"/>
                <a:gd name="T96" fmla="*/ 6527 w 9905"/>
                <a:gd name="T97" fmla="*/ 1365 h 1485"/>
                <a:gd name="T98" fmla="*/ 7484 w 9905"/>
                <a:gd name="T99" fmla="*/ 1478 h 1485"/>
                <a:gd name="T100" fmla="*/ 6764 w 9905"/>
                <a:gd name="T101" fmla="*/ 1248 h 1485"/>
                <a:gd name="T102" fmla="*/ 7307 w 9905"/>
                <a:gd name="T103" fmla="*/ 822 h 1485"/>
                <a:gd name="T104" fmla="*/ 7307 w 9905"/>
                <a:gd name="T105" fmla="*/ 592 h 1485"/>
                <a:gd name="T106" fmla="*/ 6764 w 9905"/>
                <a:gd name="T107" fmla="*/ 240 h 1485"/>
                <a:gd name="T108" fmla="*/ 1635 w 9905"/>
                <a:gd name="T109" fmla="*/ 893 h 1485"/>
                <a:gd name="T110" fmla="*/ 1517 w 9905"/>
                <a:gd name="T111" fmla="*/ 0 h 1485"/>
                <a:gd name="T112" fmla="*/ 1399 w 9905"/>
                <a:gd name="T113" fmla="*/ 885 h 1485"/>
                <a:gd name="T114" fmla="*/ 2605 w 9905"/>
                <a:gd name="T115" fmla="*/ 885 h 1485"/>
                <a:gd name="T116" fmla="*/ 2367 w 9905"/>
                <a:gd name="T117" fmla="*/ 7 h 1485"/>
                <a:gd name="T118" fmla="*/ 2002 w 9905"/>
                <a:gd name="T119" fmla="*/ 1260 h 1485"/>
                <a:gd name="T120" fmla="*/ 4320 w 9905"/>
                <a:gd name="T121" fmla="*/ 0 h 1485"/>
                <a:gd name="T122" fmla="*/ 4439 w 9905"/>
                <a:gd name="T123" fmla="*/ 1477 h 1485"/>
                <a:gd name="T124" fmla="*/ 4202 w 9905"/>
                <a:gd name="T125" fmla="*/ 115 h 1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905" h="1485">
                  <a:moveTo>
                    <a:pt x="8929" y="1267"/>
                  </a:moveTo>
                  <a:cubicBezTo>
                    <a:pt x="8959" y="1305"/>
                    <a:pt x="9097" y="1485"/>
                    <a:pt x="9402" y="1485"/>
                  </a:cubicBezTo>
                  <a:cubicBezTo>
                    <a:pt x="9700" y="1485"/>
                    <a:pt x="9905" y="1313"/>
                    <a:pt x="9905" y="1072"/>
                  </a:cubicBezTo>
                  <a:cubicBezTo>
                    <a:pt x="9905" y="913"/>
                    <a:pt x="9842" y="787"/>
                    <a:pt x="9609" y="673"/>
                  </a:cubicBezTo>
                  <a:cubicBezTo>
                    <a:pt x="9545" y="643"/>
                    <a:pt x="9368" y="558"/>
                    <a:pt x="9368" y="558"/>
                  </a:cubicBezTo>
                  <a:cubicBezTo>
                    <a:pt x="9277" y="513"/>
                    <a:pt x="9235" y="460"/>
                    <a:pt x="9235" y="387"/>
                  </a:cubicBezTo>
                  <a:cubicBezTo>
                    <a:pt x="9235" y="310"/>
                    <a:pt x="9298" y="227"/>
                    <a:pt x="9452" y="227"/>
                  </a:cubicBezTo>
                  <a:cubicBezTo>
                    <a:pt x="9540" y="227"/>
                    <a:pt x="9609" y="255"/>
                    <a:pt x="9645" y="272"/>
                  </a:cubicBezTo>
                  <a:cubicBezTo>
                    <a:pt x="9662" y="280"/>
                    <a:pt x="9704" y="300"/>
                    <a:pt x="9743" y="300"/>
                  </a:cubicBezTo>
                  <a:cubicBezTo>
                    <a:pt x="9795" y="300"/>
                    <a:pt x="9852" y="263"/>
                    <a:pt x="9852" y="188"/>
                  </a:cubicBezTo>
                  <a:cubicBezTo>
                    <a:pt x="9852" y="125"/>
                    <a:pt x="9807" y="92"/>
                    <a:pt x="9767" y="73"/>
                  </a:cubicBezTo>
                  <a:cubicBezTo>
                    <a:pt x="9704" y="43"/>
                    <a:pt x="9605" y="0"/>
                    <a:pt x="9440" y="0"/>
                  </a:cubicBezTo>
                  <a:cubicBezTo>
                    <a:pt x="9179" y="0"/>
                    <a:pt x="8985" y="165"/>
                    <a:pt x="8985" y="395"/>
                  </a:cubicBezTo>
                  <a:cubicBezTo>
                    <a:pt x="8985" y="605"/>
                    <a:pt x="9125" y="710"/>
                    <a:pt x="9297" y="792"/>
                  </a:cubicBezTo>
                  <a:cubicBezTo>
                    <a:pt x="9329" y="807"/>
                    <a:pt x="9455" y="868"/>
                    <a:pt x="9490" y="885"/>
                  </a:cubicBezTo>
                  <a:cubicBezTo>
                    <a:pt x="9598" y="937"/>
                    <a:pt x="9655" y="987"/>
                    <a:pt x="9655" y="1077"/>
                  </a:cubicBezTo>
                  <a:cubicBezTo>
                    <a:pt x="9655" y="1175"/>
                    <a:pt x="9564" y="1257"/>
                    <a:pt x="9425" y="1257"/>
                  </a:cubicBezTo>
                  <a:cubicBezTo>
                    <a:pt x="9227" y="1257"/>
                    <a:pt x="9120" y="1127"/>
                    <a:pt x="9102" y="1105"/>
                  </a:cubicBezTo>
                  <a:lnTo>
                    <a:pt x="8929" y="1267"/>
                  </a:lnTo>
                  <a:close/>
                  <a:moveTo>
                    <a:pt x="7727" y="1267"/>
                  </a:moveTo>
                  <a:cubicBezTo>
                    <a:pt x="7757" y="1305"/>
                    <a:pt x="7897" y="1485"/>
                    <a:pt x="8202" y="1485"/>
                  </a:cubicBezTo>
                  <a:cubicBezTo>
                    <a:pt x="8500" y="1485"/>
                    <a:pt x="8704" y="1313"/>
                    <a:pt x="8704" y="1072"/>
                  </a:cubicBezTo>
                  <a:cubicBezTo>
                    <a:pt x="8704" y="913"/>
                    <a:pt x="8642" y="787"/>
                    <a:pt x="8407" y="673"/>
                  </a:cubicBezTo>
                  <a:cubicBezTo>
                    <a:pt x="8345" y="643"/>
                    <a:pt x="8168" y="558"/>
                    <a:pt x="8168" y="558"/>
                  </a:cubicBezTo>
                  <a:cubicBezTo>
                    <a:pt x="8075" y="513"/>
                    <a:pt x="8034" y="460"/>
                    <a:pt x="8034" y="387"/>
                  </a:cubicBezTo>
                  <a:cubicBezTo>
                    <a:pt x="8034" y="310"/>
                    <a:pt x="8097" y="227"/>
                    <a:pt x="8252" y="227"/>
                  </a:cubicBezTo>
                  <a:cubicBezTo>
                    <a:pt x="8340" y="227"/>
                    <a:pt x="8407" y="255"/>
                    <a:pt x="8443" y="272"/>
                  </a:cubicBezTo>
                  <a:cubicBezTo>
                    <a:pt x="8462" y="280"/>
                    <a:pt x="8504" y="300"/>
                    <a:pt x="8543" y="300"/>
                  </a:cubicBezTo>
                  <a:cubicBezTo>
                    <a:pt x="8595" y="300"/>
                    <a:pt x="8652" y="263"/>
                    <a:pt x="8652" y="188"/>
                  </a:cubicBezTo>
                  <a:cubicBezTo>
                    <a:pt x="8652" y="125"/>
                    <a:pt x="8607" y="92"/>
                    <a:pt x="8567" y="73"/>
                  </a:cubicBezTo>
                  <a:cubicBezTo>
                    <a:pt x="8504" y="43"/>
                    <a:pt x="8404" y="0"/>
                    <a:pt x="8240" y="0"/>
                  </a:cubicBezTo>
                  <a:cubicBezTo>
                    <a:pt x="7979" y="0"/>
                    <a:pt x="7785" y="165"/>
                    <a:pt x="7785" y="395"/>
                  </a:cubicBezTo>
                  <a:cubicBezTo>
                    <a:pt x="7785" y="605"/>
                    <a:pt x="7927" y="710"/>
                    <a:pt x="8097" y="792"/>
                  </a:cubicBezTo>
                  <a:cubicBezTo>
                    <a:pt x="8130" y="807"/>
                    <a:pt x="8257" y="868"/>
                    <a:pt x="8292" y="885"/>
                  </a:cubicBezTo>
                  <a:cubicBezTo>
                    <a:pt x="8398" y="937"/>
                    <a:pt x="8455" y="987"/>
                    <a:pt x="8455" y="1077"/>
                  </a:cubicBezTo>
                  <a:cubicBezTo>
                    <a:pt x="8455" y="1175"/>
                    <a:pt x="8364" y="1257"/>
                    <a:pt x="8225" y="1257"/>
                  </a:cubicBezTo>
                  <a:cubicBezTo>
                    <a:pt x="8025" y="1257"/>
                    <a:pt x="7920" y="1127"/>
                    <a:pt x="7902" y="1105"/>
                  </a:cubicBezTo>
                  <a:lnTo>
                    <a:pt x="7727" y="1267"/>
                  </a:lnTo>
                  <a:close/>
                  <a:moveTo>
                    <a:pt x="2880" y="1267"/>
                  </a:moveTo>
                  <a:cubicBezTo>
                    <a:pt x="2910" y="1305"/>
                    <a:pt x="3049" y="1485"/>
                    <a:pt x="3354" y="1485"/>
                  </a:cubicBezTo>
                  <a:cubicBezTo>
                    <a:pt x="3654" y="1485"/>
                    <a:pt x="3857" y="1313"/>
                    <a:pt x="3857" y="1072"/>
                  </a:cubicBezTo>
                  <a:cubicBezTo>
                    <a:pt x="3857" y="913"/>
                    <a:pt x="3795" y="787"/>
                    <a:pt x="3560" y="673"/>
                  </a:cubicBezTo>
                  <a:cubicBezTo>
                    <a:pt x="3497" y="643"/>
                    <a:pt x="3322" y="558"/>
                    <a:pt x="3322" y="558"/>
                  </a:cubicBezTo>
                  <a:cubicBezTo>
                    <a:pt x="3229" y="513"/>
                    <a:pt x="3187" y="460"/>
                    <a:pt x="3187" y="387"/>
                  </a:cubicBezTo>
                  <a:cubicBezTo>
                    <a:pt x="3187" y="310"/>
                    <a:pt x="3250" y="227"/>
                    <a:pt x="3405" y="227"/>
                  </a:cubicBezTo>
                  <a:cubicBezTo>
                    <a:pt x="3493" y="227"/>
                    <a:pt x="3562" y="255"/>
                    <a:pt x="3597" y="272"/>
                  </a:cubicBezTo>
                  <a:cubicBezTo>
                    <a:pt x="3615" y="280"/>
                    <a:pt x="3657" y="300"/>
                    <a:pt x="3697" y="300"/>
                  </a:cubicBezTo>
                  <a:cubicBezTo>
                    <a:pt x="3749" y="300"/>
                    <a:pt x="3805" y="263"/>
                    <a:pt x="3805" y="188"/>
                  </a:cubicBezTo>
                  <a:cubicBezTo>
                    <a:pt x="3805" y="125"/>
                    <a:pt x="3760" y="92"/>
                    <a:pt x="3720" y="73"/>
                  </a:cubicBezTo>
                  <a:cubicBezTo>
                    <a:pt x="3657" y="43"/>
                    <a:pt x="3559" y="0"/>
                    <a:pt x="3393" y="0"/>
                  </a:cubicBezTo>
                  <a:cubicBezTo>
                    <a:pt x="3132" y="0"/>
                    <a:pt x="2939" y="165"/>
                    <a:pt x="2939" y="395"/>
                  </a:cubicBezTo>
                  <a:cubicBezTo>
                    <a:pt x="2939" y="605"/>
                    <a:pt x="3080" y="710"/>
                    <a:pt x="3250" y="792"/>
                  </a:cubicBezTo>
                  <a:cubicBezTo>
                    <a:pt x="3282" y="807"/>
                    <a:pt x="3409" y="868"/>
                    <a:pt x="3443" y="885"/>
                  </a:cubicBezTo>
                  <a:cubicBezTo>
                    <a:pt x="3552" y="937"/>
                    <a:pt x="3609" y="987"/>
                    <a:pt x="3609" y="1077"/>
                  </a:cubicBezTo>
                  <a:cubicBezTo>
                    <a:pt x="3609" y="1175"/>
                    <a:pt x="3517" y="1257"/>
                    <a:pt x="3379" y="1257"/>
                  </a:cubicBezTo>
                  <a:cubicBezTo>
                    <a:pt x="3180" y="1257"/>
                    <a:pt x="3074" y="1127"/>
                    <a:pt x="3055" y="1105"/>
                  </a:cubicBezTo>
                  <a:lnTo>
                    <a:pt x="2880" y="1267"/>
                  </a:lnTo>
                  <a:close/>
                  <a:moveTo>
                    <a:pt x="5023" y="0"/>
                  </a:moveTo>
                  <a:cubicBezTo>
                    <a:pt x="4952" y="0"/>
                    <a:pt x="4905" y="52"/>
                    <a:pt x="4905" y="113"/>
                  </a:cubicBezTo>
                  <a:lnTo>
                    <a:pt x="4905" y="1370"/>
                  </a:lnTo>
                  <a:cubicBezTo>
                    <a:pt x="4905" y="1433"/>
                    <a:pt x="4960" y="1483"/>
                    <a:pt x="5023" y="1483"/>
                  </a:cubicBezTo>
                  <a:cubicBezTo>
                    <a:pt x="5085" y="1483"/>
                    <a:pt x="5140" y="1433"/>
                    <a:pt x="5140" y="1370"/>
                  </a:cubicBezTo>
                  <a:lnTo>
                    <a:pt x="5140" y="463"/>
                  </a:lnTo>
                  <a:cubicBezTo>
                    <a:pt x="5140" y="463"/>
                    <a:pt x="5717" y="1200"/>
                    <a:pt x="5868" y="1395"/>
                  </a:cubicBezTo>
                  <a:cubicBezTo>
                    <a:pt x="5907" y="1443"/>
                    <a:pt x="5934" y="1485"/>
                    <a:pt x="6002" y="1485"/>
                  </a:cubicBezTo>
                  <a:cubicBezTo>
                    <a:pt x="6070" y="1485"/>
                    <a:pt x="6117" y="1435"/>
                    <a:pt x="6117" y="1372"/>
                  </a:cubicBezTo>
                  <a:lnTo>
                    <a:pt x="6117" y="10"/>
                  </a:lnTo>
                  <a:lnTo>
                    <a:pt x="5884" y="10"/>
                  </a:lnTo>
                  <a:lnTo>
                    <a:pt x="5884" y="1027"/>
                  </a:lnTo>
                  <a:cubicBezTo>
                    <a:pt x="5884" y="1027"/>
                    <a:pt x="5242" y="203"/>
                    <a:pt x="5152" y="88"/>
                  </a:cubicBezTo>
                  <a:cubicBezTo>
                    <a:pt x="5110" y="35"/>
                    <a:pt x="5079" y="0"/>
                    <a:pt x="5023" y="0"/>
                  </a:cubicBezTo>
                  <a:close/>
                  <a:moveTo>
                    <a:pt x="882" y="682"/>
                  </a:moveTo>
                  <a:cubicBezTo>
                    <a:pt x="924" y="702"/>
                    <a:pt x="1099" y="777"/>
                    <a:pt x="1099" y="1037"/>
                  </a:cubicBezTo>
                  <a:cubicBezTo>
                    <a:pt x="1099" y="1283"/>
                    <a:pt x="915" y="1475"/>
                    <a:pt x="652" y="1475"/>
                  </a:cubicBezTo>
                  <a:lnTo>
                    <a:pt x="0" y="1475"/>
                  </a:lnTo>
                  <a:lnTo>
                    <a:pt x="0" y="122"/>
                  </a:lnTo>
                  <a:cubicBezTo>
                    <a:pt x="0" y="53"/>
                    <a:pt x="47" y="7"/>
                    <a:pt x="115" y="7"/>
                  </a:cubicBezTo>
                  <a:lnTo>
                    <a:pt x="622" y="7"/>
                  </a:lnTo>
                  <a:cubicBezTo>
                    <a:pt x="868" y="7"/>
                    <a:pt x="1030" y="155"/>
                    <a:pt x="1030" y="380"/>
                  </a:cubicBezTo>
                  <a:cubicBezTo>
                    <a:pt x="1030" y="572"/>
                    <a:pt x="922" y="657"/>
                    <a:pt x="882" y="682"/>
                  </a:cubicBezTo>
                  <a:moveTo>
                    <a:pt x="237" y="595"/>
                  </a:moveTo>
                  <a:lnTo>
                    <a:pt x="592" y="595"/>
                  </a:lnTo>
                  <a:cubicBezTo>
                    <a:pt x="718" y="595"/>
                    <a:pt x="790" y="515"/>
                    <a:pt x="790" y="417"/>
                  </a:cubicBezTo>
                  <a:cubicBezTo>
                    <a:pt x="790" y="318"/>
                    <a:pt x="725" y="238"/>
                    <a:pt x="592" y="238"/>
                  </a:cubicBezTo>
                  <a:lnTo>
                    <a:pt x="237" y="238"/>
                  </a:lnTo>
                  <a:lnTo>
                    <a:pt x="237" y="595"/>
                  </a:lnTo>
                  <a:close/>
                  <a:moveTo>
                    <a:pt x="607" y="1250"/>
                  </a:moveTo>
                  <a:cubicBezTo>
                    <a:pt x="774" y="1250"/>
                    <a:pt x="859" y="1152"/>
                    <a:pt x="859" y="1032"/>
                  </a:cubicBezTo>
                  <a:cubicBezTo>
                    <a:pt x="859" y="910"/>
                    <a:pt x="777" y="812"/>
                    <a:pt x="607" y="812"/>
                  </a:cubicBezTo>
                  <a:lnTo>
                    <a:pt x="237" y="812"/>
                  </a:lnTo>
                  <a:lnTo>
                    <a:pt x="237" y="1250"/>
                  </a:lnTo>
                  <a:lnTo>
                    <a:pt x="607" y="1250"/>
                  </a:lnTo>
                  <a:close/>
                  <a:moveTo>
                    <a:pt x="7367" y="240"/>
                  </a:moveTo>
                  <a:cubicBezTo>
                    <a:pt x="7445" y="240"/>
                    <a:pt x="7492" y="190"/>
                    <a:pt x="7492" y="125"/>
                  </a:cubicBezTo>
                  <a:cubicBezTo>
                    <a:pt x="7492" y="60"/>
                    <a:pt x="7443" y="10"/>
                    <a:pt x="7367" y="10"/>
                  </a:cubicBezTo>
                  <a:lnTo>
                    <a:pt x="6642" y="10"/>
                  </a:lnTo>
                  <a:cubicBezTo>
                    <a:pt x="6575" y="10"/>
                    <a:pt x="6527" y="58"/>
                    <a:pt x="6527" y="125"/>
                  </a:cubicBezTo>
                  <a:lnTo>
                    <a:pt x="6527" y="1365"/>
                  </a:lnTo>
                  <a:cubicBezTo>
                    <a:pt x="6527" y="1430"/>
                    <a:pt x="6575" y="1478"/>
                    <a:pt x="6642" y="1478"/>
                  </a:cubicBezTo>
                  <a:lnTo>
                    <a:pt x="7484" y="1478"/>
                  </a:lnTo>
                  <a:lnTo>
                    <a:pt x="7484" y="1248"/>
                  </a:lnTo>
                  <a:lnTo>
                    <a:pt x="6764" y="1248"/>
                  </a:lnTo>
                  <a:lnTo>
                    <a:pt x="6764" y="822"/>
                  </a:lnTo>
                  <a:lnTo>
                    <a:pt x="7307" y="822"/>
                  </a:lnTo>
                  <a:cubicBezTo>
                    <a:pt x="7389" y="822"/>
                    <a:pt x="7435" y="773"/>
                    <a:pt x="7435" y="707"/>
                  </a:cubicBezTo>
                  <a:cubicBezTo>
                    <a:pt x="7435" y="640"/>
                    <a:pt x="7390" y="592"/>
                    <a:pt x="7307" y="592"/>
                  </a:cubicBezTo>
                  <a:lnTo>
                    <a:pt x="6764" y="592"/>
                  </a:lnTo>
                  <a:lnTo>
                    <a:pt x="6764" y="240"/>
                  </a:lnTo>
                  <a:lnTo>
                    <a:pt x="7367" y="240"/>
                  </a:lnTo>
                  <a:close/>
                  <a:moveTo>
                    <a:pt x="1635" y="893"/>
                  </a:moveTo>
                  <a:lnTo>
                    <a:pt x="1635" y="115"/>
                  </a:lnTo>
                  <a:cubicBezTo>
                    <a:pt x="1635" y="52"/>
                    <a:pt x="1589" y="0"/>
                    <a:pt x="1517" y="0"/>
                  </a:cubicBezTo>
                  <a:cubicBezTo>
                    <a:pt x="1443" y="0"/>
                    <a:pt x="1399" y="52"/>
                    <a:pt x="1399" y="115"/>
                  </a:cubicBezTo>
                  <a:lnTo>
                    <a:pt x="1399" y="885"/>
                  </a:lnTo>
                  <a:cubicBezTo>
                    <a:pt x="1399" y="1215"/>
                    <a:pt x="1630" y="1483"/>
                    <a:pt x="2002" y="1483"/>
                  </a:cubicBezTo>
                  <a:cubicBezTo>
                    <a:pt x="2372" y="1483"/>
                    <a:pt x="2605" y="1215"/>
                    <a:pt x="2605" y="885"/>
                  </a:cubicBezTo>
                  <a:lnTo>
                    <a:pt x="2605" y="7"/>
                  </a:lnTo>
                  <a:lnTo>
                    <a:pt x="2367" y="7"/>
                  </a:lnTo>
                  <a:lnTo>
                    <a:pt x="2367" y="892"/>
                  </a:lnTo>
                  <a:cubicBezTo>
                    <a:pt x="2367" y="1087"/>
                    <a:pt x="2237" y="1260"/>
                    <a:pt x="2002" y="1260"/>
                  </a:cubicBezTo>
                  <a:cubicBezTo>
                    <a:pt x="1765" y="1262"/>
                    <a:pt x="1635" y="1088"/>
                    <a:pt x="1635" y="893"/>
                  </a:cubicBezTo>
                  <a:close/>
                  <a:moveTo>
                    <a:pt x="4320" y="0"/>
                  </a:moveTo>
                  <a:cubicBezTo>
                    <a:pt x="4393" y="0"/>
                    <a:pt x="4439" y="52"/>
                    <a:pt x="4439" y="115"/>
                  </a:cubicBezTo>
                  <a:lnTo>
                    <a:pt x="4439" y="1477"/>
                  </a:lnTo>
                  <a:lnTo>
                    <a:pt x="4202" y="1477"/>
                  </a:lnTo>
                  <a:lnTo>
                    <a:pt x="4202" y="115"/>
                  </a:lnTo>
                  <a:cubicBezTo>
                    <a:pt x="4202" y="52"/>
                    <a:pt x="4247" y="0"/>
                    <a:pt x="432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326794507"/>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Title Slide 3">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01715D-BBCC-4185-A6D8-5FD229113338}"/>
              </a:ext>
            </a:extLst>
          </p:cNvPr>
          <p:cNvSpPr>
            <a:spLocks noGrp="1"/>
          </p:cNvSpPr>
          <p:nvPr>
            <p:ph type="ctrTitle" hasCustomPrompt="1"/>
          </p:nvPr>
        </p:nvSpPr>
        <p:spPr>
          <a:xfrm>
            <a:off x="374093" y="1746250"/>
            <a:ext cx="6583680" cy="2688589"/>
          </a:xfrm>
        </p:spPr>
        <p:txBody>
          <a:bodyPr lIns="0" tIns="0" rIns="0" bIns="0" anchor="b">
            <a:noAutofit/>
          </a:bodyPr>
          <a:lstStyle>
            <a:lvl1pPr algn="l">
              <a:lnSpc>
                <a:spcPct val="85000"/>
              </a:lnSpc>
              <a:defRPr sz="6000">
                <a:solidFill>
                  <a:schemeClr val="bg1"/>
                </a:solidFill>
              </a:defRPr>
            </a:lvl1pPr>
          </a:lstStyle>
          <a:p>
            <a:r>
              <a:rPr lang="en-GB"/>
              <a:t>Presentation title, 60pt Regular, max 3 lines</a:t>
            </a:r>
          </a:p>
        </p:txBody>
      </p:sp>
      <p:sp>
        <p:nvSpPr>
          <p:cNvPr id="3" name="Subtitle 2">
            <a:extLst>
              <a:ext uri="{FF2B5EF4-FFF2-40B4-BE49-F238E27FC236}">
                <a16:creationId xmlns:a16="http://schemas.microsoft.com/office/drawing/2014/main" id="{9ED5964E-2594-47EA-A0C0-745BE90F64D3}"/>
              </a:ext>
            </a:extLst>
          </p:cNvPr>
          <p:cNvSpPr>
            <a:spLocks noGrp="1"/>
          </p:cNvSpPr>
          <p:nvPr>
            <p:ph type="subTitle" idx="1" hasCustomPrompt="1"/>
          </p:nvPr>
        </p:nvSpPr>
        <p:spPr>
          <a:xfrm>
            <a:off x="429332" y="4663440"/>
            <a:ext cx="6528441" cy="641350"/>
          </a:xfrm>
        </p:spPr>
        <p:txBody>
          <a:bodyPr lIns="0" tIns="0" rIns="0" bIns="0">
            <a:noAutofit/>
          </a:bodyPr>
          <a:lstStyle>
            <a:lvl1pPr marL="0" indent="0" algn="l">
              <a:buNone/>
              <a:defRPr sz="2400">
                <a:solidFill>
                  <a:schemeClr val="accent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Place subtitle here, 24pt Regular</a:t>
            </a:r>
          </a:p>
        </p:txBody>
      </p:sp>
      <p:sp>
        <p:nvSpPr>
          <p:cNvPr id="4" name="Date Placeholder 3">
            <a:extLst>
              <a:ext uri="{FF2B5EF4-FFF2-40B4-BE49-F238E27FC236}">
                <a16:creationId xmlns:a16="http://schemas.microsoft.com/office/drawing/2014/main" id="{C7CCBB25-72E7-413F-B042-04DB03FC404C}"/>
              </a:ext>
            </a:extLst>
          </p:cNvPr>
          <p:cNvSpPr>
            <a:spLocks noGrp="1"/>
          </p:cNvSpPr>
          <p:nvPr>
            <p:ph type="dt" sz="half" idx="10"/>
          </p:nvPr>
        </p:nvSpPr>
        <p:spPr>
          <a:xfrm>
            <a:off x="457200" y="6107578"/>
            <a:ext cx="4114799" cy="274320"/>
          </a:xfrm>
        </p:spPr>
        <p:txBody>
          <a:bodyPr lIns="0" tIns="0" rIns="0" bIns="0">
            <a:noAutofit/>
          </a:bodyPr>
          <a:lstStyle>
            <a:lvl1pPr>
              <a:defRPr sz="1400">
                <a:solidFill>
                  <a:schemeClr val="accent2"/>
                </a:solidFill>
              </a:defRPr>
            </a:lvl1pPr>
          </a:lstStyle>
          <a:p>
            <a:endParaRPr lang="en-US"/>
          </a:p>
        </p:txBody>
      </p:sp>
      <p:sp>
        <p:nvSpPr>
          <p:cNvPr id="15" name="Picture Placeholder 14">
            <a:extLst>
              <a:ext uri="{FF2B5EF4-FFF2-40B4-BE49-F238E27FC236}">
                <a16:creationId xmlns:a16="http://schemas.microsoft.com/office/drawing/2014/main" id="{070D0E55-CD8A-4417-97FD-D7B02C8E36A0}"/>
              </a:ext>
            </a:extLst>
          </p:cNvPr>
          <p:cNvSpPr>
            <a:spLocks noGrp="1" noChangeAspect="1"/>
          </p:cNvSpPr>
          <p:nvPr>
            <p:ph type="pic" sz="quarter" idx="15" hasCustomPrompt="1"/>
          </p:nvPr>
        </p:nvSpPr>
        <p:spPr>
          <a:xfrm>
            <a:off x="7150608" y="-9144"/>
            <a:ext cx="5039057" cy="6876288"/>
          </a:xfrm>
          <a:custGeom>
            <a:avLst/>
            <a:gdLst>
              <a:gd name="connsiteX0" fmla="*/ 3420147 w 5025656"/>
              <a:gd name="connsiteY0" fmla="*/ 0 h 6858001"/>
              <a:gd name="connsiteX1" fmla="*/ 4791747 w 5025656"/>
              <a:gd name="connsiteY1" fmla="*/ 0 h 6858001"/>
              <a:gd name="connsiteX2" fmla="*/ 4791747 w 5025656"/>
              <a:gd name="connsiteY2" fmla="*/ 1 h 6858001"/>
              <a:gd name="connsiteX3" fmla="*/ 5025656 w 5025656"/>
              <a:gd name="connsiteY3" fmla="*/ 1 h 6858001"/>
              <a:gd name="connsiteX4" fmla="*/ 5025656 w 5025656"/>
              <a:gd name="connsiteY4" fmla="*/ 6858001 h 6858001"/>
              <a:gd name="connsiteX5" fmla="*/ 3844556 w 5025656"/>
              <a:gd name="connsiteY5" fmla="*/ 6858001 h 6858001"/>
              <a:gd name="connsiteX6" fmla="*/ 3844556 w 5025656"/>
              <a:gd name="connsiteY6" fmla="*/ 6858000 h 6858001"/>
              <a:gd name="connsiteX7" fmla="*/ 3420147 w 5025656"/>
              <a:gd name="connsiteY7" fmla="*/ 6858000 h 6858001"/>
              <a:gd name="connsiteX8" fmla="*/ 3420147 w 5025656"/>
              <a:gd name="connsiteY8" fmla="*/ 6857394 h 6858001"/>
              <a:gd name="connsiteX9" fmla="*/ 3210950 w 5025656"/>
              <a:gd name="connsiteY9" fmla="*/ 6851085 h 6858001"/>
              <a:gd name="connsiteX10" fmla="*/ 462976 w 5025656"/>
              <a:gd name="connsiteY10" fmla="*/ 5149683 h 6858001"/>
              <a:gd name="connsiteX11" fmla="*/ 457614 w 5025656"/>
              <a:gd name="connsiteY11" fmla="*/ 1717595 h 6858001"/>
              <a:gd name="connsiteX12" fmla="*/ 3200258 w 5025656"/>
              <a:gd name="connsiteY12" fmla="*/ 7617 h 6858001"/>
              <a:gd name="connsiteX13" fmla="*/ 3420147 w 5025656"/>
              <a:gd name="connsiteY13" fmla="*/ 297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25656" h="6858001">
                <a:moveTo>
                  <a:pt x="3420147" y="0"/>
                </a:moveTo>
                <a:lnTo>
                  <a:pt x="4791747" y="0"/>
                </a:lnTo>
                <a:lnTo>
                  <a:pt x="4791747" y="1"/>
                </a:lnTo>
                <a:lnTo>
                  <a:pt x="5025656" y="1"/>
                </a:lnTo>
                <a:lnTo>
                  <a:pt x="5025656" y="6858001"/>
                </a:lnTo>
                <a:lnTo>
                  <a:pt x="3844556" y="6858001"/>
                </a:lnTo>
                <a:lnTo>
                  <a:pt x="3844556" y="6858000"/>
                </a:lnTo>
                <a:lnTo>
                  <a:pt x="3420147" y="6858000"/>
                </a:lnTo>
                <a:lnTo>
                  <a:pt x="3420147" y="6857394"/>
                </a:lnTo>
                <a:lnTo>
                  <a:pt x="3210950" y="6851085"/>
                </a:lnTo>
                <a:cubicBezTo>
                  <a:pt x="2073531" y="6778796"/>
                  <a:pt x="1039896" y="6144147"/>
                  <a:pt x="462976" y="5149683"/>
                </a:cubicBezTo>
                <a:cubicBezTo>
                  <a:pt x="-152405" y="4088921"/>
                  <a:pt x="-154449" y="2780275"/>
                  <a:pt x="457614" y="1717595"/>
                </a:cubicBezTo>
                <a:cubicBezTo>
                  <a:pt x="1031423" y="721334"/>
                  <a:pt x="2063071" y="83459"/>
                  <a:pt x="3200258" y="7617"/>
                </a:cubicBezTo>
                <a:lnTo>
                  <a:pt x="3420147" y="297"/>
                </a:lnTo>
                <a:close/>
              </a:path>
            </a:pathLst>
          </a:custGeom>
          <a:solidFill>
            <a:schemeClr val="bg1">
              <a:lumMod val="95000"/>
            </a:schemeClr>
          </a:solidFill>
        </p:spPr>
        <p:txBody>
          <a:bodyPr wrap="square" lIns="1554480" tIns="2194560" rIns="1188720">
            <a:noAutofit/>
          </a:bodyPr>
          <a:lstStyle>
            <a:lvl1pPr marL="0" indent="0">
              <a:buNone/>
              <a:defRPr>
                <a:solidFill>
                  <a:schemeClr val="accent1"/>
                </a:solidFill>
              </a:defRPr>
            </a:lvl1pPr>
          </a:lstStyle>
          <a:p>
            <a:r>
              <a:rPr lang="en-GB"/>
              <a:t>Drag picture to placeholder or click icon to add.</a:t>
            </a:r>
            <a:endParaRPr lang="en-US"/>
          </a:p>
        </p:txBody>
      </p:sp>
      <p:grpSp>
        <p:nvGrpSpPr>
          <p:cNvPr id="9" name="Group 4">
            <a:extLst>
              <a:ext uri="{FF2B5EF4-FFF2-40B4-BE49-F238E27FC236}">
                <a16:creationId xmlns:a16="http://schemas.microsoft.com/office/drawing/2014/main" id="{E7ECC57D-3F30-47A0-A9CA-D6CD9BF13682}"/>
              </a:ext>
            </a:extLst>
          </p:cNvPr>
          <p:cNvGrpSpPr>
            <a:grpSpLocks noChangeAspect="1"/>
          </p:cNvGrpSpPr>
          <p:nvPr userDrawn="1"/>
        </p:nvGrpSpPr>
        <p:grpSpPr bwMode="auto">
          <a:xfrm>
            <a:off x="452902" y="365125"/>
            <a:ext cx="1581912" cy="804468"/>
            <a:chOff x="1276" y="2201"/>
            <a:chExt cx="4800" cy="2441"/>
          </a:xfrm>
          <a:solidFill>
            <a:srgbClr val="FFFFFF"/>
          </a:solidFill>
        </p:grpSpPr>
        <p:sp>
          <p:nvSpPr>
            <p:cNvPr id="10" name="Freeform 5">
              <a:extLst>
                <a:ext uri="{FF2B5EF4-FFF2-40B4-BE49-F238E27FC236}">
                  <a16:creationId xmlns:a16="http://schemas.microsoft.com/office/drawing/2014/main" id="{0D28B6F0-226D-493F-9FE1-41AD03170205}"/>
                </a:ext>
              </a:extLst>
            </p:cNvPr>
            <p:cNvSpPr>
              <a:spLocks noEditPoints="1"/>
            </p:cNvSpPr>
            <p:nvPr userDrawn="1"/>
          </p:nvSpPr>
          <p:spPr bwMode="auto">
            <a:xfrm>
              <a:off x="1276" y="2201"/>
              <a:ext cx="4794" cy="2441"/>
            </a:xfrm>
            <a:custGeom>
              <a:avLst/>
              <a:gdLst>
                <a:gd name="T0" fmla="*/ 9572 w 9986"/>
                <a:gd name="T1" fmla="*/ 153 h 5085"/>
                <a:gd name="T2" fmla="*/ 6835 w 9986"/>
                <a:gd name="T3" fmla="*/ 925 h 5085"/>
                <a:gd name="T4" fmla="*/ 6895 w 9986"/>
                <a:gd name="T5" fmla="*/ 780 h 5085"/>
                <a:gd name="T6" fmla="*/ 3251 w 9986"/>
                <a:gd name="T7" fmla="*/ 1478 h 5085"/>
                <a:gd name="T8" fmla="*/ 4555 w 9986"/>
                <a:gd name="T9" fmla="*/ 55 h 5085"/>
                <a:gd name="T10" fmla="*/ 5001 w 9986"/>
                <a:gd name="T11" fmla="*/ 740 h 5085"/>
                <a:gd name="T12" fmla="*/ 1260 w 9986"/>
                <a:gd name="T13" fmla="*/ 320 h 5085"/>
                <a:gd name="T14" fmla="*/ 738 w 9986"/>
                <a:gd name="T15" fmla="*/ 1331 h 5085"/>
                <a:gd name="T16" fmla="*/ 8772 w 9986"/>
                <a:gd name="T17" fmla="*/ 158 h 5085"/>
                <a:gd name="T18" fmla="*/ 8053 w 9986"/>
                <a:gd name="T19" fmla="*/ 1163 h 5085"/>
                <a:gd name="T20" fmla="*/ 2988 w 9986"/>
                <a:gd name="T21" fmla="*/ 740 h 5085"/>
                <a:gd name="T22" fmla="*/ 9814 w 9986"/>
                <a:gd name="T23" fmla="*/ 4415 h 5085"/>
                <a:gd name="T24" fmla="*/ 9918 w 9986"/>
                <a:gd name="T25" fmla="*/ 4246 h 5085"/>
                <a:gd name="T26" fmla="*/ 9562 w 9986"/>
                <a:gd name="T27" fmla="*/ 4273 h 5085"/>
                <a:gd name="T28" fmla="*/ 9408 w 9986"/>
                <a:gd name="T29" fmla="*/ 4780 h 5085"/>
                <a:gd name="T30" fmla="*/ 9380 w 9986"/>
                <a:gd name="T31" fmla="*/ 4447 h 5085"/>
                <a:gd name="T32" fmla="*/ 9389 w 9986"/>
                <a:gd name="T33" fmla="*/ 4671 h 5085"/>
                <a:gd name="T34" fmla="*/ 8917 w 9986"/>
                <a:gd name="T35" fmla="*/ 4533 h 5085"/>
                <a:gd name="T36" fmla="*/ 9001 w 9986"/>
                <a:gd name="T37" fmla="*/ 4836 h 5085"/>
                <a:gd name="T38" fmla="*/ 8919 w 9986"/>
                <a:gd name="T39" fmla="*/ 4466 h 5085"/>
                <a:gd name="T40" fmla="*/ 8387 w 9986"/>
                <a:gd name="T41" fmla="*/ 4323 h 5085"/>
                <a:gd name="T42" fmla="*/ 8282 w 9986"/>
                <a:gd name="T43" fmla="*/ 4879 h 5085"/>
                <a:gd name="T44" fmla="*/ 8045 w 9986"/>
                <a:gd name="T45" fmla="*/ 4336 h 5085"/>
                <a:gd name="T46" fmla="*/ 8228 w 9986"/>
                <a:gd name="T47" fmla="*/ 4852 h 5085"/>
                <a:gd name="T48" fmla="*/ 7788 w 9986"/>
                <a:gd name="T49" fmla="*/ 4291 h 5085"/>
                <a:gd name="T50" fmla="*/ 7635 w 9986"/>
                <a:gd name="T51" fmla="*/ 4246 h 5085"/>
                <a:gd name="T52" fmla="*/ 7339 w 9986"/>
                <a:gd name="T53" fmla="*/ 4323 h 5085"/>
                <a:gd name="T54" fmla="*/ 7070 w 9986"/>
                <a:gd name="T55" fmla="*/ 4833 h 5085"/>
                <a:gd name="T56" fmla="*/ 6828 w 9986"/>
                <a:gd name="T57" fmla="*/ 4769 h 5085"/>
                <a:gd name="T58" fmla="*/ 6985 w 9986"/>
                <a:gd name="T59" fmla="*/ 4912 h 5085"/>
                <a:gd name="T60" fmla="*/ 6985 w 9986"/>
                <a:gd name="T61" fmla="*/ 4435 h 5085"/>
                <a:gd name="T62" fmla="*/ 6510 w 9986"/>
                <a:gd name="T63" fmla="*/ 4260 h 5085"/>
                <a:gd name="T64" fmla="*/ 6046 w 9986"/>
                <a:gd name="T65" fmla="*/ 4804 h 5085"/>
                <a:gd name="T66" fmla="*/ 6059 w 9986"/>
                <a:gd name="T67" fmla="*/ 4643 h 5085"/>
                <a:gd name="T68" fmla="*/ 6098 w 9986"/>
                <a:gd name="T69" fmla="*/ 4567 h 5085"/>
                <a:gd name="T70" fmla="*/ 6099 w 9986"/>
                <a:gd name="T71" fmla="*/ 4896 h 5085"/>
                <a:gd name="T72" fmla="*/ 5833 w 9986"/>
                <a:gd name="T73" fmla="*/ 4717 h 5085"/>
                <a:gd name="T74" fmla="*/ 5913 w 9986"/>
                <a:gd name="T75" fmla="*/ 4530 h 5085"/>
                <a:gd name="T76" fmla="*/ 5956 w 9986"/>
                <a:gd name="T77" fmla="*/ 4779 h 5085"/>
                <a:gd name="T78" fmla="*/ 5277 w 9986"/>
                <a:gd name="T79" fmla="*/ 4491 h 5085"/>
                <a:gd name="T80" fmla="*/ 5069 w 9986"/>
                <a:gd name="T81" fmla="*/ 4796 h 5085"/>
                <a:gd name="T82" fmla="*/ 5399 w 9986"/>
                <a:gd name="T83" fmla="*/ 4882 h 5085"/>
                <a:gd name="T84" fmla="*/ 4727 w 9986"/>
                <a:gd name="T85" fmla="*/ 4653 h 5085"/>
                <a:gd name="T86" fmla="*/ 4495 w 9986"/>
                <a:gd name="T87" fmla="*/ 4284 h 5085"/>
                <a:gd name="T88" fmla="*/ 3755 w 9986"/>
                <a:gd name="T89" fmla="*/ 4512 h 5085"/>
                <a:gd name="T90" fmla="*/ 4028 w 9986"/>
                <a:gd name="T91" fmla="*/ 5028 h 5085"/>
                <a:gd name="T92" fmla="*/ 4023 w 9986"/>
                <a:gd name="T93" fmla="*/ 4799 h 5085"/>
                <a:gd name="T94" fmla="*/ 3948 w 9986"/>
                <a:gd name="T95" fmla="*/ 4459 h 5085"/>
                <a:gd name="T96" fmla="*/ 3405 w 9986"/>
                <a:gd name="T97" fmla="*/ 4531 h 5085"/>
                <a:gd name="T98" fmla="*/ 3205 w 9986"/>
                <a:gd name="T99" fmla="*/ 4459 h 5085"/>
                <a:gd name="T100" fmla="*/ 2844 w 9986"/>
                <a:gd name="T101" fmla="*/ 4291 h 5085"/>
                <a:gd name="T102" fmla="*/ 2753 w 9986"/>
                <a:gd name="T103" fmla="*/ 4435 h 5085"/>
                <a:gd name="T104" fmla="*/ 2577 w 9986"/>
                <a:gd name="T105" fmla="*/ 4531 h 5085"/>
                <a:gd name="T106" fmla="*/ 2001 w 9986"/>
                <a:gd name="T107" fmla="*/ 4693 h 5085"/>
                <a:gd name="T108" fmla="*/ 1969 w 9986"/>
                <a:gd name="T109" fmla="*/ 4796 h 5085"/>
                <a:gd name="T110" fmla="*/ 1912 w 9986"/>
                <a:gd name="T111" fmla="*/ 4439 h 5085"/>
                <a:gd name="T112" fmla="*/ 1500 w 9986"/>
                <a:gd name="T113" fmla="*/ 4439 h 5085"/>
                <a:gd name="T114" fmla="*/ 965 w 9986"/>
                <a:gd name="T115" fmla="*/ 4513 h 5085"/>
                <a:gd name="T116" fmla="*/ 753 w 9986"/>
                <a:gd name="T117" fmla="*/ 4882 h 5085"/>
                <a:gd name="T118" fmla="*/ 1083 w 9986"/>
                <a:gd name="T119" fmla="*/ 4796 h 5085"/>
                <a:gd name="T120" fmla="*/ 159 w 9986"/>
                <a:gd name="T121" fmla="*/ 4653 h 5085"/>
                <a:gd name="T122" fmla="*/ 93 w 9986"/>
                <a:gd name="T123" fmla="*/ 4908 h 5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986" h="5085">
                  <a:moveTo>
                    <a:pt x="9986" y="81"/>
                  </a:moveTo>
                  <a:cubicBezTo>
                    <a:pt x="9986" y="41"/>
                    <a:pt x="9953" y="8"/>
                    <a:pt x="9913" y="8"/>
                  </a:cubicBezTo>
                  <a:lnTo>
                    <a:pt x="9093" y="8"/>
                  </a:lnTo>
                  <a:cubicBezTo>
                    <a:pt x="9053" y="8"/>
                    <a:pt x="9020" y="40"/>
                    <a:pt x="9020" y="81"/>
                  </a:cubicBezTo>
                  <a:cubicBezTo>
                    <a:pt x="9020" y="121"/>
                    <a:pt x="9051" y="153"/>
                    <a:pt x="9093" y="153"/>
                  </a:cubicBezTo>
                  <a:lnTo>
                    <a:pt x="9438" y="153"/>
                  </a:lnTo>
                  <a:lnTo>
                    <a:pt x="9438" y="1468"/>
                  </a:lnTo>
                  <a:lnTo>
                    <a:pt x="9572" y="1468"/>
                  </a:lnTo>
                  <a:lnTo>
                    <a:pt x="9572" y="153"/>
                  </a:lnTo>
                  <a:lnTo>
                    <a:pt x="9915" y="153"/>
                  </a:lnTo>
                  <a:cubicBezTo>
                    <a:pt x="9955" y="155"/>
                    <a:pt x="9986" y="121"/>
                    <a:pt x="9986" y="81"/>
                  </a:cubicBezTo>
                  <a:close/>
                  <a:moveTo>
                    <a:pt x="7113" y="1"/>
                  </a:moveTo>
                  <a:cubicBezTo>
                    <a:pt x="7085" y="1"/>
                    <a:pt x="7065" y="20"/>
                    <a:pt x="7051" y="43"/>
                  </a:cubicBezTo>
                  <a:cubicBezTo>
                    <a:pt x="7040" y="66"/>
                    <a:pt x="6505" y="1386"/>
                    <a:pt x="6505" y="1386"/>
                  </a:cubicBezTo>
                  <a:cubicBezTo>
                    <a:pt x="6501" y="1395"/>
                    <a:pt x="6500" y="1403"/>
                    <a:pt x="6500" y="1411"/>
                  </a:cubicBezTo>
                  <a:cubicBezTo>
                    <a:pt x="6500" y="1448"/>
                    <a:pt x="6528" y="1476"/>
                    <a:pt x="6565" y="1476"/>
                  </a:cubicBezTo>
                  <a:cubicBezTo>
                    <a:pt x="6593" y="1476"/>
                    <a:pt x="6617" y="1460"/>
                    <a:pt x="6626" y="1435"/>
                  </a:cubicBezTo>
                  <a:lnTo>
                    <a:pt x="6835" y="925"/>
                  </a:lnTo>
                  <a:lnTo>
                    <a:pt x="7393" y="925"/>
                  </a:lnTo>
                  <a:lnTo>
                    <a:pt x="7615" y="1468"/>
                  </a:lnTo>
                  <a:lnTo>
                    <a:pt x="7756" y="1468"/>
                  </a:lnTo>
                  <a:cubicBezTo>
                    <a:pt x="7756" y="1468"/>
                    <a:pt x="7188" y="65"/>
                    <a:pt x="7176" y="41"/>
                  </a:cubicBezTo>
                  <a:cubicBezTo>
                    <a:pt x="7163" y="20"/>
                    <a:pt x="7142" y="1"/>
                    <a:pt x="7113" y="1"/>
                  </a:cubicBezTo>
                  <a:moveTo>
                    <a:pt x="6895" y="780"/>
                  </a:moveTo>
                  <a:lnTo>
                    <a:pt x="7115" y="240"/>
                  </a:lnTo>
                  <a:lnTo>
                    <a:pt x="7335" y="780"/>
                  </a:lnTo>
                  <a:lnTo>
                    <a:pt x="6895" y="780"/>
                  </a:lnTo>
                  <a:close/>
                  <a:moveTo>
                    <a:pt x="4490" y="1"/>
                  </a:moveTo>
                  <a:cubicBezTo>
                    <a:pt x="4463" y="1"/>
                    <a:pt x="4441" y="20"/>
                    <a:pt x="4430" y="41"/>
                  </a:cubicBezTo>
                  <a:cubicBezTo>
                    <a:pt x="4418" y="65"/>
                    <a:pt x="3995" y="1108"/>
                    <a:pt x="3995" y="1108"/>
                  </a:cubicBezTo>
                  <a:cubicBezTo>
                    <a:pt x="3995" y="1108"/>
                    <a:pt x="3572" y="63"/>
                    <a:pt x="3560" y="41"/>
                  </a:cubicBezTo>
                  <a:cubicBezTo>
                    <a:pt x="3548" y="18"/>
                    <a:pt x="3526" y="1"/>
                    <a:pt x="3500" y="1"/>
                  </a:cubicBezTo>
                  <a:cubicBezTo>
                    <a:pt x="3468" y="1"/>
                    <a:pt x="3443" y="25"/>
                    <a:pt x="3435" y="55"/>
                  </a:cubicBezTo>
                  <a:cubicBezTo>
                    <a:pt x="3426" y="85"/>
                    <a:pt x="3188" y="1400"/>
                    <a:pt x="3188" y="1400"/>
                  </a:cubicBezTo>
                  <a:cubicBezTo>
                    <a:pt x="3188" y="1405"/>
                    <a:pt x="3186" y="1408"/>
                    <a:pt x="3186" y="1413"/>
                  </a:cubicBezTo>
                  <a:cubicBezTo>
                    <a:pt x="3186" y="1450"/>
                    <a:pt x="3216" y="1478"/>
                    <a:pt x="3251" y="1478"/>
                  </a:cubicBezTo>
                  <a:cubicBezTo>
                    <a:pt x="3283" y="1478"/>
                    <a:pt x="3310" y="1455"/>
                    <a:pt x="3316" y="1425"/>
                  </a:cubicBezTo>
                  <a:lnTo>
                    <a:pt x="3523" y="300"/>
                  </a:lnTo>
                  <a:cubicBezTo>
                    <a:pt x="3523" y="300"/>
                    <a:pt x="3921" y="1283"/>
                    <a:pt x="3933" y="1306"/>
                  </a:cubicBezTo>
                  <a:cubicBezTo>
                    <a:pt x="3945" y="1330"/>
                    <a:pt x="3966" y="1348"/>
                    <a:pt x="3995" y="1348"/>
                  </a:cubicBezTo>
                  <a:cubicBezTo>
                    <a:pt x="4022" y="1348"/>
                    <a:pt x="4045" y="1330"/>
                    <a:pt x="4056" y="1306"/>
                  </a:cubicBezTo>
                  <a:cubicBezTo>
                    <a:pt x="4068" y="1283"/>
                    <a:pt x="4466" y="300"/>
                    <a:pt x="4466" y="300"/>
                  </a:cubicBezTo>
                  <a:lnTo>
                    <a:pt x="4681" y="1470"/>
                  </a:lnTo>
                  <a:lnTo>
                    <a:pt x="4815" y="1470"/>
                  </a:lnTo>
                  <a:cubicBezTo>
                    <a:pt x="4815" y="1470"/>
                    <a:pt x="4563" y="85"/>
                    <a:pt x="4555" y="55"/>
                  </a:cubicBezTo>
                  <a:cubicBezTo>
                    <a:pt x="4545" y="25"/>
                    <a:pt x="4522" y="1"/>
                    <a:pt x="4490" y="1"/>
                  </a:cubicBezTo>
                  <a:moveTo>
                    <a:pt x="5740" y="146"/>
                  </a:moveTo>
                  <a:cubicBezTo>
                    <a:pt x="5898" y="146"/>
                    <a:pt x="6047" y="208"/>
                    <a:pt x="6158" y="320"/>
                  </a:cubicBezTo>
                  <a:cubicBezTo>
                    <a:pt x="6185" y="346"/>
                    <a:pt x="6235" y="346"/>
                    <a:pt x="6261" y="320"/>
                  </a:cubicBezTo>
                  <a:cubicBezTo>
                    <a:pt x="6275" y="306"/>
                    <a:pt x="6283" y="288"/>
                    <a:pt x="6283" y="268"/>
                  </a:cubicBezTo>
                  <a:cubicBezTo>
                    <a:pt x="6283" y="248"/>
                    <a:pt x="6275" y="230"/>
                    <a:pt x="6261" y="216"/>
                  </a:cubicBezTo>
                  <a:lnTo>
                    <a:pt x="6253" y="208"/>
                  </a:lnTo>
                  <a:cubicBezTo>
                    <a:pt x="6115" y="75"/>
                    <a:pt x="5933" y="1"/>
                    <a:pt x="5740" y="1"/>
                  </a:cubicBezTo>
                  <a:cubicBezTo>
                    <a:pt x="5333" y="1"/>
                    <a:pt x="5001" y="333"/>
                    <a:pt x="5001" y="740"/>
                  </a:cubicBezTo>
                  <a:cubicBezTo>
                    <a:pt x="5001" y="1146"/>
                    <a:pt x="5333" y="1478"/>
                    <a:pt x="5740" y="1478"/>
                  </a:cubicBezTo>
                  <a:cubicBezTo>
                    <a:pt x="5955" y="1478"/>
                    <a:pt x="6148" y="1386"/>
                    <a:pt x="6283" y="1238"/>
                  </a:cubicBezTo>
                  <a:lnTo>
                    <a:pt x="6180" y="1135"/>
                  </a:lnTo>
                  <a:cubicBezTo>
                    <a:pt x="6072" y="1255"/>
                    <a:pt x="5915" y="1331"/>
                    <a:pt x="5740" y="1331"/>
                  </a:cubicBezTo>
                  <a:cubicBezTo>
                    <a:pt x="5413" y="1331"/>
                    <a:pt x="5147" y="1065"/>
                    <a:pt x="5147" y="738"/>
                  </a:cubicBezTo>
                  <a:cubicBezTo>
                    <a:pt x="5147" y="413"/>
                    <a:pt x="5413" y="146"/>
                    <a:pt x="5740" y="146"/>
                  </a:cubicBezTo>
                  <a:moveTo>
                    <a:pt x="736" y="146"/>
                  </a:moveTo>
                  <a:cubicBezTo>
                    <a:pt x="895" y="146"/>
                    <a:pt x="1043" y="208"/>
                    <a:pt x="1156" y="320"/>
                  </a:cubicBezTo>
                  <a:cubicBezTo>
                    <a:pt x="1183" y="346"/>
                    <a:pt x="1233" y="346"/>
                    <a:pt x="1260" y="320"/>
                  </a:cubicBezTo>
                  <a:cubicBezTo>
                    <a:pt x="1273" y="306"/>
                    <a:pt x="1281" y="288"/>
                    <a:pt x="1281" y="268"/>
                  </a:cubicBezTo>
                  <a:cubicBezTo>
                    <a:pt x="1281" y="248"/>
                    <a:pt x="1275" y="230"/>
                    <a:pt x="1260" y="216"/>
                  </a:cubicBezTo>
                  <a:lnTo>
                    <a:pt x="1251" y="208"/>
                  </a:lnTo>
                  <a:cubicBezTo>
                    <a:pt x="1113" y="75"/>
                    <a:pt x="931" y="1"/>
                    <a:pt x="738" y="1"/>
                  </a:cubicBezTo>
                  <a:cubicBezTo>
                    <a:pt x="331" y="1"/>
                    <a:pt x="0" y="333"/>
                    <a:pt x="0" y="740"/>
                  </a:cubicBezTo>
                  <a:cubicBezTo>
                    <a:pt x="0" y="1146"/>
                    <a:pt x="331" y="1478"/>
                    <a:pt x="738" y="1478"/>
                  </a:cubicBezTo>
                  <a:cubicBezTo>
                    <a:pt x="953" y="1478"/>
                    <a:pt x="1147" y="1386"/>
                    <a:pt x="1281" y="1238"/>
                  </a:cubicBezTo>
                  <a:lnTo>
                    <a:pt x="1178" y="1135"/>
                  </a:lnTo>
                  <a:cubicBezTo>
                    <a:pt x="1070" y="1255"/>
                    <a:pt x="911" y="1331"/>
                    <a:pt x="738" y="1331"/>
                  </a:cubicBezTo>
                  <a:cubicBezTo>
                    <a:pt x="411" y="1331"/>
                    <a:pt x="145" y="1065"/>
                    <a:pt x="145" y="738"/>
                  </a:cubicBezTo>
                  <a:cubicBezTo>
                    <a:pt x="143" y="413"/>
                    <a:pt x="410" y="146"/>
                    <a:pt x="736" y="146"/>
                  </a:cubicBezTo>
                  <a:moveTo>
                    <a:pt x="8613" y="748"/>
                  </a:moveTo>
                  <a:cubicBezTo>
                    <a:pt x="8573" y="728"/>
                    <a:pt x="8333" y="603"/>
                    <a:pt x="8298" y="585"/>
                  </a:cubicBezTo>
                  <a:cubicBezTo>
                    <a:pt x="8172" y="520"/>
                    <a:pt x="8126" y="463"/>
                    <a:pt x="8126" y="366"/>
                  </a:cubicBezTo>
                  <a:cubicBezTo>
                    <a:pt x="8126" y="231"/>
                    <a:pt x="8236" y="145"/>
                    <a:pt x="8408" y="145"/>
                  </a:cubicBezTo>
                  <a:cubicBezTo>
                    <a:pt x="8508" y="145"/>
                    <a:pt x="8606" y="188"/>
                    <a:pt x="8663" y="221"/>
                  </a:cubicBezTo>
                  <a:cubicBezTo>
                    <a:pt x="8673" y="226"/>
                    <a:pt x="8686" y="230"/>
                    <a:pt x="8698" y="230"/>
                  </a:cubicBezTo>
                  <a:cubicBezTo>
                    <a:pt x="8738" y="230"/>
                    <a:pt x="8772" y="198"/>
                    <a:pt x="8772" y="158"/>
                  </a:cubicBezTo>
                  <a:cubicBezTo>
                    <a:pt x="8772" y="131"/>
                    <a:pt x="8756" y="108"/>
                    <a:pt x="8735" y="95"/>
                  </a:cubicBezTo>
                  <a:cubicBezTo>
                    <a:pt x="8663" y="55"/>
                    <a:pt x="8542" y="0"/>
                    <a:pt x="8410" y="0"/>
                  </a:cubicBezTo>
                  <a:cubicBezTo>
                    <a:pt x="8158" y="0"/>
                    <a:pt x="7983" y="150"/>
                    <a:pt x="7983" y="366"/>
                  </a:cubicBezTo>
                  <a:cubicBezTo>
                    <a:pt x="7983" y="560"/>
                    <a:pt x="8110" y="651"/>
                    <a:pt x="8235" y="715"/>
                  </a:cubicBezTo>
                  <a:cubicBezTo>
                    <a:pt x="8270" y="733"/>
                    <a:pt x="8513" y="858"/>
                    <a:pt x="8550" y="878"/>
                  </a:cubicBezTo>
                  <a:cubicBezTo>
                    <a:pt x="8647" y="928"/>
                    <a:pt x="8700" y="1005"/>
                    <a:pt x="8700" y="1091"/>
                  </a:cubicBezTo>
                  <a:cubicBezTo>
                    <a:pt x="8700" y="1208"/>
                    <a:pt x="8601" y="1331"/>
                    <a:pt x="8418" y="1331"/>
                  </a:cubicBezTo>
                  <a:cubicBezTo>
                    <a:pt x="8240" y="1331"/>
                    <a:pt x="8101" y="1211"/>
                    <a:pt x="8065" y="1175"/>
                  </a:cubicBezTo>
                  <a:lnTo>
                    <a:pt x="8053" y="1163"/>
                  </a:lnTo>
                  <a:lnTo>
                    <a:pt x="7945" y="1261"/>
                  </a:lnTo>
                  <a:lnTo>
                    <a:pt x="7958" y="1273"/>
                  </a:lnTo>
                  <a:cubicBezTo>
                    <a:pt x="8006" y="1320"/>
                    <a:pt x="8180" y="1475"/>
                    <a:pt x="8418" y="1475"/>
                  </a:cubicBezTo>
                  <a:cubicBezTo>
                    <a:pt x="8685" y="1475"/>
                    <a:pt x="8845" y="1278"/>
                    <a:pt x="8845" y="1088"/>
                  </a:cubicBezTo>
                  <a:cubicBezTo>
                    <a:pt x="8843" y="950"/>
                    <a:pt x="8760" y="825"/>
                    <a:pt x="8613" y="748"/>
                  </a:cubicBezTo>
                  <a:moveTo>
                    <a:pt x="2250" y="1"/>
                  </a:moveTo>
                  <a:cubicBezTo>
                    <a:pt x="1843" y="1"/>
                    <a:pt x="1511" y="333"/>
                    <a:pt x="1511" y="740"/>
                  </a:cubicBezTo>
                  <a:cubicBezTo>
                    <a:pt x="1511" y="1146"/>
                    <a:pt x="1843" y="1478"/>
                    <a:pt x="2250" y="1478"/>
                  </a:cubicBezTo>
                  <a:cubicBezTo>
                    <a:pt x="2656" y="1478"/>
                    <a:pt x="2988" y="1146"/>
                    <a:pt x="2988" y="740"/>
                  </a:cubicBezTo>
                  <a:cubicBezTo>
                    <a:pt x="2988" y="333"/>
                    <a:pt x="2656" y="1"/>
                    <a:pt x="2250" y="1"/>
                  </a:cubicBezTo>
                  <a:moveTo>
                    <a:pt x="2250" y="1331"/>
                  </a:moveTo>
                  <a:cubicBezTo>
                    <a:pt x="1923" y="1331"/>
                    <a:pt x="1656" y="1065"/>
                    <a:pt x="1656" y="738"/>
                  </a:cubicBezTo>
                  <a:cubicBezTo>
                    <a:pt x="1656" y="411"/>
                    <a:pt x="1923" y="145"/>
                    <a:pt x="2250" y="145"/>
                  </a:cubicBezTo>
                  <a:cubicBezTo>
                    <a:pt x="2576" y="145"/>
                    <a:pt x="2843" y="411"/>
                    <a:pt x="2843" y="738"/>
                  </a:cubicBezTo>
                  <a:cubicBezTo>
                    <a:pt x="2841" y="1066"/>
                    <a:pt x="2576" y="1331"/>
                    <a:pt x="2250" y="1331"/>
                  </a:cubicBezTo>
                  <a:close/>
                  <a:moveTo>
                    <a:pt x="9887" y="4438"/>
                  </a:moveTo>
                  <a:lnTo>
                    <a:pt x="9886" y="4303"/>
                  </a:lnTo>
                  <a:lnTo>
                    <a:pt x="9814" y="4415"/>
                  </a:lnTo>
                  <a:lnTo>
                    <a:pt x="9799" y="4415"/>
                  </a:lnTo>
                  <a:lnTo>
                    <a:pt x="9726" y="4306"/>
                  </a:lnTo>
                  <a:lnTo>
                    <a:pt x="9726" y="4438"/>
                  </a:lnTo>
                  <a:lnTo>
                    <a:pt x="9694" y="4438"/>
                  </a:lnTo>
                  <a:lnTo>
                    <a:pt x="9694" y="4246"/>
                  </a:lnTo>
                  <a:lnTo>
                    <a:pt x="9721" y="4246"/>
                  </a:lnTo>
                  <a:lnTo>
                    <a:pt x="9807" y="4377"/>
                  </a:lnTo>
                  <a:lnTo>
                    <a:pt x="9891" y="4246"/>
                  </a:lnTo>
                  <a:lnTo>
                    <a:pt x="9918" y="4246"/>
                  </a:lnTo>
                  <a:lnTo>
                    <a:pt x="9918" y="4438"/>
                  </a:lnTo>
                  <a:lnTo>
                    <a:pt x="9887" y="4438"/>
                  </a:lnTo>
                  <a:close/>
                  <a:moveTo>
                    <a:pt x="9492" y="4246"/>
                  </a:moveTo>
                  <a:lnTo>
                    <a:pt x="9666" y="4246"/>
                  </a:lnTo>
                  <a:lnTo>
                    <a:pt x="9666" y="4273"/>
                  </a:lnTo>
                  <a:lnTo>
                    <a:pt x="9596" y="4273"/>
                  </a:lnTo>
                  <a:lnTo>
                    <a:pt x="9596" y="4438"/>
                  </a:lnTo>
                  <a:lnTo>
                    <a:pt x="9562" y="4438"/>
                  </a:lnTo>
                  <a:lnTo>
                    <a:pt x="9562" y="4273"/>
                  </a:lnTo>
                  <a:lnTo>
                    <a:pt x="9492" y="4273"/>
                  </a:lnTo>
                  <a:lnTo>
                    <a:pt x="9492" y="4246"/>
                  </a:lnTo>
                  <a:close/>
                  <a:moveTo>
                    <a:pt x="9167" y="4896"/>
                  </a:moveTo>
                  <a:cubicBezTo>
                    <a:pt x="9133" y="4885"/>
                    <a:pt x="9105" y="4871"/>
                    <a:pt x="9086" y="4854"/>
                  </a:cubicBezTo>
                  <a:lnTo>
                    <a:pt x="9114" y="4804"/>
                  </a:lnTo>
                  <a:cubicBezTo>
                    <a:pt x="9134" y="4820"/>
                    <a:pt x="9159" y="4833"/>
                    <a:pt x="9188" y="4842"/>
                  </a:cubicBezTo>
                  <a:cubicBezTo>
                    <a:pt x="9218" y="4852"/>
                    <a:pt x="9249" y="4857"/>
                    <a:pt x="9281" y="4857"/>
                  </a:cubicBezTo>
                  <a:cubicBezTo>
                    <a:pt x="9324" y="4857"/>
                    <a:pt x="9356" y="4850"/>
                    <a:pt x="9377" y="4837"/>
                  </a:cubicBezTo>
                  <a:cubicBezTo>
                    <a:pt x="9397" y="4824"/>
                    <a:pt x="9408" y="4805"/>
                    <a:pt x="9408" y="4780"/>
                  </a:cubicBezTo>
                  <a:cubicBezTo>
                    <a:pt x="9408" y="4763"/>
                    <a:pt x="9402" y="4750"/>
                    <a:pt x="9390" y="4740"/>
                  </a:cubicBezTo>
                  <a:cubicBezTo>
                    <a:pt x="9379" y="4730"/>
                    <a:pt x="9365" y="4723"/>
                    <a:pt x="9348" y="4717"/>
                  </a:cubicBezTo>
                  <a:cubicBezTo>
                    <a:pt x="9330" y="4712"/>
                    <a:pt x="9307" y="4708"/>
                    <a:pt x="9279" y="4703"/>
                  </a:cubicBezTo>
                  <a:cubicBezTo>
                    <a:pt x="9241" y="4696"/>
                    <a:pt x="9210" y="4688"/>
                    <a:pt x="9187" y="4681"/>
                  </a:cubicBezTo>
                  <a:cubicBezTo>
                    <a:pt x="9163" y="4674"/>
                    <a:pt x="9144" y="4661"/>
                    <a:pt x="9127" y="4643"/>
                  </a:cubicBezTo>
                  <a:cubicBezTo>
                    <a:pt x="9111" y="4625"/>
                    <a:pt x="9103" y="4601"/>
                    <a:pt x="9103" y="4569"/>
                  </a:cubicBezTo>
                  <a:cubicBezTo>
                    <a:pt x="9103" y="4530"/>
                    <a:pt x="9119" y="4498"/>
                    <a:pt x="9152" y="4473"/>
                  </a:cubicBezTo>
                  <a:cubicBezTo>
                    <a:pt x="9185" y="4448"/>
                    <a:pt x="9230" y="4435"/>
                    <a:pt x="9289" y="4435"/>
                  </a:cubicBezTo>
                  <a:cubicBezTo>
                    <a:pt x="9319" y="4435"/>
                    <a:pt x="9349" y="4439"/>
                    <a:pt x="9380" y="4447"/>
                  </a:cubicBezTo>
                  <a:cubicBezTo>
                    <a:pt x="9410" y="4455"/>
                    <a:pt x="9435" y="4466"/>
                    <a:pt x="9455" y="4479"/>
                  </a:cubicBezTo>
                  <a:lnTo>
                    <a:pt x="9427" y="4530"/>
                  </a:lnTo>
                  <a:cubicBezTo>
                    <a:pt x="9388" y="4503"/>
                    <a:pt x="9342" y="4490"/>
                    <a:pt x="9289" y="4490"/>
                  </a:cubicBezTo>
                  <a:cubicBezTo>
                    <a:pt x="9248" y="4490"/>
                    <a:pt x="9218" y="4497"/>
                    <a:pt x="9197" y="4511"/>
                  </a:cubicBezTo>
                  <a:cubicBezTo>
                    <a:pt x="9176" y="4525"/>
                    <a:pt x="9166" y="4544"/>
                    <a:pt x="9166" y="4567"/>
                  </a:cubicBezTo>
                  <a:cubicBezTo>
                    <a:pt x="9166" y="4585"/>
                    <a:pt x="9172" y="4599"/>
                    <a:pt x="9184" y="4610"/>
                  </a:cubicBezTo>
                  <a:cubicBezTo>
                    <a:pt x="9195" y="4621"/>
                    <a:pt x="9210" y="4629"/>
                    <a:pt x="9227" y="4634"/>
                  </a:cubicBezTo>
                  <a:cubicBezTo>
                    <a:pt x="9244" y="4639"/>
                    <a:pt x="9268" y="4644"/>
                    <a:pt x="9298" y="4649"/>
                  </a:cubicBezTo>
                  <a:cubicBezTo>
                    <a:pt x="9336" y="4656"/>
                    <a:pt x="9366" y="4664"/>
                    <a:pt x="9389" y="4671"/>
                  </a:cubicBezTo>
                  <a:cubicBezTo>
                    <a:pt x="9411" y="4678"/>
                    <a:pt x="9431" y="4690"/>
                    <a:pt x="9447" y="4707"/>
                  </a:cubicBezTo>
                  <a:cubicBezTo>
                    <a:pt x="9463" y="4724"/>
                    <a:pt x="9471" y="4748"/>
                    <a:pt x="9471" y="4779"/>
                  </a:cubicBezTo>
                  <a:cubicBezTo>
                    <a:pt x="9471" y="4820"/>
                    <a:pt x="9454" y="4852"/>
                    <a:pt x="9420" y="4876"/>
                  </a:cubicBezTo>
                  <a:cubicBezTo>
                    <a:pt x="9385" y="4900"/>
                    <a:pt x="9338" y="4912"/>
                    <a:pt x="9277" y="4912"/>
                  </a:cubicBezTo>
                  <a:cubicBezTo>
                    <a:pt x="9239" y="4912"/>
                    <a:pt x="9202" y="4907"/>
                    <a:pt x="9167" y="4896"/>
                  </a:cubicBezTo>
                  <a:moveTo>
                    <a:pt x="8688" y="4533"/>
                  </a:moveTo>
                  <a:cubicBezTo>
                    <a:pt x="8658" y="4562"/>
                    <a:pt x="8640" y="4599"/>
                    <a:pt x="8636" y="4646"/>
                  </a:cubicBezTo>
                  <a:lnTo>
                    <a:pt x="8969" y="4646"/>
                  </a:lnTo>
                  <a:cubicBezTo>
                    <a:pt x="8965" y="4599"/>
                    <a:pt x="8948" y="4562"/>
                    <a:pt x="8917" y="4533"/>
                  </a:cubicBezTo>
                  <a:cubicBezTo>
                    <a:pt x="8886" y="4504"/>
                    <a:pt x="8848" y="4490"/>
                    <a:pt x="8802" y="4490"/>
                  </a:cubicBezTo>
                  <a:cubicBezTo>
                    <a:pt x="8757" y="4490"/>
                    <a:pt x="8719" y="4504"/>
                    <a:pt x="8688" y="4533"/>
                  </a:cubicBezTo>
                  <a:close/>
                  <a:moveTo>
                    <a:pt x="9029" y="4693"/>
                  </a:moveTo>
                  <a:lnTo>
                    <a:pt x="8636" y="4693"/>
                  </a:lnTo>
                  <a:cubicBezTo>
                    <a:pt x="8640" y="4742"/>
                    <a:pt x="8658" y="4781"/>
                    <a:pt x="8692" y="4811"/>
                  </a:cubicBezTo>
                  <a:cubicBezTo>
                    <a:pt x="8726" y="4841"/>
                    <a:pt x="8769" y="4856"/>
                    <a:pt x="8821" y="4856"/>
                  </a:cubicBezTo>
                  <a:cubicBezTo>
                    <a:pt x="8850" y="4856"/>
                    <a:pt x="8877" y="4851"/>
                    <a:pt x="8901" y="4841"/>
                  </a:cubicBezTo>
                  <a:cubicBezTo>
                    <a:pt x="8926" y="4830"/>
                    <a:pt x="8947" y="4815"/>
                    <a:pt x="8965" y="4795"/>
                  </a:cubicBezTo>
                  <a:lnTo>
                    <a:pt x="9001" y="4836"/>
                  </a:lnTo>
                  <a:cubicBezTo>
                    <a:pt x="8980" y="4861"/>
                    <a:pt x="8954" y="4880"/>
                    <a:pt x="8922" y="4893"/>
                  </a:cubicBezTo>
                  <a:cubicBezTo>
                    <a:pt x="8891" y="4906"/>
                    <a:pt x="8857" y="4912"/>
                    <a:pt x="8819" y="4912"/>
                  </a:cubicBezTo>
                  <a:cubicBezTo>
                    <a:pt x="8771" y="4912"/>
                    <a:pt x="8728" y="4902"/>
                    <a:pt x="8691" y="4882"/>
                  </a:cubicBezTo>
                  <a:cubicBezTo>
                    <a:pt x="8654" y="4861"/>
                    <a:pt x="8625" y="4833"/>
                    <a:pt x="8604" y="4796"/>
                  </a:cubicBezTo>
                  <a:cubicBezTo>
                    <a:pt x="8583" y="4760"/>
                    <a:pt x="8572" y="4719"/>
                    <a:pt x="8572" y="4673"/>
                  </a:cubicBezTo>
                  <a:cubicBezTo>
                    <a:pt x="8572" y="4628"/>
                    <a:pt x="8582" y="4587"/>
                    <a:pt x="8602" y="4550"/>
                  </a:cubicBezTo>
                  <a:cubicBezTo>
                    <a:pt x="8622" y="4514"/>
                    <a:pt x="8650" y="4486"/>
                    <a:pt x="8685" y="4466"/>
                  </a:cubicBezTo>
                  <a:cubicBezTo>
                    <a:pt x="8720" y="4445"/>
                    <a:pt x="8759" y="4435"/>
                    <a:pt x="8802" y="4435"/>
                  </a:cubicBezTo>
                  <a:cubicBezTo>
                    <a:pt x="8846" y="4435"/>
                    <a:pt x="8885" y="4445"/>
                    <a:pt x="8919" y="4466"/>
                  </a:cubicBezTo>
                  <a:cubicBezTo>
                    <a:pt x="8954" y="4486"/>
                    <a:pt x="8981" y="4514"/>
                    <a:pt x="9001" y="4550"/>
                  </a:cubicBezTo>
                  <a:cubicBezTo>
                    <a:pt x="9020" y="4586"/>
                    <a:pt x="9030" y="4627"/>
                    <a:pt x="9030" y="4673"/>
                  </a:cubicBezTo>
                  <a:lnTo>
                    <a:pt x="9029" y="4693"/>
                  </a:lnTo>
                  <a:close/>
                  <a:moveTo>
                    <a:pt x="8388" y="4439"/>
                  </a:moveTo>
                  <a:lnTo>
                    <a:pt x="8452" y="4439"/>
                  </a:lnTo>
                  <a:lnTo>
                    <a:pt x="8452" y="4908"/>
                  </a:lnTo>
                  <a:lnTo>
                    <a:pt x="8388" y="4908"/>
                  </a:lnTo>
                  <a:lnTo>
                    <a:pt x="8388" y="4439"/>
                  </a:lnTo>
                  <a:close/>
                  <a:moveTo>
                    <a:pt x="8387" y="4323"/>
                  </a:moveTo>
                  <a:cubicBezTo>
                    <a:pt x="8378" y="4314"/>
                    <a:pt x="8374" y="4303"/>
                    <a:pt x="8374" y="4291"/>
                  </a:cubicBezTo>
                  <a:cubicBezTo>
                    <a:pt x="8374" y="4279"/>
                    <a:pt x="8378" y="4268"/>
                    <a:pt x="8387" y="4260"/>
                  </a:cubicBezTo>
                  <a:cubicBezTo>
                    <a:pt x="8396" y="4251"/>
                    <a:pt x="8407" y="4246"/>
                    <a:pt x="8420" y="4246"/>
                  </a:cubicBezTo>
                  <a:cubicBezTo>
                    <a:pt x="8434" y="4246"/>
                    <a:pt x="8445" y="4250"/>
                    <a:pt x="8454" y="4259"/>
                  </a:cubicBezTo>
                  <a:cubicBezTo>
                    <a:pt x="8462" y="4268"/>
                    <a:pt x="8467" y="4278"/>
                    <a:pt x="8467" y="4290"/>
                  </a:cubicBezTo>
                  <a:cubicBezTo>
                    <a:pt x="8467" y="4303"/>
                    <a:pt x="8462" y="4314"/>
                    <a:pt x="8454" y="4323"/>
                  </a:cubicBezTo>
                  <a:cubicBezTo>
                    <a:pt x="8445" y="4332"/>
                    <a:pt x="8434" y="4336"/>
                    <a:pt x="8420" y="4336"/>
                  </a:cubicBezTo>
                  <a:cubicBezTo>
                    <a:pt x="8407" y="4336"/>
                    <a:pt x="8396" y="4332"/>
                    <a:pt x="8387" y="4323"/>
                  </a:cubicBezTo>
                  <a:close/>
                  <a:moveTo>
                    <a:pt x="8282" y="4879"/>
                  </a:moveTo>
                  <a:cubicBezTo>
                    <a:pt x="8270" y="4890"/>
                    <a:pt x="8255" y="4898"/>
                    <a:pt x="8238" y="4904"/>
                  </a:cubicBezTo>
                  <a:cubicBezTo>
                    <a:pt x="8220" y="4910"/>
                    <a:pt x="8202" y="4912"/>
                    <a:pt x="8183" y="4912"/>
                  </a:cubicBezTo>
                  <a:cubicBezTo>
                    <a:pt x="8139" y="4912"/>
                    <a:pt x="8105" y="4900"/>
                    <a:pt x="8081" y="4877"/>
                  </a:cubicBezTo>
                  <a:cubicBezTo>
                    <a:pt x="8057" y="4853"/>
                    <a:pt x="8045" y="4819"/>
                    <a:pt x="8045" y="4776"/>
                  </a:cubicBezTo>
                  <a:lnTo>
                    <a:pt x="8045" y="4492"/>
                  </a:lnTo>
                  <a:lnTo>
                    <a:pt x="7961" y="4492"/>
                  </a:lnTo>
                  <a:lnTo>
                    <a:pt x="7961" y="4439"/>
                  </a:lnTo>
                  <a:lnTo>
                    <a:pt x="8045" y="4439"/>
                  </a:lnTo>
                  <a:lnTo>
                    <a:pt x="8045" y="4336"/>
                  </a:lnTo>
                  <a:lnTo>
                    <a:pt x="8108" y="4336"/>
                  </a:lnTo>
                  <a:lnTo>
                    <a:pt x="8108" y="4439"/>
                  </a:lnTo>
                  <a:lnTo>
                    <a:pt x="8251" y="4439"/>
                  </a:lnTo>
                  <a:lnTo>
                    <a:pt x="8251" y="4492"/>
                  </a:lnTo>
                  <a:lnTo>
                    <a:pt x="8108" y="4492"/>
                  </a:lnTo>
                  <a:lnTo>
                    <a:pt x="8108" y="4772"/>
                  </a:lnTo>
                  <a:cubicBezTo>
                    <a:pt x="8108" y="4800"/>
                    <a:pt x="8115" y="4822"/>
                    <a:pt x="8129" y="4836"/>
                  </a:cubicBezTo>
                  <a:cubicBezTo>
                    <a:pt x="8143" y="4851"/>
                    <a:pt x="8164" y="4858"/>
                    <a:pt x="8190" y="4858"/>
                  </a:cubicBezTo>
                  <a:cubicBezTo>
                    <a:pt x="8203" y="4858"/>
                    <a:pt x="8216" y="4856"/>
                    <a:pt x="8228" y="4852"/>
                  </a:cubicBezTo>
                  <a:cubicBezTo>
                    <a:pt x="8240" y="4848"/>
                    <a:pt x="8251" y="4842"/>
                    <a:pt x="8260" y="4834"/>
                  </a:cubicBezTo>
                  <a:lnTo>
                    <a:pt x="8282" y="4879"/>
                  </a:lnTo>
                  <a:close/>
                  <a:moveTo>
                    <a:pt x="7803" y="4439"/>
                  </a:moveTo>
                  <a:lnTo>
                    <a:pt x="7866" y="4439"/>
                  </a:lnTo>
                  <a:lnTo>
                    <a:pt x="7866" y="4908"/>
                  </a:lnTo>
                  <a:lnTo>
                    <a:pt x="7803" y="4908"/>
                  </a:lnTo>
                  <a:lnTo>
                    <a:pt x="7803" y="4439"/>
                  </a:lnTo>
                  <a:close/>
                  <a:moveTo>
                    <a:pt x="7802" y="4323"/>
                  </a:moveTo>
                  <a:cubicBezTo>
                    <a:pt x="7793" y="4314"/>
                    <a:pt x="7788" y="4303"/>
                    <a:pt x="7788" y="4291"/>
                  </a:cubicBezTo>
                  <a:cubicBezTo>
                    <a:pt x="7788" y="4279"/>
                    <a:pt x="7793" y="4268"/>
                    <a:pt x="7802" y="4260"/>
                  </a:cubicBezTo>
                  <a:cubicBezTo>
                    <a:pt x="7811" y="4251"/>
                    <a:pt x="7822" y="4246"/>
                    <a:pt x="7835" y="4246"/>
                  </a:cubicBezTo>
                  <a:cubicBezTo>
                    <a:pt x="7848" y="4246"/>
                    <a:pt x="7859" y="4250"/>
                    <a:pt x="7868" y="4259"/>
                  </a:cubicBezTo>
                  <a:cubicBezTo>
                    <a:pt x="7877" y="4268"/>
                    <a:pt x="7881" y="4278"/>
                    <a:pt x="7881" y="4290"/>
                  </a:cubicBezTo>
                  <a:cubicBezTo>
                    <a:pt x="7881" y="4303"/>
                    <a:pt x="7877" y="4314"/>
                    <a:pt x="7868" y="4323"/>
                  </a:cubicBezTo>
                  <a:cubicBezTo>
                    <a:pt x="7859" y="4332"/>
                    <a:pt x="7848" y="4336"/>
                    <a:pt x="7835" y="4336"/>
                  </a:cubicBezTo>
                  <a:cubicBezTo>
                    <a:pt x="7822" y="4336"/>
                    <a:pt x="7811" y="4332"/>
                    <a:pt x="7802" y="4323"/>
                  </a:cubicBezTo>
                  <a:close/>
                  <a:moveTo>
                    <a:pt x="7571" y="4246"/>
                  </a:moveTo>
                  <a:lnTo>
                    <a:pt x="7635" y="4246"/>
                  </a:lnTo>
                  <a:lnTo>
                    <a:pt x="7635" y="4908"/>
                  </a:lnTo>
                  <a:lnTo>
                    <a:pt x="7571" y="4908"/>
                  </a:lnTo>
                  <a:lnTo>
                    <a:pt x="7571" y="4246"/>
                  </a:lnTo>
                  <a:close/>
                  <a:moveTo>
                    <a:pt x="7340" y="4439"/>
                  </a:moveTo>
                  <a:lnTo>
                    <a:pt x="7403" y="4439"/>
                  </a:lnTo>
                  <a:lnTo>
                    <a:pt x="7403" y="4908"/>
                  </a:lnTo>
                  <a:lnTo>
                    <a:pt x="7340" y="4908"/>
                  </a:lnTo>
                  <a:lnTo>
                    <a:pt x="7340" y="4439"/>
                  </a:lnTo>
                  <a:close/>
                  <a:moveTo>
                    <a:pt x="7339" y="4323"/>
                  </a:moveTo>
                  <a:cubicBezTo>
                    <a:pt x="7330" y="4314"/>
                    <a:pt x="7325" y="4303"/>
                    <a:pt x="7325" y="4291"/>
                  </a:cubicBezTo>
                  <a:cubicBezTo>
                    <a:pt x="7325" y="4279"/>
                    <a:pt x="7330" y="4268"/>
                    <a:pt x="7339" y="4260"/>
                  </a:cubicBezTo>
                  <a:cubicBezTo>
                    <a:pt x="7348" y="4251"/>
                    <a:pt x="7359" y="4246"/>
                    <a:pt x="7372" y="4246"/>
                  </a:cubicBezTo>
                  <a:cubicBezTo>
                    <a:pt x="7385" y="4246"/>
                    <a:pt x="7396" y="4250"/>
                    <a:pt x="7405" y="4259"/>
                  </a:cubicBezTo>
                  <a:cubicBezTo>
                    <a:pt x="7414" y="4268"/>
                    <a:pt x="7418" y="4278"/>
                    <a:pt x="7418" y="4290"/>
                  </a:cubicBezTo>
                  <a:cubicBezTo>
                    <a:pt x="7418" y="4303"/>
                    <a:pt x="7414" y="4314"/>
                    <a:pt x="7405" y="4323"/>
                  </a:cubicBezTo>
                  <a:cubicBezTo>
                    <a:pt x="7396" y="4332"/>
                    <a:pt x="7385" y="4336"/>
                    <a:pt x="7372" y="4336"/>
                  </a:cubicBezTo>
                  <a:cubicBezTo>
                    <a:pt x="7359" y="4336"/>
                    <a:pt x="7348" y="4332"/>
                    <a:pt x="7339" y="4323"/>
                  </a:cubicBezTo>
                  <a:close/>
                  <a:moveTo>
                    <a:pt x="7070" y="4833"/>
                  </a:moveTo>
                  <a:cubicBezTo>
                    <a:pt x="7096" y="4818"/>
                    <a:pt x="7117" y="4797"/>
                    <a:pt x="7133" y="4769"/>
                  </a:cubicBezTo>
                  <a:cubicBezTo>
                    <a:pt x="7148" y="4741"/>
                    <a:pt x="7155" y="4709"/>
                    <a:pt x="7155" y="4673"/>
                  </a:cubicBezTo>
                  <a:cubicBezTo>
                    <a:pt x="7155" y="4638"/>
                    <a:pt x="7148" y="4606"/>
                    <a:pt x="7133" y="4578"/>
                  </a:cubicBezTo>
                  <a:cubicBezTo>
                    <a:pt x="7117" y="4550"/>
                    <a:pt x="7096" y="4528"/>
                    <a:pt x="7070" y="4513"/>
                  </a:cubicBezTo>
                  <a:cubicBezTo>
                    <a:pt x="7043" y="4498"/>
                    <a:pt x="7013" y="4491"/>
                    <a:pt x="6980" y="4491"/>
                  </a:cubicBezTo>
                  <a:cubicBezTo>
                    <a:pt x="6947" y="4491"/>
                    <a:pt x="6917" y="4498"/>
                    <a:pt x="6890" y="4513"/>
                  </a:cubicBezTo>
                  <a:cubicBezTo>
                    <a:pt x="6864" y="4528"/>
                    <a:pt x="6843" y="4550"/>
                    <a:pt x="6828" y="4578"/>
                  </a:cubicBezTo>
                  <a:cubicBezTo>
                    <a:pt x="6813" y="4606"/>
                    <a:pt x="6805" y="4638"/>
                    <a:pt x="6805" y="4673"/>
                  </a:cubicBezTo>
                  <a:cubicBezTo>
                    <a:pt x="6805" y="4709"/>
                    <a:pt x="6813" y="4741"/>
                    <a:pt x="6828" y="4769"/>
                  </a:cubicBezTo>
                  <a:cubicBezTo>
                    <a:pt x="6843" y="4797"/>
                    <a:pt x="6864" y="4818"/>
                    <a:pt x="6890" y="4833"/>
                  </a:cubicBezTo>
                  <a:cubicBezTo>
                    <a:pt x="6917" y="4849"/>
                    <a:pt x="6947" y="4856"/>
                    <a:pt x="6980" y="4856"/>
                  </a:cubicBezTo>
                  <a:cubicBezTo>
                    <a:pt x="7013" y="4856"/>
                    <a:pt x="7043" y="4849"/>
                    <a:pt x="7070" y="4833"/>
                  </a:cubicBezTo>
                  <a:close/>
                  <a:moveTo>
                    <a:pt x="7104" y="4465"/>
                  </a:moveTo>
                  <a:cubicBezTo>
                    <a:pt x="7140" y="4485"/>
                    <a:pt x="7168" y="4513"/>
                    <a:pt x="7188" y="4549"/>
                  </a:cubicBezTo>
                  <a:cubicBezTo>
                    <a:pt x="7209" y="4586"/>
                    <a:pt x="7219" y="4627"/>
                    <a:pt x="7219" y="4673"/>
                  </a:cubicBezTo>
                  <a:cubicBezTo>
                    <a:pt x="7219" y="4720"/>
                    <a:pt x="7209" y="4761"/>
                    <a:pt x="7188" y="4797"/>
                  </a:cubicBezTo>
                  <a:cubicBezTo>
                    <a:pt x="7168" y="4834"/>
                    <a:pt x="7140" y="4862"/>
                    <a:pt x="7104" y="4882"/>
                  </a:cubicBezTo>
                  <a:cubicBezTo>
                    <a:pt x="7069" y="4902"/>
                    <a:pt x="7029" y="4912"/>
                    <a:pt x="6985" y="4912"/>
                  </a:cubicBezTo>
                  <a:cubicBezTo>
                    <a:pt x="6945" y="4912"/>
                    <a:pt x="6910" y="4904"/>
                    <a:pt x="6879" y="4887"/>
                  </a:cubicBezTo>
                  <a:cubicBezTo>
                    <a:pt x="6847" y="4871"/>
                    <a:pt x="6822" y="4847"/>
                    <a:pt x="6803" y="4815"/>
                  </a:cubicBezTo>
                  <a:lnTo>
                    <a:pt x="6803" y="4908"/>
                  </a:lnTo>
                  <a:lnTo>
                    <a:pt x="6742" y="4908"/>
                  </a:lnTo>
                  <a:lnTo>
                    <a:pt x="6742" y="4246"/>
                  </a:lnTo>
                  <a:lnTo>
                    <a:pt x="6806" y="4246"/>
                  </a:lnTo>
                  <a:lnTo>
                    <a:pt x="6806" y="4528"/>
                  </a:lnTo>
                  <a:cubicBezTo>
                    <a:pt x="6825" y="4498"/>
                    <a:pt x="6851" y="4475"/>
                    <a:pt x="6881" y="4459"/>
                  </a:cubicBezTo>
                  <a:cubicBezTo>
                    <a:pt x="6912" y="4443"/>
                    <a:pt x="6946" y="4435"/>
                    <a:pt x="6985" y="4435"/>
                  </a:cubicBezTo>
                  <a:cubicBezTo>
                    <a:pt x="7029" y="4435"/>
                    <a:pt x="7069" y="4445"/>
                    <a:pt x="7104" y="4465"/>
                  </a:cubicBezTo>
                  <a:close/>
                  <a:moveTo>
                    <a:pt x="6511" y="4439"/>
                  </a:moveTo>
                  <a:lnTo>
                    <a:pt x="6574" y="4439"/>
                  </a:lnTo>
                  <a:lnTo>
                    <a:pt x="6574" y="4908"/>
                  </a:lnTo>
                  <a:lnTo>
                    <a:pt x="6511" y="4908"/>
                  </a:lnTo>
                  <a:lnTo>
                    <a:pt x="6511" y="4439"/>
                  </a:lnTo>
                  <a:close/>
                  <a:moveTo>
                    <a:pt x="6510" y="4323"/>
                  </a:moveTo>
                  <a:cubicBezTo>
                    <a:pt x="6501" y="4314"/>
                    <a:pt x="6496" y="4303"/>
                    <a:pt x="6496" y="4291"/>
                  </a:cubicBezTo>
                  <a:cubicBezTo>
                    <a:pt x="6496" y="4279"/>
                    <a:pt x="6501" y="4268"/>
                    <a:pt x="6510" y="4260"/>
                  </a:cubicBezTo>
                  <a:cubicBezTo>
                    <a:pt x="6519" y="4251"/>
                    <a:pt x="6530" y="4246"/>
                    <a:pt x="6543" y="4246"/>
                  </a:cubicBezTo>
                  <a:cubicBezTo>
                    <a:pt x="6556" y="4246"/>
                    <a:pt x="6567" y="4250"/>
                    <a:pt x="6576" y="4259"/>
                  </a:cubicBezTo>
                  <a:cubicBezTo>
                    <a:pt x="6585" y="4268"/>
                    <a:pt x="6589" y="4278"/>
                    <a:pt x="6589" y="4290"/>
                  </a:cubicBezTo>
                  <a:cubicBezTo>
                    <a:pt x="6589" y="4303"/>
                    <a:pt x="6585" y="4314"/>
                    <a:pt x="6576" y="4323"/>
                  </a:cubicBezTo>
                  <a:cubicBezTo>
                    <a:pt x="6567" y="4332"/>
                    <a:pt x="6556" y="4336"/>
                    <a:pt x="6543" y="4336"/>
                  </a:cubicBezTo>
                  <a:cubicBezTo>
                    <a:pt x="6530" y="4336"/>
                    <a:pt x="6519" y="4332"/>
                    <a:pt x="6510" y="4323"/>
                  </a:cubicBezTo>
                  <a:close/>
                  <a:moveTo>
                    <a:pt x="6099" y="4896"/>
                  </a:moveTo>
                  <a:cubicBezTo>
                    <a:pt x="6064" y="4885"/>
                    <a:pt x="6037" y="4871"/>
                    <a:pt x="6017" y="4854"/>
                  </a:cubicBezTo>
                  <a:lnTo>
                    <a:pt x="6046" y="4804"/>
                  </a:lnTo>
                  <a:cubicBezTo>
                    <a:pt x="6066" y="4820"/>
                    <a:pt x="6090" y="4833"/>
                    <a:pt x="6120" y="4842"/>
                  </a:cubicBezTo>
                  <a:cubicBezTo>
                    <a:pt x="6150" y="4852"/>
                    <a:pt x="6181" y="4857"/>
                    <a:pt x="6213" y="4857"/>
                  </a:cubicBezTo>
                  <a:cubicBezTo>
                    <a:pt x="6256" y="4857"/>
                    <a:pt x="6288" y="4850"/>
                    <a:pt x="6308" y="4837"/>
                  </a:cubicBezTo>
                  <a:cubicBezTo>
                    <a:pt x="6329" y="4824"/>
                    <a:pt x="6339" y="4805"/>
                    <a:pt x="6339" y="4780"/>
                  </a:cubicBezTo>
                  <a:cubicBezTo>
                    <a:pt x="6339" y="4763"/>
                    <a:pt x="6333" y="4750"/>
                    <a:pt x="6322" y="4740"/>
                  </a:cubicBezTo>
                  <a:cubicBezTo>
                    <a:pt x="6311" y="4730"/>
                    <a:pt x="6296" y="4723"/>
                    <a:pt x="6279" y="4717"/>
                  </a:cubicBezTo>
                  <a:cubicBezTo>
                    <a:pt x="6262" y="4712"/>
                    <a:pt x="6239" y="4708"/>
                    <a:pt x="6210" y="4703"/>
                  </a:cubicBezTo>
                  <a:cubicBezTo>
                    <a:pt x="6172" y="4696"/>
                    <a:pt x="6141" y="4688"/>
                    <a:pt x="6118" y="4681"/>
                  </a:cubicBezTo>
                  <a:cubicBezTo>
                    <a:pt x="6095" y="4674"/>
                    <a:pt x="6075" y="4661"/>
                    <a:pt x="6059" y="4643"/>
                  </a:cubicBezTo>
                  <a:cubicBezTo>
                    <a:pt x="6042" y="4625"/>
                    <a:pt x="6034" y="4601"/>
                    <a:pt x="6034" y="4569"/>
                  </a:cubicBezTo>
                  <a:cubicBezTo>
                    <a:pt x="6034" y="4530"/>
                    <a:pt x="6051" y="4498"/>
                    <a:pt x="6083" y="4473"/>
                  </a:cubicBezTo>
                  <a:cubicBezTo>
                    <a:pt x="6116" y="4448"/>
                    <a:pt x="6162" y="4435"/>
                    <a:pt x="6220" y="4435"/>
                  </a:cubicBezTo>
                  <a:cubicBezTo>
                    <a:pt x="6251" y="4435"/>
                    <a:pt x="6281" y="4439"/>
                    <a:pt x="6311" y="4447"/>
                  </a:cubicBezTo>
                  <a:cubicBezTo>
                    <a:pt x="6342" y="4455"/>
                    <a:pt x="6367" y="4466"/>
                    <a:pt x="6386" y="4479"/>
                  </a:cubicBezTo>
                  <a:lnTo>
                    <a:pt x="6359" y="4530"/>
                  </a:lnTo>
                  <a:cubicBezTo>
                    <a:pt x="6320" y="4503"/>
                    <a:pt x="6274" y="4490"/>
                    <a:pt x="6220" y="4490"/>
                  </a:cubicBezTo>
                  <a:cubicBezTo>
                    <a:pt x="6180" y="4490"/>
                    <a:pt x="6149" y="4497"/>
                    <a:pt x="6129" y="4511"/>
                  </a:cubicBezTo>
                  <a:cubicBezTo>
                    <a:pt x="6108" y="4525"/>
                    <a:pt x="6098" y="4544"/>
                    <a:pt x="6098" y="4567"/>
                  </a:cubicBezTo>
                  <a:cubicBezTo>
                    <a:pt x="6098" y="4585"/>
                    <a:pt x="6104" y="4599"/>
                    <a:pt x="6115" y="4610"/>
                  </a:cubicBezTo>
                  <a:cubicBezTo>
                    <a:pt x="6127" y="4621"/>
                    <a:pt x="6141" y="4629"/>
                    <a:pt x="6158" y="4634"/>
                  </a:cubicBezTo>
                  <a:cubicBezTo>
                    <a:pt x="6176" y="4639"/>
                    <a:pt x="6200" y="4644"/>
                    <a:pt x="6230" y="4649"/>
                  </a:cubicBezTo>
                  <a:cubicBezTo>
                    <a:pt x="6268" y="4656"/>
                    <a:pt x="6298" y="4664"/>
                    <a:pt x="6320" y="4671"/>
                  </a:cubicBezTo>
                  <a:cubicBezTo>
                    <a:pt x="6343" y="4678"/>
                    <a:pt x="6362" y="4690"/>
                    <a:pt x="6378" y="4707"/>
                  </a:cubicBezTo>
                  <a:cubicBezTo>
                    <a:pt x="6395" y="4724"/>
                    <a:pt x="6403" y="4748"/>
                    <a:pt x="6403" y="4779"/>
                  </a:cubicBezTo>
                  <a:cubicBezTo>
                    <a:pt x="6403" y="4820"/>
                    <a:pt x="6385" y="4852"/>
                    <a:pt x="6351" y="4876"/>
                  </a:cubicBezTo>
                  <a:cubicBezTo>
                    <a:pt x="6317" y="4900"/>
                    <a:pt x="6269" y="4912"/>
                    <a:pt x="6209" y="4912"/>
                  </a:cubicBezTo>
                  <a:cubicBezTo>
                    <a:pt x="6170" y="4912"/>
                    <a:pt x="6134" y="4907"/>
                    <a:pt x="6099" y="4896"/>
                  </a:cubicBezTo>
                  <a:moveTo>
                    <a:pt x="5653" y="4896"/>
                  </a:moveTo>
                  <a:cubicBezTo>
                    <a:pt x="5618" y="4885"/>
                    <a:pt x="5591" y="4871"/>
                    <a:pt x="5571" y="4854"/>
                  </a:cubicBezTo>
                  <a:lnTo>
                    <a:pt x="5600" y="4804"/>
                  </a:lnTo>
                  <a:cubicBezTo>
                    <a:pt x="5619" y="4820"/>
                    <a:pt x="5644" y="4833"/>
                    <a:pt x="5674" y="4842"/>
                  </a:cubicBezTo>
                  <a:cubicBezTo>
                    <a:pt x="5704" y="4852"/>
                    <a:pt x="5735" y="4857"/>
                    <a:pt x="5767" y="4857"/>
                  </a:cubicBezTo>
                  <a:cubicBezTo>
                    <a:pt x="5810" y="4857"/>
                    <a:pt x="5842" y="4850"/>
                    <a:pt x="5862" y="4837"/>
                  </a:cubicBezTo>
                  <a:cubicBezTo>
                    <a:pt x="5883" y="4824"/>
                    <a:pt x="5893" y="4805"/>
                    <a:pt x="5893" y="4780"/>
                  </a:cubicBezTo>
                  <a:cubicBezTo>
                    <a:pt x="5893" y="4763"/>
                    <a:pt x="5887" y="4750"/>
                    <a:pt x="5876" y="4740"/>
                  </a:cubicBezTo>
                  <a:cubicBezTo>
                    <a:pt x="5865" y="4730"/>
                    <a:pt x="5850" y="4723"/>
                    <a:pt x="5833" y="4717"/>
                  </a:cubicBezTo>
                  <a:cubicBezTo>
                    <a:pt x="5816" y="4712"/>
                    <a:pt x="5793" y="4708"/>
                    <a:pt x="5764" y="4703"/>
                  </a:cubicBezTo>
                  <a:cubicBezTo>
                    <a:pt x="5726" y="4696"/>
                    <a:pt x="5695" y="4688"/>
                    <a:pt x="5672" y="4681"/>
                  </a:cubicBezTo>
                  <a:cubicBezTo>
                    <a:pt x="5649" y="4674"/>
                    <a:pt x="5629" y="4661"/>
                    <a:pt x="5613" y="4643"/>
                  </a:cubicBezTo>
                  <a:cubicBezTo>
                    <a:pt x="5596" y="4625"/>
                    <a:pt x="5588" y="4601"/>
                    <a:pt x="5588" y="4569"/>
                  </a:cubicBezTo>
                  <a:cubicBezTo>
                    <a:pt x="5588" y="4530"/>
                    <a:pt x="5604" y="4498"/>
                    <a:pt x="5637" y="4473"/>
                  </a:cubicBezTo>
                  <a:cubicBezTo>
                    <a:pt x="5670" y="4448"/>
                    <a:pt x="5716" y="4435"/>
                    <a:pt x="5774" y="4435"/>
                  </a:cubicBezTo>
                  <a:cubicBezTo>
                    <a:pt x="5804" y="4435"/>
                    <a:pt x="5835" y="4439"/>
                    <a:pt x="5865" y="4447"/>
                  </a:cubicBezTo>
                  <a:cubicBezTo>
                    <a:pt x="5896" y="4455"/>
                    <a:pt x="5921" y="4466"/>
                    <a:pt x="5940" y="4479"/>
                  </a:cubicBezTo>
                  <a:lnTo>
                    <a:pt x="5913" y="4530"/>
                  </a:lnTo>
                  <a:cubicBezTo>
                    <a:pt x="5874" y="4503"/>
                    <a:pt x="5828" y="4490"/>
                    <a:pt x="5774" y="4490"/>
                  </a:cubicBezTo>
                  <a:cubicBezTo>
                    <a:pt x="5734" y="4490"/>
                    <a:pt x="5703" y="4497"/>
                    <a:pt x="5682" y="4511"/>
                  </a:cubicBezTo>
                  <a:cubicBezTo>
                    <a:pt x="5662" y="4525"/>
                    <a:pt x="5652" y="4544"/>
                    <a:pt x="5652" y="4567"/>
                  </a:cubicBezTo>
                  <a:cubicBezTo>
                    <a:pt x="5652" y="4585"/>
                    <a:pt x="5657" y="4599"/>
                    <a:pt x="5669" y="4610"/>
                  </a:cubicBezTo>
                  <a:cubicBezTo>
                    <a:pt x="5681" y="4621"/>
                    <a:pt x="5695" y="4629"/>
                    <a:pt x="5712" y="4634"/>
                  </a:cubicBezTo>
                  <a:cubicBezTo>
                    <a:pt x="5730" y="4639"/>
                    <a:pt x="5754" y="4644"/>
                    <a:pt x="5784" y="4649"/>
                  </a:cubicBezTo>
                  <a:cubicBezTo>
                    <a:pt x="5821" y="4656"/>
                    <a:pt x="5852" y="4664"/>
                    <a:pt x="5874" y="4671"/>
                  </a:cubicBezTo>
                  <a:cubicBezTo>
                    <a:pt x="5897" y="4678"/>
                    <a:pt x="5916" y="4690"/>
                    <a:pt x="5932" y="4707"/>
                  </a:cubicBezTo>
                  <a:cubicBezTo>
                    <a:pt x="5948" y="4724"/>
                    <a:pt x="5956" y="4748"/>
                    <a:pt x="5956" y="4779"/>
                  </a:cubicBezTo>
                  <a:cubicBezTo>
                    <a:pt x="5956" y="4820"/>
                    <a:pt x="5939" y="4852"/>
                    <a:pt x="5905" y="4876"/>
                  </a:cubicBezTo>
                  <a:cubicBezTo>
                    <a:pt x="5871" y="4900"/>
                    <a:pt x="5823" y="4912"/>
                    <a:pt x="5762" y="4912"/>
                  </a:cubicBezTo>
                  <a:cubicBezTo>
                    <a:pt x="5724" y="4912"/>
                    <a:pt x="5688" y="4907"/>
                    <a:pt x="5653" y="4896"/>
                  </a:cubicBezTo>
                  <a:moveTo>
                    <a:pt x="5367" y="4833"/>
                  </a:moveTo>
                  <a:cubicBezTo>
                    <a:pt x="5393" y="4818"/>
                    <a:pt x="5414" y="4797"/>
                    <a:pt x="5429" y="4769"/>
                  </a:cubicBezTo>
                  <a:cubicBezTo>
                    <a:pt x="5444" y="4741"/>
                    <a:pt x="5451" y="4709"/>
                    <a:pt x="5451" y="4673"/>
                  </a:cubicBezTo>
                  <a:cubicBezTo>
                    <a:pt x="5451" y="4638"/>
                    <a:pt x="5444" y="4606"/>
                    <a:pt x="5429" y="4578"/>
                  </a:cubicBezTo>
                  <a:cubicBezTo>
                    <a:pt x="5414" y="4550"/>
                    <a:pt x="5393" y="4528"/>
                    <a:pt x="5367" y="4513"/>
                  </a:cubicBezTo>
                  <a:cubicBezTo>
                    <a:pt x="5340" y="4498"/>
                    <a:pt x="5310" y="4491"/>
                    <a:pt x="5277" y="4491"/>
                  </a:cubicBezTo>
                  <a:cubicBezTo>
                    <a:pt x="5244" y="4491"/>
                    <a:pt x="5214" y="4498"/>
                    <a:pt x="5187" y="4513"/>
                  </a:cubicBezTo>
                  <a:cubicBezTo>
                    <a:pt x="5161" y="4528"/>
                    <a:pt x="5140" y="4550"/>
                    <a:pt x="5124" y="4578"/>
                  </a:cubicBezTo>
                  <a:cubicBezTo>
                    <a:pt x="5109" y="4606"/>
                    <a:pt x="5102" y="4638"/>
                    <a:pt x="5102" y="4673"/>
                  </a:cubicBezTo>
                  <a:cubicBezTo>
                    <a:pt x="5102" y="4709"/>
                    <a:pt x="5109" y="4741"/>
                    <a:pt x="5124" y="4769"/>
                  </a:cubicBezTo>
                  <a:cubicBezTo>
                    <a:pt x="5140" y="4797"/>
                    <a:pt x="5161" y="4818"/>
                    <a:pt x="5187" y="4833"/>
                  </a:cubicBezTo>
                  <a:cubicBezTo>
                    <a:pt x="5214" y="4849"/>
                    <a:pt x="5244" y="4856"/>
                    <a:pt x="5277" y="4856"/>
                  </a:cubicBezTo>
                  <a:cubicBezTo>
                    <a:pt x="5310" y="4856"/>
                    <a:pt x="5340" y="4849"/>
                    <a:pt x="5367" y="4833"/>
                  </a:cubicBezTo>
                  <a:close/>
                  <a:moveTo>
                    <a:pt x="5154" y="4882"/>
                  </a:moveTo>
                  <a:cubicBezTo>
                    <a:pt x="5118" y="4861"/>
                    <a:pt x="5089" y="4833"/>
                    <a:pt x="5069" y="4796"/>
                  </a:cubicBezTo>
                  <a:cubicBezTo>
                    <a:pt x="5048" y="4760"/>
                    <a:pt x="5037" y="4719"/>
                    <a:pt x="5037" y="4673"/>
                  </a:cubicBezTo>
                  <a:cubicBezTo>
                    <a:pt x="5037" y="4628"/>
                    <a:pt x="5048" y="4587"/>
                    <a:pt x="5069" y="4550"/>
                  </a:cubicBezTo>
                  <a:cubicBezTo>
                    <a:pt x="5089" y="4514"/>
                    <a:pt x="5118" y="4486"/>
                    <a:pt x="5154" y="4466"/>
                  </a:cubicBezTo>
                  <a:cubicBezTo>
                    <a:pt x="5191" y="4445"/>
                    <a:pt x="5232" y="4435"/>
                    <a:pt x="5277" y="4435"/>
                  </a:cubicBezTo>
                  <a:cubicBezTo>
                    <a:pt x="5322" y="4435"/>
                    <a:pt x="5363" y="4445"/>
                    <a:pt x="5399" y="4466"/>
                  </a:cubicBezTo>
                  <a:cubicBezTo>
                    <a:pt x="5436" y="4486"/>
                    <a:pt x="5464" y="4514"/>
                    <a:pt x="5485" y="4550"/>
                  </a:cubicBezTo>
                  <a:cubicBezTo>
                    <a:pt x="5505" y="4587"/>
                    <a:pt x="5516" y="4628"/>
                    <a:pt x="5516" y="4673"/>
                  </a:cubicBezTo>
                  <a:cubicBezTo>
                    <a:pt x="5516" y="4719"/>
                    <a:pt x="5505" y="4760"/>
                    <a:pt x="5485" y="4796"/>
                  </a:cubicBezTo>
                  <a:cubicBezTo>
                    <a:pt x="5464" y="4833"/>
                    <a:pt x="5436" y="4861"/>
                    <a:pt x="5399" y="4882"/>
                  </a:cubicBezTo>
                  <a:cubicBezTo>
                    <a:pt x="5363" y="4902"/>
                    <a:pt x="5322" y="4912"/>
                    <a:pt x="5277" y="4912"/>
                  </a:cubicBezTo>
                  <a:cubicBezTo>
                    <a:pt x="5232" y="4912"/>
                    <a:pt x="5191" y="4902"/>
                    <a:pt x="5154" y="4882"/>
                  </a:cubicBezTo>
                  <a:close/>
                  <a:moveTo>
                    <a:pt x="4869" y="4612"/>
                  </a:moveTo>
                  <a:cubicBezTo>
                    <a:pt x="4902" y="4585"/>
                    <a:pt x="4918" y="4547"/>
                    <a:pt x="4918" y="4498"/>
                  </a:cubicBezTo>
                  <a:cubicBezTo>
                    <a:pt x="4918" y="4447"/>
                    <a:pt x="4902" y="4408"/>
                    <a:pt x="4869" y="4381"/>
                  </a:cubicBezTo>
                  <a:cubicBezTo>
                    <a:pt x="4836" y="4354"/>
                    <a:pt x="4789" y="4341"/>
                    <a:pt x="4727" y="4341"/>
                  </a:cubicBezTo>
                  <a:lnTo>
                    <a:pt x="4561" y="4341"/>
                  </a:lnTo>
                  <a:lnTo>
                    <a:pt x="4561" y="4653"/>
                  </a:lnTo>
                  <a:lnTo>
                    <a:pt x="4727" y="4653"/>
                  </a:lnTo>
                  <a:cubicBezTo>
                    <a:pt x="4789" y="4653"/>
                    <a:pt x="4836" y="4639"/>
                    <a:pt x="4869" y="4612"/>
                  </a:cubicBezTo>
                  <a:close/>
                  <a:moveTo>
                    <a:pt x="4917" y="4341"/>
                  </a:moveTo>
                  <a:cubicBezTo>
                    <a:pt x="4962" y="4379"/>
                    <a:pt x="4985" y="4431"/>
                    <a:pt x="4985" y="4498"/>
                  </a:cubicBezTo>
                  <a:cubicBezTo>
                    <a:pt x="4985" y="4564"/>
                    <a:pt x="4962" y="4616"/>
                    <a:pt x="4917" y="4654"/>
                  </a:cubicBezTo>
                  <a:cubicBezTo>
                    <a:pt x="4871" y="4692"/>
                    <a:pt x="4809" y="4711"/>
                    <a:pt x="4729" y="4711"/>
                  </a:cubicBezTo>
                  <a:lnTo>
                    <a:pt x="4561" y="4711"/>
                  </a:lnTo>
                  <a:lnTo>
                    <a:pt x="4561" y="4908"/>
                  </a:lnTo>
                  <a:lnTo>
                    <a:pt x="4495" y="4908"/>
                  </a:lnTo>
                  <a:lnTo>
                    <a:pt x="4495" y="4284"/>
                  </a:lnTo>
                  <a:lnTo>
                    <a:pt x="4729" y="4284"/>
                  </a:lnTo>
                  <a:cubicBezTo>
                    <a:pt x="4809" y="4284"/>
                    <a:pt x="4871" y="4303"/>
                    <a:pt x="4917" y="4341"/>
                  </a:cubicBezTo>
                  <a:moveTo>
                    <a:pt x="3939" y="4812"/>
                  </a:moveTo>
                  <a:cubicBezTo>
                    <a:pt x="3966" y="4797"/>
                    <a:pt x="3987" y="4777"/>
                    <a:pt x="4002" y="4751"/>
                  </a:cubicBezTo>
                  <a:cubicBezTo>
                    <a:pt x="4018" y="4725"/>
                    <a:pt x="4025" y="4695"/>
                    <a:pt x="4025" y="4662"/>
                  </a:cubicBezTo>
                  <a:cubicBezTo>
                    <a:pt x="4025" y="4628"/>
                    <a:pt x="4018" y="4599"/>
                    <a:pt x="4002" y="4573"/>
                  </a:cubicBezTo>
                  <a:cubicBezTo>
                    <a:pt x="3987" y="4547"/>
                    <a:pt x="3966" y="4527"/>
                    <a:pt x="3939" y="4512"/>
                  </a:cubicBezTo>
                  <a:cubicBezTo>
                    <a:pt x="3912" y="4498"/>
                    <a:pt x="3881" y="4491"/>
                    <a:pt x="3846" y="4491"/>
                  </a:cubicBezTo>
                  <a:cubicBezTo>
                    <a:pt x="3812" y="4491"/>
                    <a:pt x="3782" y="4498"/>
                    <a:pt x="3755" y="4512"/>
                  </a:cubicBezTo>
                  <a:cubicBezTo>
                    <a:pt x="3728" y="4526"/>
                    <a:pt x="3707" y="4546"/>
                    <a:pt x="3691" y="4573"/>
                  </a:cubicBezTo>
                  <a:cubicBezTo>
                    <a:pt x="3676" y="4599"/>
                    <a:pt x="3669" y="4628"/>
                    <a:pt x="3669" y="4662"/>
                  </a:cubicBezTo>
                  <a:cubicBezTo>
                    <a:pt x="3669" y="4695"/>
                    <a:pt x="3676" y="4725"/>
                    <a:pt x="3691" y="4751"/>
                  </a:cubicBezTo>
                  <a:cubicBezTo>
                    <a:pt x="3707" y="4777"/>
                    <a:pt x="3728" y="4797"/>
                    <a:pt x="3755" y="4812"/>
                  </a:cubicBezTo>
                  <a:cubicBezTo>
                    <a:pt x="3782" y="4827"/>
                    <a:pt x="3812" y="4834"/>
                    <a:pt x="3846" y="4834"/>
                  </a:cubicBezTo>
                  <a:cubicBezTo>
                    <a:pt x="3880" y="4834"/>
                    <a:pt x="3911" y="4827"/>
                    <a:pt x="3939" y="4812"/>
                  </a:cubicBezTo>
                  <a:moveTo>
                    <a:pt x="4087" y="4439"/>
                  </a:moveTo>
                  <a:lnTo>
                    <a:pt x="4087" y="4851"/>
                  </a:lnTo>
                  <a:cubicBezTo>
                    <a:pt x="4087" y="4930"/>
                    <a:pt x="4067" y="4990"/>
                    <a:pt x="4028" y="5028"/>
                  </a:cubicBezTo>
                  <a:cubicBezTo>
                    <a:pt x="3989" y="5066"/>
                    <a:pt x="3930" y="5085"/>
                    <a:pt x="3852" y="5085"/>
                  </a:cubicBezTo>
                  <a:cubicBezTo>
                    <a:pt x="3808" y="5085"/>
                    <a:pt x="3767" y="5079"/>
                    <a:pt x="3728" y="5066"/>
                  </a:cubicBezTo>
                  <a:cubicBezTo>
                    <a:pt x="3689" y="5053"/>
                    <a:pt x="3657" y="5036"/>
                    <a:pt x="3633" y="5013"/>
                  </a:cubicBezTo>
                  <a:lnTo>
                    <a:pt x="3665" y="4965"/>
                  </a:lnTo>
                  <a:cubicBezTo>
                    <a:pt x="3688" y="4985"/>
                    <a:pt x="3715" y="5001"/>
                    <a:pt x="3748" y="5012"/>
                  </a:cubicBezTo>
                  <a:cubicBezTo>
                    <a:pt x="3780" y="5024"/>
                    <a:pt x="3814" y="5029"/>
                    <a:pt x="3850" y="5029"/>
                  </a:cubicBezTo>
                  <a:cubicBezTo>
                    <a:pt x="3910" y="5029"/>
                    <a:pt x="3953" y="5015"/>
                    <a:pt x="3981" y="4988"/>
                  </a:cubicBezTo>
                  <a:cubicBezTo>
                    <a:pt x="4009" y="4960"/>
                    <a:pt x="4023" y="4917"/>
                    <a:pt x="4023" y="4859"/>
                  </a:cubicBezTo>
                  <a:lnTo>
                    <a:pt x="4023" y="4799"/>
                  </a:lnTo>
                  <a:cubicBezTo>
                    <a:pt x="4004" y="4829"/>
                    <a:pt x="3978" y="4851"/>
                    <a:pt x="3946" y="4867"/>
                  </a:cubicBezTo>
                  <a:cubicBezTo>
                    <a:pt x="3914" y="4882"/>
                    <a:pt x="3879" y="4890"/>
                    <a:pt x="3840" y="4890"/>
                  </a:cubicBezTo>
                  <a:cubicBezTo>
                    <a:pt x="3796" y="4890"/>
                    <a:pt x="3756" y="4880"/>
                    <a:pt x="3720" y="4861"/>
                  </a:cubicBezTo>
                  <a:cubicBezTo>
                    <a:pt x="3684" y="4842"/>
                    <a:pt x="3656" y="4815"/>
                    <a:pt x="3635" y="4780"/>
                  </a:cubicBezTo>
                  <a:cubicBezTo>
                    <a:pt x="3614" y="4745"/>
                    <a:pt x="3604" y="4706"/>
                    <a:pt x="3604" y="4662"/>
                  </a:cubicBezTo>
                  <a:cubicBezTo>
                    <a:pt x="3604" y="4618"/>
                    <a:pt x="3614" y="4578"/>
                    <a:pt x="3635" y="4544"/>
                  </a:cubicBezTo>
                  <a:cubicBezTo>
                    <a:pt x="3656" y="4510"/>
                    <a:pt x="3684" y="4483"/>
                    <a:pt x="3719" y="4464"/>
                  </a:cubicBezTo>
                  <a:cubicBezTo>
                    <a:pt x="3755" y="4445"/>
                    <a:pt x="3795" y="4435"/>
                    <a:pt x="3840" y="4435"/>
                  </a:cubicBezTo>
                  <a:cubicBezTo>
                    <a:pt x="3880" y="4435"/>
                    <a:pt x="3916" y="4443"/>
                    <a:pt x="3948" y="4459"/>
                  </a:cubicBezTo>
                  <a:cubicBezTo>
                    <a:pt x="3981" y="4475"/>
                    <a:pt x="4006" y="4499"/>
                    <a:pt x="4026" y="4529"/>
                  </a:cubicBezTo>
                  <a:lnTo>
                    <a:pt x="4026" y="4439"/>
                  </a:lnTo>
                  <a:lnTo>
                    <a:pt x="4087" y="4439"/>
                  </a:lnTo>
                  <a:close/>
                  <a:moveTo>
                    <a:pt x="3453" y="4487"/>
                  </a:moveTo>
                  <a:cubicBezTo>
                    <a:pt x="3487" y="4521"/>
                    <a:pt x="3505" y="4570"/>
                    <a:pt x="3505" y="4636"/>
                  </a:cubicBezTo>
                  <a:lnTo>
                    <a:pt x="3505" y="4908"/>
                  </a:lnTo>
                  <a:lnTo>
                    <a:pt x="3441" y="4908"/>
                  </a:lnTo>
                  <a:lnTo>
                    <a:pt x="3441" y="4642"/>
                  </a:lnTo>
                  <a:cubicBezTo>
                    <a:pt x="3441" y="4593"/>
                    <a:pt x="3429" y="4556"/>
                    <a:pt x="3405" y="4531"/>
                  </a:cubicBezTo>
                  <a:cubicBezTo>
                    <a:pt x="3380" y="4505"/>
                    <a:pt x="3345" y="4492"/>
                    <a:pt x="3300" y="4492"/>
                  </a:cubicBezTo>
                  <a:cubicBezTo>
                    <a:pt x="3249" y="4492"/>
                    <a:pt x="3209" y="4507"/>
                    <a:pt x="3180" y="4537"/>
                  </a:cubicBezTo>
                  <a:cubicBezTo>
                    <a:pt x="3150" y="4567"/>
                    <a:pt x="3136" y="4609"/>
                    <a:pt x="3136" y="4662"/>
                  </a:cubicBezTo>
                  <a:lnTo>
                    <a:pt x="3136" y="4908"/>
                  </a:lnTo>
                  <a:lnTo>
                    <a:pt x="3072" y="4908"/>
                  </a:lnTo>
                  <a:lnTo>
                    <a:pt x="3072" y="4439"/>
                  </a:lnTo>
                  <a:lnTo>
                    <a:pt x="3133" y="4439"/>
                  </a:lnTo>
                  <a:lnTo>
                    <a:pt x="3133" y="4525"/>
                  </a:lnTo>
                  <a:cubicBezTo>
                    <a:pt x="3150" y="4497"/>
                    <a:pt x="3174" y="4475"/>
                    <a:pt x="3205" y="4459"/>
                  </a:cubicBezTo>
                  <a:cubicBezTo>
                    <a:pt x="3236" y="4443"/>
                    <a:pt x="3271" y="4435"/>
                    <a:pt x="3312" y="4435"/>
                  </a:cubicBezTo>
                  <a:cubicBezTo>
                    <a:pt x="3371" y="4435"/>
                    <a:pt x="3418" y="4452"/>
                    <a:pt x="3453" y="4487"/>
                  </a:cubicBezTo>
                  <a:close/>
                  <a:moveTo>
                    <a:pt x="2858" y="4439"/>
                  </a:moveTo>
                  <a:lnTo>
                    <a:pt x="2922" y="4439"/>
                  </a:lnTo>
                  <a:lnTo>
                    <a:pt x="2922" y="4908"/>
                  </a:lnTo>
                  <a:lnTo>
                    <a:pt x="2858" y="4908"/>
                  </a:lnTo>
                  <a:lnTo>
                    <a:pt x="2858" y="4439"/>
                  </a:lnTo>
                  <a:close/>
                  <a:moveTo>
                    <a:pt x="2858" y="4323"/>
                  </a:moveTo>
                  <a:cubicBezTo>
                    <a:pt x="2849" y="4314"/>
                    <a:pt x="2844" y="4303"/>
                    <a:pt x="2844" y="4291"/>
                  </a:cubicBezTo>
                  <a:cubicBezTo>
                    <a:pt x="2844" y="4279"/>
                    <a:pt x="2849" y="4268"/>
                    <a:pt x="2858" y="4260"/>
                  </a:cubicBezTo>
                  <a:cubicBezTo>
                    <a:pt x="2867" y="4251"/>
                    <a:pt x="2878" y="4246"/>
                    <a:pt x="2891" y="4246"/>
                  </a:cubicBezTo>
                  <a:cubicBezTo>
                    <a:pt x="2904" y="4246"/>
                    <a:pt x="2915" y="4250"/>
                    <a:pt x="2924" y="4259"/>
                  </a:cubicBezTo>
                  <a:cubicBezTo>
                    <a:pt x="2933" y="4268"/>
                    <a:pt x="2937" y="4278"/>
                    <a:pt x="2937" y="4290"/>
                  </a:cubicBezTo>
                  <a:cubicBezTo>
                    <a:pt x="2937" y="4303"/>
                    <a:pt x="2933" y="4314"/>
                    <a:pt x="2924" y="4323"/>
                  </a:cubicBezTo>
                  <a:cubicBezTo>
                    <a:pt x="2915" y="4332"/>
                    <a:pt x="2904" y="4336"/>
                    <a:pt x="2891" y="4336"/>
                  </a:cubicBezTo>
                  <a:cubicBezTo>
                    <a:pt x="2878" y="4336"/>
                    <a:pt x="2867" y="4332"/>
                    <a:pt x="2858" y="4323"/>
                  </a:cubicBezTo>
                  <a:close/>
                  <a:moveTo>
                    <a:pt x="2643" y="4459"/>
                  </a:moveTo>
                  <a:cubicBezTo>
                    <a:pt x="2673" y="4443"/>
                    <a:pt x="2710" y="4435"/>
                    <a:pt x="2753" y="4435"/>
                  </a:cubicBezTo>
                  <a:lnTo>
                    <a:pt x="2753" y="4497"/>
                  </a:lnTo>
                  <a:lnTo>
                    <a:pt x="2738" y="4496"/>
                  </a:lnTo>
                  <a:cubicBezTo>
                    <a:pt x="2688" y="4496"/>
                    <a:pt x="2650" y="4511"/>
                    <a:pt x="2622" y="4541"/>
                  </a:cubicBezTo>
                  <a:cubicBezTo>
                    <a:pt x="2594" y="4572"/>
                    <a:pt x="2580" y="4614"/>
                    <a:pt x="2580" y="4669"/>
                  </a:cubicBezTo>
                  <a:lnTo>
                    <a:pt x="2580" y="4908"/>
                  </a:lnTo>
                  <a:lnTo>
                    <a:pt x="2516" y="4908"/>
                  </a:lnTo>
                  <a:lnTo>
                    <a:pt x="2516" y="4439"/>
                  </a:lnTo>
                  <a:lnTo>
                    <a:pt x="2577" y="4439"/>
                  </a:lnTo>
                  <a:lnTo>
                    <a:pt x="2577" y="4531"/>
                  </a:lnTo>
                  <a:cubicBezTo>
                    <a:pt x="2592" y="4499"/>
                    <a:pt x="2614" y="4475"/>
                    <a:pt x="2643" y="4459"/>
                  </a:cubicBezTo>
                  <a:close/>
                  <a:moveTo>
                    <a:pt x="2053" y="4533"/>
                  </a:moveTo>
                  <a:cubicBezTo>
                    <a:pt x="2023" y="4562"/>
                    <a:pt x="2005" y="4599"/>
                    <a:pt x="2001" y="4646"/>
                  </a:cubicBezTo>
                  <a:lnTo>
                    <a:pt x="2335" y="4646"/>
                  </a:lnTo>
                  <a:cubicBezTo>
                    <a:pt x="2330" y="4599"/>
                    <a:pt x="2313" y="4562"/>
                    <a:pt x="2282" y="4533"/>
                  </a:cubicBezTo>
                  <a:cubicBezTo>
                    <a:pt x="2252" y="4504"/>
                    <a:pt x="2213" y="4490"/>
                    <a:pt x="2167" y="4490"/>
                  </a:cubicBezTo>
                  <a:cubicBezTo>
                    <a:pt x="2122" y="4490"/>
                    <a:pt x="2084" y="4504"/>
                    <a:pt x="2053" y="4533"/>
                  </a:cubicBezTo>
                  <a:close/>
                  <a:moveTo>
                    <a:pt x="2395" y="4693"/>
                  </a:moveTo>
                  <a:lnTo>
                    <a:pt x="2001" y="4693"/>
                  </a:lnTo>
                  <a:cubicBezTo>
                    <a:pt x="2005" y="4742"/>
                    <a:pt x="2023" y="4781"/>
                    <a:pt x="2057" y="4811"/>
                  </a:cubicBezTo>
                  <a:cubicBezTo>
                    <a:pt x="2091" y="4841"/>
                    <a:pt x="2134" y="4856"/>
                    <a:pt x="2186" y="4856"/>
                  </a:cubicBezTo>
                  <a:cubicBezTo>
                    <a:pt x="2215" y="4856"/>
                    <a:pt x="2242" y="4851"/>
                    <a:pt x="2267" y="4841"/>
                  </a:cubicBezTo>
                  <a:cubicBezTo>
                    <a:pt x="2291" y="4830"/>
                    <a:pt x="2312" y="4815"/>
                    <a:pt x="2330" y="4795"/>
                  </a:cubicBezTo>
                  <a:lnTo>
                    <a:pt x="2366" y="4836"/>
                  </a:lnTo>
                  <a:cubicBezTo>
                    <a:pt x="2345" y="4861"/>
                    <a:pt x="2319" y="4880"/>
                    <a:pt x="2288" y="4893"/>
                  </a:cubicBezTo>
                  <a:cubicBezTo>
                    <a:pt x="2256" y="4906"/>
                    <a:pt x="2222" y="4912"/>
                    <a:pt x="2184" y="4912"/>
                  </a:cubicBezTo>
                  <a:cubicBezTo>
                    <a:pt x="2136" y="4912"/>
                    <a:pt x="2093" y="4902"/>
                    <a:pt x="2056" y="4882"/>
                  </a:cubicBezTo>
                  <a:cubicBezTo>
                    <a:pt x="2019" y="4861"/>
                    <a:pt x="1990" y="4833"/>
                    <a:pt x="1969" y="4796"/>
                  </a:cubicBezTo>
                  <a:cubicBezTo>
                    <a:pt x="1948" y="4760"/>
                    <a:pt x="1938" y="4719"/>
                    <a:pt x="1938" y="4673"/>
                  </a:cubicBezTo>
                  <a:cubicBezTo>
                    <a:pt x="1938" y="4628"/>
                    <a:pt x="1948" y="4587"/>
                    <a:pt x="1968" y="4550"/>
                  </a:cubicBezTo>
                  <a:cubicBezTo>
                    <a:pt x="1988" y="4514"/>
                    <a:pt x="2015" y="4486"/>
                    <a:pt x="2050" y="4466"/>
                  </a:cubicBezTo>
                  <a:cubicBezTo>
                    <a:pt x="2085" y="4445"/>
                    <a:pt x="2124" y="4435"/>
                    <a:pt x="2167" y="4435"/>
                  </a:cubicBezTo>
                  <a:cubicBezTo>
                    <a:pt x="2211" y="4435"/>
                    <a:pt x="2250" y="4445"/>
                    <a:pt x="2285" y="4466"/>
                  </a:cubicBezTo>
                  <a:cubicBezTo>
                    <a:pt x="2319" y="4486"/>
                    <a:pt x="2346" y="4514"/>
                    <a:pt x="2366" y="4550"/>
                  </a:cubicBezTo>
                  <a:cubicBezTo>
                    <a:pt x="2386" y="4586"/>
                    <a:pt x="2395" y="4627"/>
                    <a:pt x="2395" y="4673"/>
                  </a:cubicBezTo>
                  <a:lnTo>
                    <a:pt x="2395" y="4693"/>
                  </a:lnTo>
                  <a:close/>
                  <a:moveTo>
                    <a:pt x="1912" y="4439"/>
                  </a:moveTo>
                  <a:lnTo>
                    <a:pt x="1734" y="4908"/>
                  </a:lnTo>
                  <a:lnTo>
                    <a:pt x="1674" y="4908"/>
                  </a:lnTo>
                  <a:lnTo>
                    <a:pt x="1525" y="4524"/>
                  </a:lnTo>
                  <a:lnTo>
                    <a:pt x="1377" y="4908"/>
                  </a:lnTo>
                  <a:lnTo>
                    <a:pt x="1317" y="4908"/>
                  </a:lnTo>
                  <a:lnTo>
                    <a:pt x="1140" y="4439"/>
                  </a:lnTo>
                  <a:lnTo>
                    <a:pt x="1201" y="4439"/>
                  </a:lnTo>
                  <a:lnTo>
                    <a:pt x="1348" y="4837"/>
                  </a:lnTo>
                  <a:lnTo>
                    <a:pt x="1500" y="4439"/>
                  </a:lnTo>
                  <a:lnTo>
                    <a:pt x="1554" y="4439"/>
                  </a:lnTo>
                  <a:lnTo>
                    <a:pt x="1704" y="4837"/>
                  </a:lnTo>
                  <a:lnTo>
                    <a:pt x="1854" y="4439"/>
                  </a:lnTo>
                  <a:lnTo>
                    <a:pt x="1912" y="4439"/>
                  </a:lnTo>
                  <a:close/>
                  <a:moveTo>
                    <a:pt x="965" y="4833"/>
                  </a:moveTo>
                  <a:cubicBezTo>
                    <a:pt x="992" y="4818"/>
                    <a:pt x="1013" y="4797"/>
                    <a:pt x="1027" y="4769"/>
                  </a:cubicBezTo>
                  <a:cubicBezTo>
                    <a:pt x="1042" y="4741"/>
                    <a:pt x="1050" y="4709"/>
                    <a:pt x="1050" y="4673"/>
                  </a:cubicBezTo>
                  <a:cubicBezTo>
                    <a:pt x="1050" y="4638"/>
                    <a:pt x="1042" y="4606"/>
                    <a:pt x="1027" y="4578"/>
                  </a:cubicBezTo>
                  <a:cubicBezTo>
                    <a:pt x="1013" y="4550"/>
                    <a:pt x="992" y="4528"/>
                    <a:pt x="965" y="4513"/>
                  </a:cubicBezTo>
                  <a:cubicBezTo>
                    <a:pt x="939" y="4498"/>
                    <a:pt x="909" y="4491"/>
                    <a:pt x="875" y="4491"/>
                  </a:cubicBezTo>
                  <a:cubicBezTo>
                    <a:pt x="842" y="4491"/>
                    <a:pt x="812" y="4498"/>
                    <a:pt x="786" y="4513"/>
                  </a:cubicBezTo>
                  <a:cubicBezTo>
                    <a:pt x="759" y="4528"/>
                    <a:pt x="738" y="4550"/>
                    <a:pt x="723" y="4578"/>
                  </a:cubicBezTo>
                  <a:cubicBezTo>
                    <a:pt x="708" y="4606"/>
                    <a:pt x="700" y="4638"/>
                    <a:pt x="700" y="4673"/>
                  </a:cubicBezTo>
                  <a:cubicBezTo>
                    <a:pt x="700" y="4709"/>
                    <a:pt x="708" y="4741"/>
                    <a:pt x="723" y="4769"/>
                  </a:cubicBezTo>
                  <a:cubicBezTo>
                    <a:pt x="738" y="4797"/>
                    <a:pt x="759" y="4818"/>
                    <a:pt x="786" y="4833"/>
                  </a:cubicBezTo>
                  <a:cubicBezTo>
                    <a:pt x="812" y="4849"/>
                    <a:pt x="842" y="4856"/>
                    <a:pt x="875" y="4856"/>
                  </a:cubicBezTo>
                  <a:cubicBezTo>
                    <a:pt x="909" y="4856"/>
                    <a:pt x="939" y="4849"/>
                    <a:pt x="965" y="4833"/>
                  </a:cubicBezTo>
                  <a:close/>
                  <a:moveTo>
                    <a:pt x="753" y="4882"/>
                  </a:moveTo>
                  <a:cubicBezTo>
                    <a:pt x="717" y="4861"/>
                    <a:pt x="688" y="4833"/>
                    <a:pt x="667" y="4796"/>
                  </a:cubicBezTo>
                  <a:cubicBezTo>
                    <a:pt x="646" y="4760"/>
                    <a:pt x="636" y="4719"/>
                    <a:pt x="636" y="4673"/>
                  </a:cubicBezTo>
                  <a:cubicBezTo>
                    <a:pt x="636" y="4628"/>
                    <a:pt x="646" y="4587"/>
                    <a:pt x="667" y="4550"/>
                  </a:cubicBezTo>
                  <a:cubicBezTo>
                    <a:pt x="688" y="4514"/>
                    <a:pt x="717" y="4486"/>
                    <a:pt x="753" y="4466"/>
                  </a:cubicBezTo>
                  <a:cubicBezTo>
                    <a:pt x="789" y="4445"/>
                    <a:pt x="830" y="4435"/>
                    <a:pt x="875" y="4435"/>
                  </a:cubicBezTo>
                  <a:cubicBezTo>
                    <a:pt x="921" y="4435"/>
                    <a:pt x="962" y="4445"/>
                    <a:pt x="998" y="4466"/>
                  </a:cubicBezTo>
                  <a:cubicBezTo>
                    <a:pt x="1034" y="4486"/>
                    <a:pt x="1063" y="4514"/>
                    <a:pt x="1083" y="4550"/>
                  </a:cubicBezTo>
                  <a:cubicBezTo>
                    <a:pt x="1104" y="4587"/>
                    <a:pt x="1114" y="4628"/>
                    <a:pt x="1114" y="4673"/>
                  </a:cubicBezTo>
                  <a:cubicBezTo>
                    <a:pt x="1114" y="4719"/>
                    <a:pt x="1104" y="4760"/>
                    <a:pt x="1083" y="4796"/>
                  </a:cubicBezTo>
                  <a:cubicBezTo>
                    <a:pt x="1063" y="4833"/>
                    <a:pt x="1034" y="4861"/>
                    <a:pt x="998" y="4882"/>
                  </a:cubicBezTo>
                  <a:cubicBezTo>
                    <a:pt x="962" y="4902"/>
                    <a:pt x="921" y="4912"/>
                    <a:pt x="875" y="4912"/>
                  </a:cubicBezTo>
                  <a:cubicBezTo>
                    <a:pt x="830" y="4912"/>
                    <a:pt x="789" y="4902"/>
                    <a:pt x="753" y="4882"/>
                  </a:cubicBezTo>
                  <a:close/>
                  <a:moveTo>
                    <a:pt x="468" y="4612"/>
                  </a:moveTo>
                  <a:cubicBezTo>
                    <a:pt x="501" y="4585"/>
                    <a:pt x="517" y="4547"/>
                    <a:pt x="517" y="4498"/>
                  </a:cubicBezTo>
                  <a:cubicBezTo>
                    <a:pt x="517" y="4447"/>
                    <a:pt x="501" y="4408"/>
                    <a:pt x="468" y="4381"/>
                  </a:cubicBezTo>
                  <a:cubicBezTo>
                    <a:pt x="435" y="4354"/>
                    <a:pt x="388" y="4341"/>
                    <a:pt x="326" y="4341"/>
                  </a:cubicBezTo>
                  <a:lnTo>
                    <a:pt x="159" y="4341"/>
                  </a:lnTo>
                  <a:lnTo>
                    <a:pt x="159" y="4653"/>
                  </a:lnTo>
                  <a:lnTo>
                    <a:pt x="326" y="4653"/>
                  </a:lnTo>
                  <a:cubicBezTo>
                    <a:pt x="388" y="4653"/>
                    <a:pt x="435" y="4639"/>
                    <a:pt x="468" y="4612"/>
                  </a:cubicBezTo>
                  <a:moveTo>
                    <a:pt x="515" y="4341"/>
                  </a:moveTo>
                  <a:cubicBezTo>
                    <a:pt x="560" y="4379"/>
                    <a:pt x="583" y="4431"/>
                    <a:pt x="583" y="4498"/>
                  </a:cubicBezTo>
                  <a:cubicBezTo>
                    <a:pt x="583" y="4564"/>
                    <a:pt x="560" y="4616"/>
                    <a:pt x="515" y="4654"/>
                  </a:cubicBezTo>
                  <a:cubicBezTo>
                    <a:pt x="470" y="4692"/>
                    <a:pt x="407" y="4711"/>
                    <a:pt x="327" y="4711"/>
                  </a:cubicBezTo>
                  <a:lnTo>
                    <a:pt x="159" y="4711"/>
                  </a:lnTo>
                  <a:lnTo>
                    <a:pt x="159" y="4908"/>
                  </a:lnTo>
                  <a:lnTo>
                    <a:pt x="93" y="4908"/>
                  </a:lnTo>
                  <a:lnTo>
                    <a:pt x="93" y="4284"/>
                  </a:lnTo>
                  <a:lnTo>
                    <a:pt x="327" y="4284"/>
                  </a:lnTo>
                  <a:cubicBezTo>
                    <a:pt x="407" y="4284"/>
                    <a:pt x="470" y="4303"/>
                    <a:pt x="515" y="4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6">
              <a:extLst>
                <a:ext uri="{FF2B5EF4-FFF2-40B4-BE49-F238E27FC236}">
                  <a16:creationId xmlns:a16="http://schemas.microsoft.com/office/drawing/2014/main" id="{EF92BCD1-EFE3-49A3-9BF0-2363BC3D97BA}"/>
                </a:ext>
              </a:extLst>
            </p:cNvPr>
            <p:cNvSpPr>
              <a:spLocks noEditPoints="1"/>
            </p:cNvSpPr>
            <p:nvPr userDrawn="1"/>
          </p:nvSpPr>
          <p:spPr bwMode="auto">
            <a:xfrm>
              <a:off x="1321" y="3148"/>
              <a:ext cx="4755" cy="713"/>
            </a:xfrm>
            <a:custGeom>
              <a:avLst/>
              <a:gdLst>
                <a:gd name="T0" fmla="*/ 9402 w 9905"/>
                <a:gd name="T1" fmla="*/ 1485 h 1485"/>
                <a:gd name="T2" fmla="*/ 9609 w 9905"/>
                <a:gd name="T3" fmla="*/ 673 h 1485"/>
                <a:gd name="T4" fmla="*/ 9235 w 9905"/>
                <a:gd name="T5" fmla="*/ 387 h 1485"/>
                <a:gd name="T6" fmla="*/ 9645 w 9905"/>
                <a:gd name="T7" fmla="*/ 272 h 1485"/>
                <a:gd name="T8" fmla="*/ 9852 w 9905"/>
                <a:gd name="T9" fmla="*/ 188 h 1485"/>
                <a:gd name="T10" fmla="*/ 9440 w 9905"/>
                <a:gd name="T11" fmla="*/ 0 h 1485"/>
                <a:gd name="T12" fmla="*/ 9297 w 9905"/>
                <a:gd name="T13" fmla="*/ 792 h 1485"/>
                <a:gd name="T14" fmla="*/ 9655 w 9905"/>
                <a:gd name="T15" fmla="*/ 1077 h 1485"/>
                <a:gd name="T16" fmla="*/ 9102 w 9905"/>
                <a:gd name="T17" fmla="*/ 1105 h 1485"/>
                <a:gd name="T18" fmla="*/ 7727 w 9905"/>
                <a:gd name="T19" fmla="*/ 1267 h 1485"/>
                <a:gd name="T20" fmla="*/ 8704 w 9905"/>
                <a:gd name="T21" fmla="*/ 1072 h 1485"/>
                <a:gd name="T22" fmla="*/ 8168 w 9905"/>
                <a:gd name="T23" fmla="*/ 558 h 1485"/>
                <a:gd name="T24" fmla="*/ 8252 w 9905"/>
                <a:gd name="T25" fmla="*/ 227 h 1485"/>
                <a:gd name="T26" fmla="*/ 8543 w 9905"/>
                <a:gd name="T27" fmla="*/ 300 h 1485"/>
                <a:gd name="T28" fmla="*/ 8567 w 9905"/>
                <a:gd name="T29" fmla="*/ 73 h 1485"/>
                <a:gd name="T30" fmla="*/ 7785 w 9905"/>
                <a:gd name="T31" fmla="*/ 395 h 1485"/>
                <a:gd name="T32" fmla="*/ 8292 w 9905"/>
                <a:gd name="T33" fmla="*/ 885 h 1485"/>
                <a:gd name="T34" fmla="*/ 8225 w 9905"/>
                <a:gd name="T35" fmla="*/ 1257 h 1485"/>
                <a:gd name="T36" fmla="*/ 7727 w 9905"/>
                <a:gd name="T37" fmla="*/ 1267 h 1485"/>
                <a:gd name="T38" fmla="*/ 3354 w 9905"/>
                <a:gd name="T39" fmla="*/ 1485 h 1485"/>
                <a:gd name="T40" fmla="*/ 3560 w 9905"/>
                <a:gd name="T41" fmla="*/ 673 h 1485"/>
                <a:gd name="T42" fmla="*/ 3187 w 9905"/>
                <a:gd name="T43" fmla="*/ 387 h 1485"/>
                <a:gd name="T44" fmla="*/ 3597 w 9905"/>
                <a:gd name="T45" fmla="*/ 272 h 1485"/>
                <a:gd name="T46" fmla="*/ 3805 w 9905"/>
                <a:gd name="T47" fmla="*/ 188 h 1485"/>
                <a:gd name="T48" fmla="*/ 3393 w 9905"/>
                <a:gd name="T49" fmla="*/ 0 h 1485"/>
                <a:gd name="T50" fmla="*/ 3250 w 9905"/>
                <a:gd name="T51" fmla="*/ 792 h 1485"/>
                <a:gd name="T52" fmla="*/ 3609 w 9905"/>
                <a:gd name="T53" fmla="*/ 1077 h 1485"/>
                <a:gd name="T54" fmla="*/ 3055 w 9905"/>
                <a:gd name="T55" fmla="*/ 1105 h 1485"/>
                <a:gd name="T56" fmla="*/ 5023 w 9905"/>
                <a:gd name="T57" fmla="*/ 0 h 1485"/>
                <a:gd name="T58" fmla="*/ 4905 w 9905"/>
                <a:gd name="T59" fmla="*/ 1370 h 1485"/>
                <a:gd name="T60" fmla="*/ 5140 w 9905"/>
                <a:gd name="T61" fmla="*/ 1370 h 1485"/>
                <a:gd name="T62" fmla="*/ 5868 w 9905"/>
                <a:gd name="T63" fmla="*/ 1395 h 1485"/>
                <a:gd name="T64" fmla="*/ 6117 w 9905"/>
                <a:gd name="T65" fmla="*/ 1372 h 1485"/>
                <a:gd name="T66" fmla="*/ 5884 w 9905"/>
                <a:gd name="T67" fmla="*/ 10 h 1485"/>
                <a:gd name="T68" fmla="*/ 5152 w 9905"/>
                <a:gd name="T69" fmla="*/ 88 h 1485"/>
                <a:gd name="T70" fmla="*/ 882 w 9905"/>
                <a:gd name="T71" fmla="*/ 682 h 1485"/>
                <a:gd name="T72" fmla="*/ 652 w 9905"/>
                <a:gd name="T73" fmla="*/ 1475 h 1485"/>
                <a:gd name="T74" fmla="*/ 0 w 9905"/>
                <a:gd name="T75" fmla="*/ 122 h 1485"/>
                <a:gd name="T76" fmla="*/ 622 w 9905"/>
                <a:gd name="T77" fmla="*/ 7 h 1485"/>
                <a:gd name="T78" fmla="*/ 882 w 9905"/>
                <a:gd name="T79" fmla="*/ 682 h 1485"/>
                <a:gd name="T80" fmla="*/ 592 w 9905"/>
                <a:gd name="T81" fmla="*/ 595 h 1485"/>
                <a:gd name="T82" fmla="*/ 592 w 9905"/>
                <a:gd name="T83" fmla="*/ 238 h 1485"/>
                <a:gd name="T84" fmla="*/ 237 w 9905"/>
                <a:gd name="T85" fmla="*/ 595 h 1485"/>
                <a:gd name="T86" fmla="*/ 859 w 9905"/>
                <a:gd name="T87" fmla="*/ 1032 h 1485"/>
                <a:gd name="T88" fmla="*/ 237 w 9905"/>
                <a:gd name="T89" fmla="*/ 812 h 1485"/>
                <a:gd name="T90" fmla="*/ 607 w 9905"/>
                <a:gd name="T91" fmla="*/ 1250 h 1485"/>
                <a:gd name="T92" fmla="*/ 7492 w 9905"/>
                <a:gd name="T93" fmla="*/ 125 h 1485"/>
                <a:gd name="T94" fmla="*/ 6642 w 9905"/>
                <a:gd name="T95" fmla="*/ 10 h 1485"/>
                <a:gd name="T96" fmla="*/ 6527 w 9905"/>
                <a:gd name="T97" fmla="*/ 1365 h 1485"/>
                <a:gd name="T98" fmla="*/ 7484 w 9905"/>
                <a:gd name="T99" fmla="*/ 1478 h 1485"/>
                <a:gd name="T100" fmla="*/ 6764 w 9905"/>
                <a:gd name="T101" fmla="*/ 1248 h 1485"/>
                <a:gd name="T102" fmla="*/ 7307 w 9905"/>
                <a:gd name="T103" fmla="*/ 822 h 1485"/>
                <a:gd name="T104" fmla="*/ 7307 w 9905"/>
                <a:gd name="T105" fmla="*/ 592 h 1485"/>
                <a:gd name="T106" fmla="*/ 6764 w 9905"/>
                <a:gd name="T107" fmla="*/ 240 h 1485"/>
                <a:gd name="T108" fmla="*/ 1635 w 9905"/>
                <a:gd name="T109" fmla="*/ 893 h 1485"/>
                <a:gd name="T110" fmla="*/ 1517 w 9905"/>
                <a:gd name="T111" fmla="*/ 0 h 1485"/>
                <a:gd name="T112" fmla="*/ 1399 w 9905"/>
                <a:gd name="T113" fmla="*/ 885 h 1485"/>
                <a:gd name="T114" fmla="*/ 2605 w 9905"/>
                <a:gd name="T115" fmla="*/ 885 h 1485"/>
                <a:gd name="T116" fmla="*/ 2367 w 9905"/>
                <a:gd name="T117" fmla="*/ 7 h 1485"/>
                <a:gd name="T118" fmla="*/ 2002 w 9905"/>
                <a:gd name="T119" fmla="*/ 1260 h 1485"/>
                <a:gd name="T120" fmla="*/ 4320 w 9905"/>
                <a:gd name="T121" fmla="*/ 0 h 1485"/>
                <a:gd name="T122" fmla="*/ 4439 w 9905"/>
                <a:gd name="T123" fmla="*/ 1477 h 1485"/>
                <a:gd name="T124" fmla="*/ 4202 w 9905"/>
                <a:gd name="T125" fmla="*/ 115 h 1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905" h="1485">
                  <a:moveTo>
                    <a:pt x="8929" y="1267"/>
                  </a:moveTo>
                  <a:cubicBezTo>
                    <a:pt x="8959" y="1305"/>
                    <a:pt x="9097" y="1485"/>
                    <a:pt x="9402" y="1485"/>
                  </a:cubicBezTo>
                  <a:cubicBezTo>
                    <a:pt x="9700" y="1485"/>
                    <a:pt x="9905" y="1313"/>
                    <a:pt x="9905" y="1072"/>
                  </a:cubicBezTo>
                  <a:cubicBezTo>
                    <a:pt x="9905" y="913"/>
                    <a:pt x="9842" y="787"/>
                    <a:pt x="9609" y="673"/>
                  </a:cubicBezTo>
                  <a:cubicBezTo>
                    <a:pt x="9545" y="643"/>
                    <a:pt x="9368" y="558"/>
                    <a:pt x="9368" y="558"/>
                  </a:cubicBezTo>
                  <a:cubicBezTo>
                    <a:pt x="9277" y="513"/>
                    <a:pt x="9235" y="460"/>
                    <a:pt x="9235" y="387"/>
                  </a:cubicBezTo>
                  <a:cubicBezTo>
                    <a:pt x="9235" y="310"/>
                    <a:pt x="9298" y="227"/>
                    <a:pt x="9452" y="227"/>
                  </a:cubicBezTo>
                  <a:cubicBezTo>
                    <a:pt x="9540" y="227"/>
                    <a:pt x="9609" y="255"/>
                    <a:pt x="9645" y="272"/>
                  </a:cubicBezTo>
                  <a:cubicBezTo>
                    <a:pt x="9662" y="280"/>
                    <a:pt x="9704" y="300"/>
                    <a:pt x="9743" y="300"/>
                  </a:cubicBezTo>
                  <a:cubicBezTo>
                    <a:pt x="9795" y="300"/>
                    <a:pt x="9852" y="263"/>
                    <a:pt x="9852" y="188"/>
                  </a:cubicBezTo>
                  <a:cubicBezTo>
                    <a:pt x="9852" y="125"/>
                    <a:pt x="9807" y="92"/>
                    <a:pt x="9767" y="73"/>
                  </a:cubicBezTo>
                  <a:cubicBezTo>
                    <a:pt x="9704" y="43"/>
                    <a:pt x="9605" y="0"/>
                    <a:pt x="9440" y="0"/>
                  </a:cubicBezTo>
                  <a:cubicBezTo>
                    <a:pt x="9179" y="0"/>
                    <a:pt x="8985" y="165"/>
                    <a:pt x="8985" y="395"/>
                  </a:cubicBezTo>
                  <a:cubicBezTo>
                    <a:pt x="8985" y="605"/>
                    <a:pt x="9125" y="710"/>
                    <a:pt x="9297" y="792"/>
                  </a:cubicBezTo>
                  <a:cubicBezTo>
                    <a:pt x="9329" y="807"/>
                    <a:pt x="9455" y="868"/>
                    <a:pt x="9490" y="885"/>
                  </a:cubicBezTo>
                  <a:cubicBezTo>
                    <a:pt x="9598" y="937"/>
                    <a:pt x="9655" y="987"/>
                    <a:pt x="9655" y="1077"/>
                  </a:cubicBezTo>
                  <a:cubicBezTo>
                    <a:pt x="9655" y="1175"/>
                    <a:pt x="9564" y="1257"/>
                    <a:pt x="9425" y="1257"/>
                  </a:cubicBezTo>
                  <a:cubicBezTo>
                    <a:pt x="9227" y="1257"/>
                    <a:pt x="9120" y="1127"/>
                    <a:pt x="9102" y="1105"/>
                  </a:cubicBezTo>
                  <a:lnTo>
                    <a:pt x="8929" y="1267"/>
                  </a:lnTo>
                  <a:close/>
                  <a:moveTo>
                    <a:pt x="7727" y="1267"/>
                  </a:moveTo>
                  <a:cubicBezTo>
                    <a:pt x="7757" y="1305"/>
                    <a:pt x="7897" y="1485"/>
                    <a:pt x="8202" y="1485"/>
                  </a:cubicBezTo>
                  <a:cubicBezTo>
                    <a:pt x="8500" y="1485"/>
                    <a:pt x="8704" y="1313"/>
                    <a:pt x="8704" y="1072"/>
                  </a:cubicBezTo>
                  <a:cubicBezTo>
                    <a:pt x="8704" y="913"/>
                    <a:pt x="8642" y="787"/>
                    <a:pt x="8407" y="673"/>
                  </a:cubicBezTo>
                  <a:cubicBezTo>
                    <a:pt x="8345" y="643"/>
                    <a:pt x="8168" y="558"/>
                    <a:pt x="8168" y="558"/>
                  </a:cubicBezTo>
                  <a:cubicBezTo>
                    <a:pt x="8075" y="513"/>
                    <a:pt x="8034" y="460"/>
                    <a:pt x="8034" y="387"/>
                  </a:cubicBezTo>
                  <a:cubicBezTo>
                    <a:pt x="8034" y="310"/>
                    <a:pt x="8097" y="227"/>
                    <a:pt x="8252" y="227"/>
                  </a:cubicBezTo>
                  <a:cubicBezTo>
                    <a:pt x="8340" y="227"/>
                    <a:pt x="8407" y="255"/>
                    <a:pt x="8443" y="272"/>
                  </a:cubicBezTo>
                  <a:cubicBezTo>
                    <a:pt x="8462" y="280"/>
                    <a:pt x="8504" y="300"/>
                    <a:pt x="8543" y="300"/>
                  </a:cubicBezTo>
                  <a:cubicBezTo>
                    <a:pt x="8595" y="300"/>
                    <a:pt x="8652" y="263"/>
                    <a:pt x="8652" y="188"/>
                  </a:cubicBezTo>
                  <a:cubicBezTo>
                    <a:pt x="8652" y="125"/>
                    <a:pt x="8607" y="92"/>
                    <a:pt x="8567" y="73"/>
                  </a:cubicBezTo>
                  <a:cubicBezTo>
                    <a:pt x="8504" y="43"/>
                    <a:pt x="8404" y="0"/>
                    <a:pt x="8240" y="0"/>
                  </a:cubicBezTo>
                  <a:cubicBezTo>
                    <a:pt x="7979" y="0"/>
                    <a:pt x="7785" y="165"/>
                    <a:pt x="7785" y="395"/>
                  </a:cubicBezTo>
                  <a:cubicBezTo>
                    <a:pt x="7785" y="605"/>
                    <a:pt x="7927" y="710"/>
                    <a:pt x="8097" y="792"/>
                  </a:cubicBezTo>
                  <a:cubicBezTo>
                    <a:pt x="8130" y="807"/>
                    <a:pt x="8257" y="868"/>
                    <a:pt x="8292" y="885"/>
                  </a:cubicBezTo>
                  <a:cubicBezTo>
                    <a:pt x="8398" y="937"/>
                    <a:pt x="8455" y="987"/>
                    <a:pt x="8455" y="1077"/>
                  </a:cubicBezTo>
                  <a:cubicBezTo>
                    <a:pt x="8455" y="1175"/>
                    <a:pt x="8364" y="1257"/>
                    <a:pt x="8225" y="1257"/>
                  </a:cubicBezTo>
                  <a:cubicBezTo>
                    <a:pt x="8025" y="1257"/>
                    <a:pt x="7920" y="1127"/>
                    <a:pt x="7902" y="1105"/>
                  </a:cubicBezTo>
                  <a:lnTo>
                    <a:pt x="7727" y="1267"/>
                  </a:lnTo>
                  <a:close/>
                  <a:moveTo>
                    <a:pt x="2880" y="1267"/>
                  </a:moveTo>
                  <a:cubicBezTo>
                    <a:pt x="2910" y="1305"/>
                    <a:pt x="3049" y="1485"/>
                    <a:pt x="3354" y="1485"/>
                  </a:cubicBezTo>
                  <a:cubicBezTo>
                    <a:pt x="3654" y="1485"/>
                    <a:pt x="3857" y="1313"/>
                    <a:pt x="3857" y="1072"/>
                  </a:cubicBezTo>
                  <a:cubicBezTo>
                    <a:pt x="3857" y="913"/>
                    <a:pt x="3795" y="787"/>
                    <a:pt x="3560" y="673"/>
                  </a:cubicBezTo>
                  <a:cubicBezTo>
                    <a:pt x="3497" y="643"/>
                    <a:pt x="3322" y="558"/>
                    <a:pt x="3322" y="558"/>
                  </a:cubicBezTo>
                  <a:cubicBezTo>
                    <a:pt x="3229" y="513"/>
                    <a:pt x="3187" y="460"/>
                    <a:pt x="3187" y="387"/>
                  </a:cubicBezTo>
                  <a:cubicBezTo>
                    <a:pt x="3187" y="310"/>
                    <a:pt x="3250" y="227"/>
                    <a:pt x="3405" y="227"/>
                  </a:cubicBezTo>
                  <a:cubicBezTo>
                    <a:pt x="3493" y="227"/>
                    <a:pt x="3562" y="255"/>
                    <a:pt x="3597" y="272"/>
                  </a:cubicBezTo>
                  <a:cubicBezTo>
                    <a:pt x="3615" y="280"/>
                    <a:pt x="3657" y="300"/>
                    <a:pt x="3697" y="300"/>
                  </a:cubicBezTo>
                  <a:cubicBezTo>
                    <a:pt x="3749" y="300"/>
                    <a:pt x="3805" y="263"/>
                    <a:pt x="3805" y="188"/>
                  </a:cubicBezTo>
                  <a:cubicBezTo>
                    <a:pt x="3805" y="125"/>
                    <a:pt x="3760" y="92"/>
                    <a:pt x="3720" y="73"/>
                  </a:cubicBezTo>
                  <a:cubicBezTo>
                    <a:pt x="3657" y="43"/>
                    <a:pt x="3559" y="0"/>
                    <a:pt x="3393" y="0"/>
                  </a:cubicBezTo>
                  <a:cubicBezTo>
                    <a:pt x="3132" y="0"/>
                    <a:pt x="2939" y="165"/>
                    <a:pt x="2939" y="395"/>
                  </a:cubicBezTo>
                  <a:cubicBezTo>
                    <a:pt x="2939" y="605"/>
                    <a:pt x="3080" y="710"/>
                    <a:pt x="3250" y="792"/>
                  </a:cubicBezTo>
                  <a:cubicBezTo>
                    <a:pt x="3282" y="807"/>
                    <a:pt x="3409" y="868"/>
                    <a:pt x="3443" y="885"/>
                  </a:cubicBezTo>
                  <a:cubicBezTo>
                    <a:pt x="3552" y="937"/>
                    <a:pt x="3609" y="987"/>
                    <a:pt x="3609" y="1077"/>
                  </a:cubicBezTo>
                  <a:cubicBezTo>
                    <a:pt x="3609" y="1175"/>
                    <a:pt x="3517" y="1257"/>
                    <a:pt x="3379" y="1257"/>
                  </a:cubicBezTo>
                  <a:cubicBezTo>
                    <a:pt x="3180" y="1257"/>
                    <a:pt x="3074" y="1127"/>
                    <a:pt x="3055" y="1105"/>
                  </a:cubicBezTo>
                  <a:lnTo>
                    <a:pt x="2880" y="1267"/>
                  </a:lnTo>
                  <a:close/>
                  <a:moveTo>
                    <a:pt x="5023" y="0"/>
                  </a:moveTo>
                  <a:cubicBezTo>
                    <a:pt x="4952" y="0"/>
                    <a:pt x="4905" y="52"/>
                    <a:pt x="4905" y="113"/>
                  </a:cubicBezTo>
                  <a:lnTo>
                    <a:pt x="4905" y="1370"/>
                  </a:lnTo>
                  <a:cubicBezTo>
                    <a:pt x="4905" y="1433"/>
                    <a:pt x="4960" y="1483"/>
                    <a:pt x="5023" y="1483"/>
                  </a:cubicBezTo>
                  <a:cubicBezTo>
                    <a:pt x="5085" y="1483"/>
                    <a:pt x="5140" y="1433"/>
                    <a:pt x="5140" y="1370"/>
                  </a:cubicBezTo>
                  <a:lnTo>
                    <a:pt x="5140" y="463"/>
                  </a:lnTo>
                  <a:cubicBezTo>
                    <a:pt x="5140" y="463"/>
                    <a:pt x="5717" y="1200"/>
                    <a:pt x="5868" y="1395"/>
                  </a:cubicBezTo>
                  <a:cubicBezTo>
                    <a:pt x="5907" y="1443"/>
                    <a:pt x="5934" y="1485"/>
                    <a:pt x="6002" y="1485"/>
                  </a:cubicBezTo>
                  <a:cubicBezTo>
                    <a:pt x="6070" y="1485"/>
                    <a:pt x="6117" y="1435"/>
                    <a:pt x="6117" y="1372"/>
                  </a:cubicBezTo>
                  <a:lnTo>
                    <a:pt x="6117" y="10"/>
                  </a:lnTo>
                  <a:lnTo>
                    <a:pt x="5884" y="10"/>
                  </a:lnTo>
                  <a:lnTo>
                    <a:pt x="5884" y="1027"/>
                  </a:lnTo>
                  <a:cubicBezTo>
                    <a:pt x="5884" y="1027"/>
                    <a:pt x="5242" y="203"/>
                    <a:pt x="5152" y="88"/>
                  </a:cubicBezTo>
                  <a:cubicBezTo>
                    <a:pt x="5110" y="35"/>
                    <a:pt x="5079" y="0"/>
                    <a:pt x="5023" y="0"/>
                  </a:cubicBezTo>
                  <a:close/>
                  <a:moveTo>
                    <a:pt x="882" y="682"/>
                  </a:moveTo>
                  <a:cubicBezTo>
                    <a:pt x="924" y="702"/>
                    <a:pt x="1099" y="777"/>
                    <a:pt x="1099" y="1037"/>
                  </a:cubicBezTo>
                  <a:cubicBezTo>
                    <a:pt x="1099" y="1283"/>
                    <a:pt x="915" y="1475"/>
                    <a:pt x="652" y="1475"/>
                  </a:cubicBezTo>
                  <a:lnTo>
                    <a:pt x="0" y="1475"/>
                  </a:lnTo>
                  <a:lnTo>
                    <a:pt x="0" y="122"/>
                  </a:lnTo>
                  <a:cubicBezTo>
                    <a:pt x="0" y="53"/>
                    <a:pt x="47" y="7"/>
                    <a:pt x="115" y="7"/>
                  </a:cubicBezTo>
                  <a:lnTo>
                    <a:pt x="622" y="7"/>
                  </a:lnTo>
                  <a:cubicBezTo>
                    <a:pt x="868" y="7"/>
                    <a:pt x="1030" y="155"/>
                    <a:pt x="1030" y="380"/>
                  </a:cubicBezTo>
                  <a:cubicBezTo>
                    <a:pt x="1030" y="572"/>
                    <a:pt x="922" y="657"/>
                    <a:pt x="882" y="682"/>
                  </a:cubicBezTo>
                  <a:moveTo>
                    <a:pt x="237" y="595"/>
                  </a:moveTo>
                  <a:lnTo>
                    <a:pt x="592" y="595"/>
                  </a:lnTo>
                  <a:cubicBezTo>
                    <a:pt x="718" y="595"/>
                    <a:pt x="790" y="515"/>
                    <a:pt x="790" y="417"/>
                  </a:cubicBezTo>
                  <a:cubicBezTo>
                    <a:pt x="790" y="318"/>
                    <a:pt x="725" y="238"/>
                    <a:pt x="592" y="238"/>
                  </a:cubicBezTo>
                  <a:lnTo>
                    <a:pt x="237" y="238"/>
                  </a:lnTo>
                  <a:lnTo>
                    <a:pt x="237" y="595"/>
                  </a:lnTo>
                  <a:close/>
                  <a:moveTo>
                    <a:pt x="607" y="1250"/>
                  </a:moveTo>
                  <a:cubicBezTo>
                    <a:pt x="774" y="1250"/>
                    <a:pt x="859" y="1152"/>
                    <a:pt x="859" y="1032"/>
                  </a:cubicBezTo>
                  <a:cubicBezTo>
                    <a:pt x="859" y="910"/>
                    <a:pt x="777" y="812"/>
                    <a:pt x="607" y="812"/>
                  </a:cubicBezTo>
                  <a:lnTo>
                    <a:pt x="237" y="812"/>
                  </a:lnTo>
                  <a:lnTo>
                    <a:pt x="237" y="1250"/>
                  </a:lnTo>
                  <a:lnTo>
                    <a:pt x="607" y="1250"/>
                  </a:lnTo>
                  <a:close/>
                  <a:moveTo>
                    <a:pt x="7367" y="240"/>
                  </a:moveTo>
                  <a:cubicBezTo>
                    <a:pt x="7445" y="240"/>
                    <a:pt x="7492" y="190"/>
                    <a:pt x="7492" y="125"/>
                  </a:cubicBezTo>
                  <a:cubicBezTo>
                    <a:pt x="7492" y="60"/>
                    <a:pt x="7443" y="10"/>
                    <a:pt x="7367" y="10"/>
                  </a:cubicBezTo>
                  <a:lnTo>
                    <a:pt x="6642" y="10"/>
                  </a:lnTo>
                  <a:cubicBezTo>
                    <a:pt x="6575" y="10"/>
                    <a:pt x="6527" y="58"/>
                    <a:pt x="6527" y="125"/>
                  </a:cubicBezTo>
                  <a:lnTo>
                    <a:pt x="6527" y="1365"/>
                  </a:lnTo>
                  <a:cubicBezTo>
                    <a:pt x="6527" y="1430"/>
                    <a:pt x="6575" y="1478"/>
                    <a:pt x="6642" y="1478"/>
                  </a:cubicBezTo>
                  <a:lnTo>
                    <a:pt x="7484" y="1478"/>
                  </a:lnTo>
                  <a:lnTo>
                    <a:pt x="7484" y="1248"/>
                  </a:lnTo>
                  <a:lnTo>
                    <a:pt x="6764" y="1248"/>
                  </a:lnTo>
                  <a:lnTo>
                    <a:pt x="6764" y="822"/>
                  </a:lnTo>
                  <a:lnTo>
                    <a:pt x="7307" y="822"/>
                  </a:lnTo>
                  <a:cubicBezTo>
                    <a:pt x="7389" y="822"/>
                    <a:pt x="7435" y="773"/>
                    <a:pt x="7435" y="707"/>
                  </a:cubicBezTo>
                  <a:cubicBezTo>
                    <a:pt x="7435" y="640"/>
                    <a:pt x="7390" y="592"/>
                    <a:pt x="7307" y="592"/>
                  </a:cubicBezTo>
                  <a:lnTo>
                    <a:pt x="6764" y="592"/>
                  </a:lnTo>
                  <a:lnTo>
                    <a:pt x="6764" y="240"/>
                  </a:lnTo>
                  <a:lnTo>
                    <a:pt x="7367" y="240"/>
                  </a:lnTo>
                  <a:close/>
                  <a:moveTo>
                    <a:pt x="1635" y="893"/>
                  </a:moveTo>
                  <a:lnTo>
                    <a:pt x="1635" y="115"/>
                  </a:lnTo>
                  <a:cubicBezTo>
                    <a:pt x="1635" y="52"/>
                    <a:pt x="1589" y="0"/>
                    <a:pt x="1517" y="0"/>
                  </a:cubicBezTo>
                  <a:cubicBezTo>
                    <a:pt x="1443" y="0"/>
                    <a:pt x="1399" y="52"/>
                    <a:pt x="1399" y="115"/>
                  </a:cubicBezTo>
                  <a:lnTo>
                    <a:pt x="1399" y="885"/>
                  </a:lnTo>
                  <a:cubicBezTo>
                    <a:pt x="1399" y="1215"/>
                    <a:pt x="1630" y="1483"/>
                    <a:pt x="2002" y="1483"/>
                  </a:cubicBezTo>
                  <a:cubicBezTo>
                    <a:pt x="2372" y="1483"/>
                    <a:pt x="2605" y="1215"/>
                    <a:pt x="2605" y="885"/>
                  </a:cubicBezTo>
                  <a:lnTo>
                    <a:pt x="2605" y="7"/>
                  </a:lnTo>
                  <a:lnTo>
                    <a:pt x="2367" y="7"/>
                  </a:lnTo>
                  <a:lnTo>
                    <a:pt x="2367" y="892"/>
                  </a:lnTo>
                  <a:cubicBezTo>
                    <a:pt x="2367" y="1087"/>
                    <a:pt x="2237" y="1260"/>
                    <a:pt x="2002" y="1260"/>
                  </a:cubicBezTo>
                  <a:cubicBezTo>
                    <a:pt x="1765" y="1262"/>
                    <a:pt x="1635" y="1088"/>
                    <a:pt x="1635" y="893"/>
                  </a:cubicBezTo>
                  <a:close/>
                  <a:moveTo>
                    <a:pt x="4320" y="0"/>
                  </a:moveTo>
                  <a:cubicBezTo>
                    <a:pt x="4393" y="0"/>
                    <a:pt x="4439" y="52"/>
                    <a:pt x="4439" y="115"/>
                  </a:cubicBezTo>
                  <a:lnTo>
                    <a:pt x="4439" y="1477"/>
                  </a:lnTo>
                  <a:lnTo>
                    <a:pt x="4202" y="1477"/>
                  </a:lnTo>
                  <a:lnTo>
                    <a:pt x="4202" y="115"/>
                  </a:lnTo>
                  <a:cubicBezTo>
                    <a:pt x="4202" y="52"/>
                    <a:pt x="4247" y="0"/>
                    <a:pt x="432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494709128"/>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userDrawn="1">
  <p:cSld name="Section Divide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2788" y="685800"/>
            <a:ext cx="8411651" cy="2971800"/>
          </a:xfrm>
          <a:prstGeom prst="rect">
            <a:avLst/>
          </a:prstGeom>
        </p:spPr>
        <p:txBody>
          <a:bodyPr anchor="b"/>
          <a:lstStyle>
            <a:lvl1pPr>
              <a:defRPr sz="5400" b="1" i="0">
                <a:solidFill>
                  <a:schemeClr val="bg2"/>
                </a:solidFill>
                <a:latin typeface="Montserrat SemiBold" pitchFamily="2" charset="77"/>
              </a:defRPr>
            </a:lvl1pPr>
          </a:lstStyle>
          <a:p>
            <a:r>
              <a:rPr lang="en-US"/>
              <a:t>Click to edit Master title style</a:t>
            </a:r>
          </a:p>
        </p:txBody>
      </p:sp>
      <p:sp>
        <p:nvSpPr>
          <p:cNvPr id="3" name="Text Placeholder 2"/>
          <p:cNvSpPr>
            <a:spLocks noGrp="1"/>
          </p:cNvSpPr>
          <p:nvPr>
            <p:ph type="body" idx="1"/>
          </p:nvPr>
        </p:nvSpPr>
        <p:spPr>
          <a:xfrm>
            <a:off x="432618" y="4101321"/>
            <a:ext cx="8401818" cy="641350"/>
          </a:xfrm>
          <a:prstGeom prst="rect">
            <a:avLst/>
          </a:prstGeom>
        </p:spPr>
        <p:txBody>
          <a:bodyPr/>
          <a:lstStyle>
            <a:lvl1pPr marL="0" indent="0">
              <a:buNone/>
              <a:defRPr sz="2400">
                <a:solidFill>
                  <a:schemeClr val="accent2"/>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5" name="Slide Number Placeholder 5">
            <a:extLst>
              <a:ext uri="{FF2B5EF4-FFF2-40B4-BE49-F238E27FC236}">
                <a16:creationId xmlns:a16="http://schemas.microsoft.com/office/drawing/2014/main" id="{577A0D8B-1D3E-F6EA-5B2E-C53771D309BA}"/>
              </a:ext>
            </a:extLst>
          </p:cNvPr>
          <p:cNvSpPr>
            <a:spLocks noGrp="1"/>
          </p:cNvSpPr>
          <p:nvPr>
            <p:ph type="sldNum" sz="quarter" idx="10"/>
          </p:nvPr>
        </p:nvSpPr>
        <p:spPr/>
        <p:txBody>
          <a:bodyPr/>
          <a:lstStyle>
            <a:lvl1pPr>
              <a:defRPr>
                <a:solidFill>
                  <a:schemeClr val="accent2"/>
                </a:solidFill>
              </a:defRPr>
            </a:lvl1pPr>
          </a:lstStyle>
          <a:p>
            <a:pPr>
              <a:defRPr/>
            </a:pPr>
            <a:fld id="{E147F4B0-95A8-43DB-BFB5-8B095617379B}" type="slidenum">
              <a:rPr lang="en-US"/>
              <a:pPr>
                <a:defRPr/>
              </a:pPr>
              <a:t>‹#›</a:t>
            </a:fld>
            <a:endParaRPr lang="en-US"/>
          </a:p>
        </p:txBody>
      </p:sp>
      <p:sp>
        <p:nvSpPr>
          <p:cNvPr id="6" name="Footer Placeholder 4">
            <a:extLst>
              <a:ext uri="{FF2B5EF4-FFF2-40B4-BE49-F238E27FC236}">
                <a16:creationId xmlns:a16="http://schemas.microsoft.com/office/drawing/2014/main" id="{F59C2888-9FE2-8C71-954F-1E30CF83D8E4}"/>
              </a:ext>
            </a:extLst>
          </p:cNvPr>
          <p:cNvSpPr>
            <a:spLocks noGrp="1"/>
          </p:cNvSpPr>
          <p:nvPr>
            <p:ph type="ftr" sz="quarter" idx="11"/>
          </p:nvPr>
        </p:nvSpPr>
        <p:spPr/>
        <p:txBody>
          <a:bodyPr/>
          <a:lstStyle>
            <a:lvl1pPr algn="l" eaLnBrk="1" fontAlgn="auto" hangingPunct="1">
              <a:spcBef>
                <a:spcPts val="0"/>
              </a:spcBef>
              <a:spcAft>
                <a:spcPts val="0"/>
              </a:spcAft>
              <a:defRPr sz="800">
                <a:solidFill>
                  <a:schemeClr val="bg2"/>
                </a:solidFill>
                <a:latin typeface="+mn-lt"/>
              </a:defRPr>
            </a:lvl1pPr>
          </a:lstStyle>
          <a:p>
            <a:pPr>
              <a:defRPr/>
            </a:pPr>
            <a:r>
              <a:rPr lang="en-US"/>
              <a:t>© 2024 Comcast. All rights reserved.</a:t>
            </a:r>
          </a:p>
        </p:txBody>
      </p:sp>
      <p:sp>
        <p:nvSpPr>
          <p:cNvPr id="9" name="Freeform 8">
            <a:extLst>
              <a:ext uri="{FF2B5EF4-FFF2-40B4-BE49-F238E27FC236}">
                <a16:creationId xmlns:a16="http://schemas.microsoft.com/office/drawing/2014/main" id="{ACB0759A-FE16-52B0-954C-A43DA66BC1DD}"/>
              </a:ext>
            </a:extLst>
          </p:cNvPr>
          <p:cNvSpPr/>
          <p:nvPr userDrawn="1"/>
        </p:nvSpPr>
        <p:spPr>
          <a:xfrm>
            <a:off x="9983595" y="5254908"/>
            <a:ext cx="1982224" cy="1603093"/>
          </a:xfrm>
          <a:custGeom>
            <a:avLst/>
            <a:gdLst>
              <a:gd name="connsiteX0" fmla="*/ 991112 w 1982224"/>
              <a:gd name="connsiteY0" fmla="*/ 0 h 1603093"/>
              <a:gd name="connsiteX1" fmla="*/ 1982224 w 1982224"/>
              <a:gd name="connsiteY1" fmla="*/ 991112 h 1603093"/>
              <a:gd name="connsiteX2" fmla="*/ 1812958 w 1982224"/>
              <a:gd name="connsiteY2" fmla="*/ 1545252 h 1603093"/>
              <a:gd name="connsiteX3" fmla="*/ 1765235 w 1982224"/>
              <a:gd name="connsiteY3" fmla="*/ 1603093 h 1603093"/>
              <a:gd name="connsiteX4" fmla="*/ 216990 w 1982224"/>
              <a:gd name="connsiteY4" fmla="*/ 1603093 h 1603093"/>
              <a:gd name="connsiteX5" fmla="*/ 169267 w 1982224"/>
              <a:gd name="connsiteY5" fmla="*/ 1545252 h 1603093"/>
              <a:gd name="connsiteX6" fmla="*/ 0 w 1982224"/>
              <a:gd name="connsiteY6" fmla="*/ 991112 h 1603093"/>
              <a:gd name="connsiteX7" fmla="*/ 991112 w 1982224"/>
              <a:gd name="connsiteY7" fmla="*/ 0 h 1603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82224" h="1603093">
                <a:moveTo>
                  <a:pt x="991112" y="0"/>
                </a:moveTo>
                <a:cubicBezTo>
                  <a:pt x="1538488" y="0"/>
                  <a:pt x="1982224" y="443736"/>
                  <a:pt x="1982224" y="991112"/>
                </a:cubicBezTo>
                <a:cubicBezTo>
                  <a:pt x="1982224" y="1196378"/>
                  <a:pt x="1919824" y="1387070"/>
                  <a:pt x="1812958" y="1545252"/>
                </a:cubicBezTo>
                <a:lnTo>
                  <a:pt x="1765235" y="1603093"/>
                </a:lnTo>
                <a:lnTo>
                  <a:pt x="216990" y="1603093"/>
                </a:lnTo>
                <a:lnTo>
                  <a:pt x="169267" y="1545252"/>
                </a:lnTo>
                <a:cubicBezTo>
                  <a:pt x="62401" y="1387070"/>
                  <a:pt x="0" y="1196378"/>
                  <a:pt x="0" y="991112"/>
                </a:cubicBezTo>
                <a:cubicBezTo>
                  <a:pt x="0" y="443736"/>
                  <a:pt x="443736" y="0"/>
                  <a:pt x="991112"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10" name="Content Placeholder 13">
            <a:extLst>
              <a:ext uri="{FF2B5EF4-FFF2-40B4-BE49-F238E27FC236}">
                <a16:creationId xmlns:a16="http://schemas.microsoft.com/office/drawing/2014/main" id="{68BA8CB7-5B9E-1D99-961A-36C3F6A43DB6}"/>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auto">
          <a:xfrm>
            <a:off x="10074909" y="5345725"/>
            <a:ext cx="1771994" cy="1771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657164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secHead" preserve="1">
  <p:cSld name="Section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ECE124-0EC5-4998-B4A4-93CF0263C844}"/>
              </a:ext>
            </a:extLst>
          </p:cNvPr>
          <p:cNvSpPr>
            <a:spLocks noGrp="1"/>
          </p:cNvSpPr>
          <p:nvPr>
            <p:ph type="title" hasCustomPrompt="1"/>
          </p:nvPr>
        </p:nvSpPr>
        <p:spPr>
          <a:xfrm>
            <a:off x="422788" y="685800"/>
            <a:ext cx="8411650" cy="2971800"/>
          </a:xfrm>
        </p:spPr>
        <p:txBody>
          <a:bodyPr anchor="b"/>
          <a:lstStyle>
            <a:lvl1pPr>
              <a:lnSpc>
                <a:spcPct val="90000"/>
              </a:lnSpc>
              <a:defRPr sz="5400">
                <a:solidFill>
                  <a:schemeClr val="accent1"/>
                </a:solidFill>
              </a:defRPr>
            </a:lvl1pPr>
          </a:lstStyle>
          <a:p>
            <a:r>
              <a:rPr lang="en-US"/>
              <a:t>Section title, 54pt </a:t>
            </a:r>
            <a:r>
              <a:rPr lang="en-GB"/>
              <a:t>Regular</a:t>
            </a:r>
            <a:endParaRPr lang="en-US"/>
          </a:p>
        </p:txBody>
      </p:sp>
      <p:sp>
        <p:nvSpPr>
          <p:cNvPr id="3" name="Text Placeholder 2">
            <a:extLst>
              <a:ext uri="{FF2B5EF4-FFF2-40B4-BE49-F238E27FC236}">
                <a16:creationId xmlns:a16="http://schemas.microsoft.com/office/drawing/2014/main" id="{B3201D62-1ADE-45F8-9082-FBF4F1DA659F}"/>
              </a:ext>
            </a:extLst>
          </p:cNvPr>
          <p:cNvSpPr>
            <a:spLocks noGrp="1"/>
          </p:cNvSpPr>
          <p:nvPr>
            <p:ph type="body" idx="1" hasCustomPrompt="1"/>
          </p:nvPr>
        </p:nvSpPr>
        <p:spPr>
          <a:xfrm>
            <a:off x="432618" y="4101321"/>
            <a:ext cx="8401819" cy="641350"/>
          </a:xfrm>
        </p:spPr>
        <p:txBody>
          <a:bodyPr/>
          <a:lstStyle>
            <a:lvl1pPr marL="0" indent="0">
              <a:buNone/>
              <a:defRPr sz="2000">
                <a:solidFill>
                  <a:schemeClr val="tx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Place subtitle here, 20pt Regular (optional)</a:t>
            </a:r>
          </a:p>
        </p:txBody>
      </p:sp>
      <p:sp>
        <p:nvSpPr>
          <p:cNvPr id="5" name="Footer Placeholder 4">
            <a:extLst>
              <a:ext uri="{FF2B5EF4-FFF2-40B4-BE49-F238E27FC236}">
                <a16:creationId xmlns:a16="http://schemas.microsoft.com/office/drawing/2014/main" id="{B64AEE9C-6306-4EE6-B302-8A3D0855E942}"/>
              </a:ext>
            </a:extLst>
          </p:cNvPr>
          <p:cNvSpPr>
            <a:spLocks noGrp="1"/>
          </p:cNvSpPr>
          <p:nvPr>
            <p:ph type="ftr" sz="quarter" idx="11"/>
          </p:nvPr>
        </p:nvSpPr>
        <p:spPr/>
        <p:txBody>
          <a:bodyPr/>
          <a:lstStyle>
            <a:lvl1pPr algn="l">
              <a:defRPr/>
            </a:lvl1pPr>
          </a:lstStyle>
          <a:p>
            <a:r>
              <a:rPr lang="en-US"/>
              <a:t>Copyright © 2021 Comcast Business. All rights reserved.</a:t>
            </a:r>
          </a:p>
        </p:txBody>
      </p:sp>
      <p:sp>
        <p:nvSpPr>
          <p:cNvPr id="6" name="Slide Number Placeholder 5">
            <a:extLst>
              <a:ext uri="{FF2B5EF4-FFF2-40B4-BE49-F238E27FC236}">
                <a16:creationId xmlns:a16="http://schemas.microsoft.com/office/drawing/2014/main" id="{563B6988-2C6C-4AF4-851F-85ED95DB34F4}"/>
              </a:ext>
            </a:extLst>
          </p:cNvPr>
          <p:cNvSpPr>
            <a:spLocks noGrp="1"/>
          </p:cNvSpPr>
          <p:nvPr>
            <p:ph type="sldNum" sz="quarter" idx="12"/>
          </p:nvPr>
        </p:nvSpPr>
        <p:spPr/>
        <p:txBody>
          <a:bodyPr/>
          <a:lstStyle/>
          <a:p>
            <a:fld id="{A07A7439-3E0E-4A6B-9524-3A8EBA819993}" type="slidenum">
              <a:rPr lang="en-US" smtClean="0"/>
              <a:t>‹#›</a:t>
            </a:fld>
            <a:endParaRPr lang="en-US"/>
          </a:p>
        </p:txBody>
      </p:sp>
    </p:spTree>
    <p:extLst>
      <p:ext uri="{BB962C8B-B14F-4D97-AF65-F5344CB8AC3E}">
        <p14:creationId xmlns:p14="http://schemas.microsoft.com/office/powerpoint/2010/main" val="353826883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secHead" preserve="1">
  <p:cSld name="Section 2">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ECE124-0EC5-4998-B4A4-93CF0263C844}"/>
              </a:ext>
            </a:extLst>
          </p:cNvPr>
          <p:cNvSpPr>
            <a:spLocks noGrp="1"/>
          </p:cNvSpPr>
          <p:nvPr>
            <p:ph type="title" hasCustomPrompt="1"/>
          </p:nvPr>
        </p:nvSpPr>
        <p:spPr>
          <a:xfrm>
            <a:off x="422788" y="685800"/>
            <a:ext cx="8411651" cy="2971800"/>
          </a:xfrm>
        </p:spPr>
        <p:txBody>
          <a:bodyPr anchor="b"/>
          <a:lstStyle>
            <a:lvl1pPr>
              <a:lnSpc>
                <a:spcPct val="90000"/>
              </a:lnSpc>
              <a:defRPr sz="5400">
                <a:solidFill>
                  <a:schemeClr val="accent2"/>
                </a:solidFill>
              </a:defRPr>
            </a:lvl1pPr>
          </a:lstStyle>
          <a:p>
            <a:r>
              <a:rPr lang="en-US"/>
              <a:t>Section title, 54pt </a:t>
            </a:r>
            <a:r>
              <a:rPr lang="en-GB"/>
              <a:t>Regular</a:t>
            </a:r>
            <a:endParaRPr lang="en-US"/>
          </a:p>
        </p:txBody>
      </p:sp>
      <p:sp>
        <p:nvSpPr>
          <p:cNvPr id="3" name="Text Placeholder 2">
            <a:extLst>
              <a:ext uri="{FF2B5EF4-FFF2-40B4-BE49-F238E27FC236}">
                <a16:creationId xmlns:a16="http://schemas.microsoft.com/office/drawing/2014/main" id="{B3201D62-1ADE-45F8-9082-FBF4F1DA659F}"/>
              </a:ext>
            </a:extLst>
          </p:cNvPr>
          <p:cNvSpPr>
            <a:spLocks noGrp="1"/>
          </p:cNvSpPr>
          <p:nvPr>
            <p:ph type="body" idx="1" hasCustomPrompt="1"/>
          </p:nvPr>
        </p:nvSpPr>
        <p:spPr>
          <a:xfrm>
            <a:off x="432618" y="4101321"/>
            <a:ext cx="8401818" cy="641350"/>
          </a:xfrm>
        </p:spPr>
        <p:txBody>
          <a:bodyPr/>
          <a:lstStyle>
            <a:lvl1pPr marL="0" indent="0">
              <a:buNone/>
              <a:defRPr sz="2000">
                <a:solidFill>
                  <a:schemeClr val="bg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Place subtitle here, 20pt Regular (optional)</a:t>
            </a:r>
          </a:p>
        </p:txBody>
      </p:sp>
      <p:sp>
        <p:nvSpPr>
          <p:cNvPr id="5" name="Footer Placeholder 4">
            <a:extLst>
              <a:ext uri="{FF2B5EF4-FFF2-40B4-BE49-F238E27FC236}">
                <a16:creationId xmlns:a16="http://schemas.microsoft.com/office/drawing/2014/main" id="{B64AEE9C-6306-4EE6-B302-8A3D0855E942}"/>
              </a:ext>
            </a:extLst>
          </p:cNvPr>
          <p:cNvSpPr>
            <a:spLocks noGrp="1"/>
          </p:cNvSpPr>
          <p:nvPr>
            <p:ph type="ftr" sz="quarter" idx="11"/>
          </p:nvPr>
        </p:nvSpPr>
        <p:spPr/>
        <p:txBody>
          <a:bodyPr/>
          <a:lstStyle>
            <a:lvl1pPr algn="l">
              <a:defRPr>
                <a:solidFill>
                  <a:schemeClr val="bg1"/>
                </a:solidFill>
              </a:defRPr>
            </a:lvl1pPr>
          </a:lstStyle>
          <a:p>
            <a:r>
              <a:rPr lang="en-US"/>
              <a:t>Copyright © 2021 Comcast Business. All rights reserved.</a:t>
            </a:r>
          </a:p>
        </p:txBody>
      </p:sp>
      <p:sp>
        <p:nvSpPr>
          <p:cNvPr id="6" name="Slide Number Placeholder 5">
            <a:extLst>
              <a:ext uri="{FF2B5EF4-FFF2-40B4-BE49-F238E27FC236}">
                <a16:creationId xmlns:a16="http://schemas.microsoft.com/office/drawing/2014/main" id="{563B6988-2C6C-4AF4-851F-85ED95DB34F4}"/>
              </a:ext>
            </a:extLst>
          </p:cNvPr>
          <p:cNvSpPr>
            <a:spLocks noGrp="1"/>
          </p:cNvSpPr>
          <p:nvPr>
            <p:ph type="sldNum" sz="quarter" idx="12"/>
          </p:nvPr>
        </p:nvSpPr>
        <p:spPr/>
        <p:txBody>
          <a:bodyPr/>
          <a:lstStyle>
            <a:lvl1pPr>
              <a:defRPr>
                <a:solidFill>
                  <a:schemeClr val="accent2"/>
                </a:solidFill>
              </a:defRPr>
            </a:lvl1pPr>
          </a:lstStyle>
          <a:p>
            <a:fld id="{A07A7439-3E0E-4A6B-9524-3A8EBA819993}" type="slidenum">
              <a:rPr lang="en-US" smtClean="0"/>
              <a:pPr/>
              <a:t>‹#›</a:t>
            </a:fld>
            <a:endParaRPr lang="en-US"/>
          </a:p>
        </p:txBody>
      </p:sp>
      <p:grpSp>
        <p:nvGrpSpPr>
          <p:cNvPr id="14" name="Group 4">
            <a:extLst>
              <a:ext uri="{FF2B5EF4-FFF2-40B4-BE49-F238E27FC236}">
                <a16:creationId xmlns:a16="http://schemas.microsoft.com/office/drawing/2014/main" id="{A93CD2BB-2C31-4D11-B4E7-B0762E380CCD}"/>
              </a:ext>
            </a:extLst>
          </p:cNvPr>
          <p:cNvGrpSpPr>
            <a:grpSpLocks noChangeAspect="1"/>
          </p:cNvGrpSpPr>
          <p:nvPr userDrawn="1"/>
        </p:nvGrpSpPr>
        <p:grpSpPr bwMode="auto">
          <a:xfrm>
            <a:off x="8681203" y="6431507"/>
            <a:ext cx="2522538" cy="184150"/>
            <a:chOff x="288" y="4035"/>
            <a:chExt cx="1589" cy="116"/>
          </a:xfrm>
          <a:solidFill>
            <a:srgbClr val="FFFFFF"/>
          </a:solidFill>
        </p:grpSpPr>
        <p:sp>
          <p:nvSpPr>
            <p:cNvPr id="15" name="Freeform 5">
              <a:extLst>
                <a:ext uri="{FF2B5EF4-FFF2-40B4-BE49-F238E27FC236}">
                  <a16:creationId xmlns:a16="http://schemas.microsoft.com/office/drawing/2014/main" id="{9FA2AE9F-8E3C-4DA5-A388-8AE8D3A3C4FF}"/>
                </a:ext>
              </a:extLst>
            </p:cNvPr>
            <p:cNvSpPr>
              <a:spLocks noEditPoints="1"/>
            </p:cNvSpPr>
            <p:nvPr userDrawn="1"/>
          </p:nvSpPr>
          <p:spPr bwMode="auto">
            <a:xfrm>
              <a:off x="288" y="4035"/>
              <a:ext cx="769" cy="116"/>
            </a:xfrm>
            <a:custGeom>
              <a:avLst/>
              <a:gdLst>
                <a:gd name="T0" fmla="*/ 3874 w 3874"/>
                <a:gd name="T1" fmla="*/ 31 h 573"/>
                <a:gd name="T2" fmla="*/ 3527 w 3874"/>
                <a:gd name="T3" fmla="*/ 3 h 573"/>
                <a:gd name="T4" fmla="*/ 3527 w 3874"/>
                <a:gd name="T5" fmla="*/ 59 h 573"/>
                <a:gd name="T6" fmla="*/ 3661 w 3874"/>
                <a:gd name="T7" fmla="*/ 569 h 573"/>
                <a:gd name="T8" fmla="*/ 3713 w 3874"/>
                <a:gd name="T9" fmla="*/ 59 h 573"/>
                <a:gd name="T10" fmla="*/ 3874 w 3874"/>
                <a:gd name="T11" fmla="*/ 31 h 573"/>
                <a:gd name="T12" fmla="*/ 2759 w 3874"/>
                <a:gd name="T13" fmla="*/ 0 h 573"/>
                <a:gd name="T14" fmla="*/ 2523 w 3874"/>
                <a:gd name="T15" fmla="*/ 538 h 573"/>
                <a:gd name="T16" fmla="*/ 2547 w 3874"/>
                <a:gd name="T17" fmla="*/ 573 h 573"/>
                <a:gd name="T18" fmla="*/ 2651 w 3874"/>
                <a:gd name="T19" fmla="*/ 359 h 573"/>
                <a:gd name="T20" fmla="*/ 2954 w 3874"/>
                <a:gd name="T21" fmla="*/ 569 h 573"/>
                <a:gd name="T22" fmla="*/ 2784 w 3874"/>
                <a:gd name="T23" fmla="*/ 16 h 573"/>
                <a:gd name="T24" fmla="*/ 2675 w 3874"/>
                <a:gd name="T25" fmla="*/ 302 h 573"/>
                <a:gd name="T26" fmla="*/ 2760 w 3874"/>
                <a:gd name="T27" fmla="*/ 93 h 573"/>
                <a:gd name="T28" fmla="*/ 2675 w 3874"/>
                <a:gd name="T29" fmla="*/ 302 h 573"/>
                <a:gd name="T30" fmla="*/ 1742 w 3874"/>
                <a:gd name="T31" fmla="*/ 0 h 573"/>
                <a:gd name="T32" fmla="*/ 1549 w 3874"/>
                <a:gd name="T33" fmla="*/ 430 h 573"/>
                <a:gd name="T34" fmla="*/ 1357 w 3874"/>
                <a:gd name="T35" fmla="*/ 0 h 573"/>
                <a:gd name="T36" fmla="*/ 1237 w 3874"/>
                <a:gd name="T37" fmla="*/ 543 h 573"/>
                <a:gd name="T38" fmla="*/ 1261 w 3874"/>
                <a:gd name="T39" fmla="*/ 573 h 573"/>
                <a:gd name="T40" fmla="*/ 1366 w 3874"/>
                <a:gd name="T41" fmla="*/ 116 h 573"/>
                <a:gd name="T42" fmla="*/ 1549 w 3874"/>
                <a:gd name="T43" fmla="*/ 523 h 573"/>
                <a:gd name="T44" fmla="*/ 1732 w 3874"/>
                <a:gd name="T45" fmla="*/ 116 h 573"/>
                <a:gd name="T46" fmla="*/ 1868 w 3874"/>
                <a:gd name="T47" fmla="*/ 570 h 573"/>
                <a:gd name="T48" fmla="*/ 1742 w 3874"/>
                <a:gd name="T49" fmla="*/ 0 h 573"/>
                <a:gd name="T50" fmla="*/ 2226 w 3874"/>
                <a:gd name="T51" fmla="*/ 57 h 573"/>
                <a:gd name="T52" fmla="*/ 2429 w 3874"/>
                <a:gd name="T53" fmla="*/ 124 h 573"/>
                <a:gd name="T54" fmla="*/ 2429 w 3874"/>
                <a:gd name="T55" fmla="*/ 84 h 573"/>
                <a:gd name="T56" fmla="*/ 2226 w 3874"/>
                <a:gd name="T57" fmla="*/ 0 h 573"/>
                <a:gd name="T58" fmla="*/ 2226 w 3874"/>
                <a:gd name="T59" fmla="*/ 573 h 573"/>
                <a:gd name="T60" fmla="*/ 2397 w 3874"/>
                <a:gd name="T61" fmla="*/ 440 h 573"/>
                <a:gd name="T62" fmla="*/ 1996 w 3874"/>
                <a:gd name="T63" fmla="*/ 286 h 573"/>
                <a:gd name="T64" fmla="*/ 285 w 3874"/>
                <a:gd name="T65" fmla="*/ 57 h 573"/>
                <a:gd name="T66" fmla="*/ 448 w 3874"/>
                <a:gd name="T67" fmla="*/ 124 h 573"/>
                <a:gd name="T68" fmla="*/ 497 w 3874"/>
                <a:gd name="T69" fmla="*/ 104 h 573"/>
                <a:gd name="T70" fmla="*/ 485 w 3874"/>
                <a:gd name="T71" fmla="*/ 80 h 573"/>
                <a:gd name="T72" fmla="*/ 0 w 3874"/>
                <a:gd name="T73" fmla="*/ 287 h 573"/>
                <a:gd name="T74" fmla="*/ 497 w 3874"/>
                <a:gd name="T75" fmla="*/ 480 h 573"/>
                <a:gd name="T76" fmla="*/ 286 w 3874"/>
                <a:gd name="T77" fmla="*/ 516 h 573"/>
                <a:gd name="T78" fmla="*/ 285 w 3874"/>
                <a:gd name="T79" fmla="*/ 57 h 573"/>
                <a:gd name="T80" fmla="*/ 3341 w 3874"/>
                <a:gd name="T81" fmla="*/ 290 h 573"/>
                <a:gd name="T82" fmla="*/ 3152 w 3874"/>
                <a:gd name="T83" fmla="*/ 142 h 573"/>
                <a:gd name="T84" fmla="*/ 3361 w 3874"/>
                <a:gd name="T85" fmla="*/ 86 h 573"/>
                <a:gd name="T86" fmla="*/ 3403 w 3874"/>
                <a:gd name="T87" fmla="*/ 61 h 573"/>
                <a:gd name="T88" fmla="*/ 3262 w 3874"/>
                <a:gd name="T89" fmla="*/ 0 h 573"/>
                <a:gd name="T90" fmla="*/ 3194 w 3874"/>
                <a:gd name="T91" fmla="*/ 277 h 573"/>
                <a:gd name="T92" fmla="*/ 3375 w 3874"/>
                <a:gd name="T93" fmla="*/ 423 h 573"/>
                <a:gd name="T94" fmla="*/ 3129 w 3874"/>
                <a:gd name="T95" fmla="*/ 456 h 573"/>
                <a:gd name="T96" fmla="*/ 3082 w 3874"/>
                <a:gd name="T97" fmla="*/ 489 h 573"/>
                <a:gd name="T98" fmla="*/ 3266 w 3874"/>
                <a:gd name="T99" fmla="*/ 572 h 573"/>
                <a:gd name="T100" fmla="*/ 3341 w 3874"/>
                <a:gd name="T101" fmla="*/ 290 h 573"/>
                <a:gd name="T102" fmla="*/ 872 w 3874"/>
                <a:gd name="T103" fmla="*/ 0 h 573"/>
                <a:gd name="T104" fmla="*/ 872 w 3874"/>
                <a:gd name="T105" fmla="*/ 573 h 573"/>
                <a:gd name="T106" fmla="*/ 872 w 3874"/>
                <a:gd name="T107" fmla="*/ 0 h 573"/>
                <a:gd name="T108" fmla="*/ 872 w 3874"/>
                <a:gd name="T109" fmla="*/ 516 h 573"/>
                <a:gd name="T110" fmla="*/ 872 w 3874"/>
                <a:gd name="T111" fmla="*/ 56 h 573"/>
                <a:gd name="T112" fmla="*/ 872 w 3874"/>
                <a:gd name="T113" fmla="*/ 516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874" h="573">
                  <a:moveTo>
                    <a:pt x="3874" y="31"/>
                  </a:moveTo>
                  <a:lnTo>
                    <a:pt x="3874" y="31"/>
                  </a:lnTo>
                  <a:cubicBezTo>
                    <a:pt x="3874" y="16"/>
                    <a:pt x="3861" y="3"/>
                    <a:pt x="3846" y="3"/>
                  </a:cubicBezTo>
                  <a:lnTo>
                    <a:pt x="3527" y="3"/>
                  </a:lnTo>
                  <a:cubicBezTo>
                    <a:pt x="3512" y="3"/>
                    <a:pt x="3499" y="15"/>
                    <a:pt x="3499" y="31"/>
                  </a:cubicBezTo>
                  <a:cubicBezTo>
                    <a:pt x="3499" y="47"/>
                    <a:pt x="3511" y="59"/>
                    <a:pt x="3527" y="59"/>
                  </a:cubicBezTo>
                  <a:lnTo>
                    <a:pt x="3661" y="59"/>
                  </a:lnTo>
                  <a:lnTo>
                    <a:pt x="3661" y="569"/>
                  </a:lnTo>
                  <a:lnTo>
                    <a:pt x="3713" y="569"/>
                  </a:lnTo>
                  <a:lnTo>
                    <a:pt x="3713" y="59"/>
                  </a:lnTo>
                  <a:lnTo>
                    <a:pt x="3846" y="59"/>
                  </a:lnTo>
                  <a:cubicBezTo>
                    <a:pt x="3862" y="60"/>
                    <a:pt x="3874" y="47"/>
                    <a:pt x="3874" y="31"/>
                  </a:cubicBezTo>
                  <a:close/>
                  <a:moveTo>
                    <a:pt x="2759" y="0"/>
                  </a:moveTo>
                  <a:lnTo>
                    <a:pt x="2759" y="0"/>
                  </a:lnTo>
                  <a:cubicBezTo>
                    <a:pt x="2748" y="0"/>
                    <a:pt x="2741" y="7"/>
                    <a:pt x="2735" y="16"/>
                  </a:cubicBezTo>
                  <a:cubicBezTo>
                    <a:pt x="2731" y="26"/>
                    <a:pt x="2523" y="538"/>
                    <a:pt x="2523" y="538"/>
                  </a:cubicBezTo>
                  <a:cubicBezTo>
                    <a:pt x="2522" y="541"/>
                    <a:pt x="2521" y="544"/>
                    <a:pt x="2521" y="547"/>
                  </a:cubicBezTo>
                  <a:cubicBezTo>
                    <a:pt x="2521" y="562"/>
                    <a:pt x="2532" y="573"/>
                    <a:pt x="2547" y="573"/>
                  </a:cubicBezTo>
                  <a:cubicBezTo>
                    <a:pt x="2558" y="573"/>
                    <a:pt x="2567" y="566"/>
                    <a:pt x="2570" y="556"/>
                  </a:cubicBezTo>
                  <a:lnTo>
                    <a:pt x="2651" y="359"/>
                  </a:lnTo>
                  <a:lnTo>
                    <a:pt x="2868" y="359"/>
                  </a:lnTo>
                  <a:lnTo>
                    <a:pt x="2954" y="569"/>
                  </a:lnTo>
                  <a:lnTo>
                    <a:pt x="3009" y="569"/>
                  </a:lnTo>
                  <a:cubicBezTo>
                    <a:pt x="3009" y="569"/>
                    <a:pt x="2788" y="25"/>
                    <a:pt x="2784" y="16"/>
                  </a:cubicBezTo>
                  <a:cubicBezTo>
                    <a:pt x="2779" y="7"/>
                    <a:pt x="2770" y="0"/>
                    <a:pt x="2759" y="0"/>
                  </a:cubicBezTo>
                  <a:close/>
                  <a:moveTo>
                    <a:pt x="2675" y="302"/>
                  </a:moveTo>
                  <a:lnTo>
                    <a:pt x="2675" y="302"/>
                  </a:lnTo>
                  <a:lnTo>
                    <a:pt x="2760" y="93"/>
                  </a:lnTo>
                  <a:lnTo>
                    <a:pt x="2845" y="302"/>
                  </a:lnTo>
                  <a:lnTo>
                    <a:pt x="2675" y="302"/>
                  </a:lnTo>
                  <a:close/>
                  <a:moveTo>
                    <a:pt x="1742" y="0"/>
                  </a:moveTo>
                  <a:lnTo>
                    <a:pt x="1742" y="0"/>
                  </a:lnTo>
                  <a:cubicBezTo>
                    <a:pt x="1731" y="0"/>
                    <a:pt x="1723" y="7"/>
                    <a:pt x="1718" y="16"/>
                  </a:cubicBezTo>
                  <a:cubicBezTo>
                    <a:pt x="1714" y="25"/>
                    <a:pt x="1549" y="430"/>
                    <a:pt x="1549" y="430"/>
                  </a:cubicBezTo>
                  <a:cubicBezTo>
                    <a:pt x="1549" y="430"/>
                    <a:pt x="1385" y="24"/>
                    <a:pt x="1381" y="16"/>
                  </a:cubicBezTo>
                  <a:cubicBezTo>
                    <a:pt x="1376" y="7"/>
                    <a:pt x="1368" y="0"/>
                    <a:pt x="1357" y="0"/>
                  </a:cubicBezTo>
                  <a:cubicBezTo>
                    <a:pt x="1345" y="0"/>
                    <a:pt x="1335" y="9"/>
                    <a:pt x="1332" y="21"/>
                  </a:cubicBezTo>
                  <a:cubicBezTo>
                    <a:pt x="1329" y="33"/>
                    <a:pt x="1237" y="543"/>
                    <a:pt x="1237" y="543"/>
                  </a:cubicBezTo>
                  <a:cubicBezTo>
                    <a:pt x="1237" y="545"/>
                    <a:pt x="1236" y="546"/>
                    <a:pt x="1236" y="548"/>
                  </a:cubicBezTo>
                  <a:cubicBezTo>
                    <a:pt x="1236" y="562"/>
                    <a:pt x="1247" y="573"/>
                    <a:pt x="1261" y="573"/>
                  </a:cubicBezTo>
                  <a:cubicBezTo>
                    <a:pt x="1273" y="573"/>
                    <a:pt x="1284" y="564"/>
                    <a:pt x="1286" y="553"/>
                  </a:cubicBezTo>
                  <a:lnTo>
                    <a:pt x="1366" y="116"/>
                  </a:lnTo>
                  <a:cubicBezTo>
                    <a:pt x="1366" y="116"/>
                    <a:pt x="1521" y="498"/>
                    <a:pt x="1526" y="507"/>
                  </a:cubicBezTo>
                  <a:cubicBezTo>
                    <a:pt x="1530" y="516"/>
                    <a:pt x="1538" y="523"/>
                    <a:pt x="1549" y="523"/>
                  </a:cubicBezTo>
                  <a:cubicBezTo>
                    <a:pt x="1560" y="523"/>
                    <a:pt x="1569" y="516"/>
                    <a:pt x="1573" y="507"/>
                  </a:cubicBezTo>
                  <a:cubicBezTo>
                    <a:pt x="1578" y="498"/>
                    <a:pt x="1732" y="116"/>
                    <a:pt x="1732" y="116"/>
                  </a:cubicBezTo>
                  <a:lnTo>
                    <a:pt x="1816" y="570"/>
                  </a:lnTo>
                  <a:lnTo>
                    <a:pt x="1868" y="570"/>
                  </a:lnTo>
                  <a:cubicBezTo>
                    <a:pt x="1868" y="570"/>
                    <a:pt x="1770" y="33"/>
                    <a:pt x="1767" y="21"/>
                  </a:cubicBezTo>
                  <a:cubicBezTo>
                    <a:pt x="1763" y="9"/>
                    <a:pt x="1754" y="0"/>
                    <a:pt x="1742" y="0"/>
                  </a:cubicBezTo>
                  <a:close/>
                  <a:moveTo>
                    <a:pt x="2226" y="57"/>
                  </a:moveTo>
                  <a:lnTo>
                    <a:pt x="2226" y="57"/>
                  </a:lnTo>
                  <a:cubicBezTo>
                    <a:pt x="2288" y="57"/>
                    <a:pt x="2345" y="80"/>
                    <a:pt x="2389" y="124"/>
                  </a:cubicBezTo>
                  <a:cubicBezTo>
                    <a:pt x="2399" y="134"/>
                    <a:pt x="2419" y="134"/>
                    <a:pt x="2429" y="124"/>
                  </a:cubicBezTo>
                  <a:cubicBezTo>
                    <a:pt x="2434" y="119"/>
                    <a:pt x="2437" y="112"/>
                    <a:pt x="2437" y="104"/>
                  </a:cubicBezTo>
                  <a:cubicBezTo>
                    <a:pt x="2437" y="96"/>
                    <a:pt x="2434" y="89"/>
                    <a:pt x="2429" y="84"/>
                  </a:cubicBezTo>
                  <a:lnTo>
                    <a:pt x="2426" y="80"/>
                  </a:lnTo>
                  <a:cubicBezTo>
                    <a:pt x="2372" y="29"/>
                    <a:pt x="2301" y="0"/>
                    <a:pt x="2226" y="0"/>
                  </a:cubicBezTo>
                  <a:cubicBezTo>
                    <a:pt x="2069" y="0"/>
                    <a:pt x="1940" y="129"/>
                    <a:pt x="1940" y="287"/>
                  </a:cubicBezTo>
                  <a:cubicBezTo>
                    <a:pt x="1940" y="445"/>
                    <a:pt x="2069" y="573"/>
                    <a:pt x="2226" y="573"/>
                  </a:cubicBezTo>
                  <a:cubicBezTo>
                    <a:pt x="2310" y="573"/>
                    <a:pt x="2385" y="538"/>
                    <a:pt x="2437" y="480"/>
                  </a:cubicBezTo>
                  <a:lnTo>
                    <a:pt x="2397" y="440"/>
                  </a:lnTo>
                  <a:cubicBezTo>
                    <a:pt x="2355" y="487"/>
                    <a:pt x="2294" y="516"/>
                    <a:pt x="2226" y="516"/>
                  </a:cubicBezTo>
                  <a:cubicBezTo>
                    <a:pt x="2100" y="516"/>
                    <a:pt x="1996" y="413"/>
                    <a:pt x="1996" y="286"/>
                  </a:cubicBezTo>
                  <a:cubicBezTo>
                    <a:pt x="1996" y="160"/>
                    <a:pt x="2100" y="57"/>
                    <a:pt x="2226" y="57"/>
                  </a:cubicBezTo>
                  <a:close/>
                  <a:moveTo>
                    <a:pt x="285" y="57"/>
                  </a:moveTo>
                  <a:lnTo>
                    <a:pt x="285" y="57"/>
                  </a:lnTo>
                  <a:cubicBezTo>
                    <a:pt x="347" y="57"/>
                    <a:pt x="404" y="80"/>
                    <a:pt x="448" y="124"/>
                  </a:cubicBezTo>
                  <a:cubicBezTo>
                    <a:pt x="459" y="134"/>
                    <a:pt x="478" y="134"/>
                    <a:pt x="488" y="124"/>
                  </a:cubicBezTo>
                  <a:cubicBezTo>
                    <a:pt x="494" y="119"/>
                    <a:pt x="497" y="112"/>
                    <a:pt x="497" y="104"/>
                  </a:cubicBezTo>
                  <a:cubicBezTo>
                    <a:pt x="497" y="96"/>
                    <a:pt x="494" y="89"/>
                    <a:pt x="488" y="84"/>
                  </a:cubicBezTo>
                  <a:lnTo>
                    <a:pt x="485" y="80"/>
                  </a:lnTo>
                  <a:cubicBezTo>
                    <a:pt x="431" y="29"/>
                    <a:pt x="361" y="0"/>
                    <a:pt x="286" y="0"/>
                  </a:cubicBezTo>
                  <a:cubicBezTo>
                    <a:pt x="128" y="0"/>
                    <a:pt x="0" y="129"/>
                    <a:pt x="0" y="287"/>
                  </a:cubicBezTo>
                  <a:cubicBezTo>
                    <a:pt x="0" y="445"/>
                    <a:pt x="128" y="573"/>
                    <a:pt x="286" y="573"/>
                  </a:cubicBezTo>
                  <a:cubicBezTo>
                    <a:pt x="369" y="573"/>
                    <a:pt x="444" y="538"/>
                    <a:pt x="497" y="480"/>
                  </a:cubicBezTo>
                  <a:lnTo>
                    <a:pt x="457" y="440"/>
                  </a:lnTo>
                  <a:cubicBezTo>
                    <a:pt x="415" y="487"/>
                    <a:pt x="353" y="516"/>
                    <a:pt x="286" y="516"/>
                  </a:cubicBezTo>
                  <a:cubicBezTo>
                    <a:pt x="159" y="516"/>
                    <a:pt x="56" y="413"/>
                    <a:pt x="56" y="286"/>
                  </a:cubicBezTo>
                  <a:cubicBezTo>
                    <a:pt x="55" y="160"/>
                    <a:pt x="159" y="57"/>
                    <a:pt x="285" y="57"/>
                  </a:cubicBezTo>
                  <a:close/>
                  <a:moveTo>
                    <a:pt x="3341" y="290"/>
                  </a:moveTo>
                  <a:lnTo>
                    <a:pt x="3341" y="290"/>
                  </a:lnTo>
                  <a:cubicBezTo>
                    <a:pt x="3326" y="282"/>
                    <a:pt x="3233" y="234"/>
                    <a:pt x="3219" y="227"/>
                  </a:cubicBezTo>
                  <a:cubicBezTo>
                    <a:pt x="3170" y="201"/>
                    <a:pt x="3152" y="179"/>
                    <a:pt x="3152" y="142"/>
                  </a:cubicBezTo>
                  <a:cubicBezTo>
                    <a:pt x="3152" y="90"/>
                    <a:pt x="3195" y="56"/>
                    <a:pt x="3262" y="56"/>
                  </a:cubicBezTo>
                  <a:cubicBezTo>
                    <a:pt x="3301" y="56"/>
                    <a:pt x="3339" y="73"/>
                    <a:pt x="3361" y="86"/>
                  </a:cubicBezTo>
                  <a:cubicBezTo>
                    <a:pt x="3365" y="88"/>
                    <a:pt x="3370" y="89"/>
                    <a:pt x="3374" y="89"/>
                  </a:cubicBezTo>
                  <a:cubicBezTo>
                    <a:pt x="3390" y="89"/>
                    <a:pt x="3403" y="77"/>
                    <a:pt x="3403" y="61"/>
                  </a:cubicBezTo>
                  <a:cubicBezTo>
                    <a:pt x="3403" y="51"/>
                    <a:pt x="3397" y="42"/>
                    <a:pt x="3388" y="37"/>
                  </a:cubicBezTo>
                  <a:cubicBezTo>
                    <a:pt x="3361" y="21"/>
                    <a:pt x="3313" y="0"/>
                    <a:pt x="3262" y="0"/>
                  </a:cubicBezTo>
                  <a:cubicBezTo>
                    <a:pt x="3165" y="0"/>
                    <a:pt x="3097" y="58"/>
                    <a:pt x="3097" y="142"/>
                  </a:cubicBezTo>
                  <a:cubicBezTo>
                    <a:pt x="3097" y="217"/>
                    <a:pt x="3146" y="252"/>
                    <a:pt x="3194" y="277"/>
                  </a:cubicBezTo>
                  <a:cubicBezTo>
                    <a:pt x="3208" y="284"/>
                    <a:pt x="3302" y="333"/>
                    <a:pt x="3317" y="340"/>
                  </a:cubicBezTo>
                  <a:cubicBezTo>
                    <a:pt x="3354" y="360"/>
                    <a:pt x="3375" y="390"/>
                    <a:pt x="3375" y="423"/>
                  </a:cubicBezTo>
                  <a:cubicBezTo>
                    <a:pt x="3375" y="468"/>
                    <a:pt x="3337" y="516"/>
                    <a:pt x="3266" y="516"/>
                  </a:cubicBezTo>
                  <a:cubicBezTo>
                    <a:pt x="3196" y="516"/>
                    <a:pt x="3143" y="470"/>
                    <a:pt x="3129" y="456"/>
                  </a:cubicBezTo>
                  <a:lnTo>
                    <a:pt x="3124" y="451"/>
                  </a:lnTo>
                  <a:lnTo>
                    <a:pt x="3082" y="489"/>
                  </a:lnTo>
                  <a:lnTo>
                    <a:pt x="3087" y="494"/>
                  </a:lnTo>
                  <a:cubicBezTo>
                    <a:pt x="3106" y="512"/>
                    <a:pt x="3173" y="572"/>
                    <a:pt x="3266" y="572"/>
                  </a:cubicBezTo>
                  <a:cubicBezTo>
                    <a:pt x="3369" y="572"/>
                    <a:pt x="3431" y="496"/>
                    <a:pt x="3431" y="422"/>
                  </a:cubicBezTo>
                  <a:cubicBezTo>
                    <a:pt x="3431" y="368"/>
                    <a:pt x="3398" y="320"/>
                    <a:pt x="3341" y="290"/>
                  </a:cubicBezTo>
                  <a:close/>
                  <a:moveTo>
                    <a:pt x="872" y="0"/>
                  </a:moveTo>
                  <a:lnTo>
                    <a:pt x="872" y="0"/>
                  </a:lnTo>
                  <a:cubicBezTo>
                    <a:pt x="715" y="0"/>
                    <a:pt x="586" y="129"/>
                    <a:pt x="586" y="287"/>
                  </a:cubicBezTo>
                  <a:cubicBezTo>
                    <a:pt x="586" y="445"/>
                    <a:pt x="715" y="573"/>
                    <a:pt x="872" y="573"/>
                  </a:cubicBezTo>
                  <a:cubicBezTo>
                    <a:pt x="1030" y="573"/>
                    <a:pt x="1159" y="445"/>
                    <a:pt x="1159" y="287"/>
                  </a:cubicBezTo>
                  <a:cubicBezTo>
                    <a:pt x="1159" y="129"/>
                    <a:pt x="1030" y="0"/>
                    <a:pt x="872" y="0"/>
                  </a:cubicBezTo>
                  <a:close/>
                  <a:moveTo>
                    <a:pt x="872" y="516"/>
                  </a:moveTo>
                  <a:lnTo>
                    <a:pt x="872" y="516"/>
                  </a:lnTo>
                  <a:cubicBezTo>
                    <a:pt x="746" y="516"/>
                    <a:pt x="642" y="413"/>
                    <a:pt x="642" y="286"/>
                  </a:cubicBezTo>
                  <a:cubicBezTo>
                    <a:pt x="642" y="159"/>
                    <a:pt x="746" y="56"/>
                    <a:pt x="872" y="56"/>
                  </a:cubicBezTo>
                  <a:cubicBezTo>
                    <a:pt x="999" y="56"/>
                    <a:pt x="1103" y="159"/>
                    <a:pt x="1103" y="286"/>
                  </a:cubicBezTo>
                  <a:cubicBezTo>
                    <a:pt x="1102" y="413"/>
                    <a:pt x="999" y="516"/>
                    <a:pt x="872" y="51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6">
              <a:extLst>
                <a:ext uri="{FF2B5EF4-FFF2-40B4-BE49-F238E27FC236}">
                  <a16:creationId xmlns:a16="http://schemas.microsoft.com/office/drawing/2014/main" id="{E363731A-53D9-4DD5-AD3B-E81099CACC15}"/>
                </a:ext>
              </a:extLst>
            </p:cNvPr>
            <p:cNvSpPr>
              <a:spLocks noEditPoints="1"/>
            </p:cNvSpPr>
            <p:nvPr userDrawn="1"/>
          </p:nvSpPr>
          <p:spPr bwMode="auto">
            <a:xfrm>
              <a:off x="1114" y="4035"/>
              <a:ext cx="763" cy="116"/>
            </a:xfrm>
            <a:custGeom>
              <a:avLst/>
              <a:gdLst>
                <a:gd name="T0" fmla="*/ 3647 w 3842"/>
                <a:gd name="T1" fmla="*/ 576 h 576"/>
                <a:gd name="T2" fmla="*/ 3634 w 3842"/>
                <a:gd name="T3" fmla="*/ 216 h 576"/>
                <a:gd name="T4" fmla="*/ 3742 w 3842"/>
                <a:gd name="T5" fmla="*/ 105 h 576"/>
                <a:gd name="T6" fmla="*/ 3789 w 3842"/>
                <a:gd name="T7" fmla="*/ 28 h 576"/>
                <a:gd name="T8" fmla="*/ 3606 w 3842"/>
                <a:gd name="T9" fmla="*/ 307 h 576"/>
                <a:gd name="T10" fmla="*/ 3656 w 3842"/>
                <a:gd name="T11" fmla="*/ 487 h 576"/>
                <a:gd name="T12" fmla="*/ 2997 w 3842"/>
                <a:gd name="T13" fmla="*/ 491 h 576"/>
                <a:gd name="T14" fmla="*/ 3376 w 3842"/>
                <a:gd name="T15" fmla="*/ 415 h 576"/>
                <a:gd name="T16" fmla="*/ 3116 w 3842"/>
                <a:gd name="T17" fmla="*/ 149 h 576"/>
                <a:gd name="T18" fmla="*/ 3314 w 3842"/>
                <a:gd name="T19" fmla="*/ 116 h 576"/>
                <a:gd name="T20" fmla="*/ 3197 w 3842"/>
                <a:gd name="T21" fmla="*/ 0 h 576"/>
                <a:gd name="T22" fmla="*/ 3217 w 3842"/>
                <a:gd name="T23" fmla="*/ 343 h 576"/>
                <a:gd name="T24" fmla="*/ 3065 w 3842"/>
                <a:gd name="T25" fmla="*/ 428 h 576"/>
                <a:gd name="T26" fmla="*/ 1117 w 3842"/>
                <a:gd name="T27" fmla="*/ 491 h 576"/>
                <a:gd name="T28" fmla="*/ 1381 w 3842"/>
                <a:gd name="T29" fmla="*/ 261 h 576"/>
                <a:gd name="T30" fmla="*/ 1321 w 3842"/>
                <a:gd name="T31" fmla="*/ 87 h 576"/>
                <a:gd name="T32" fmla="*/ 1476 w 3842"/>
                <a:gd name="T33" fmla="*/ 72 h 576"/>
                <a:gd name="T34" fmla="*/ 1140 w 3842"/>
                <a:gd name="T35" fmla="*/ 153 h 576"/>
                <a:gd name="T36" fmla="*/ 1400 w 3842"/>
                <a:gd name="T37" fmla="*/ 417 h 576"/>
                <a:gd name="T38" fmla="*/ 1117 w 3842"/>
                <a:gd name="T39" fmla="*/ 491 h 576"/>
                <a:gd name="T40" fmla="*/ 1903 w 3842"/>
                <a:gd name="T41" fmla="*/ 43 h 576"/>
                <a:gd name="T42" fmla="*/ 1994 w 3842"/>
                <a:gd name="T43" fmla="*/ 531 h 576"/>
                <a:gd name="T44" fmla="*/ 2328 w 3842"/>
                <a:gd name="T45" fmla="*/ 576 h 576"/>
                <a:gd name="T46" fmla="*/ 2282 w 3842"/>
                <a:gd name="T47" fmla="*/ 3 h 576"/>
                <a:gd name="T48" fmla="*/ 1949 w 3842"/>
                <a:gd name="T49" fmla="*/ 0 h 576"/>
                <a:gd name="T50" fmla="*/ 426 w 3842"/>
                <a:gd name="T51" fmla="*/ 402 h 576"/>
                <a:gd name="T52" fmla="*/ 0 w 3842"/>
                <a:gd name="T53" fmla="*/ 47 h 576"/>
                <a:gd name="T54" fmla="*/ 399 w 3842"/>
                <a:gd name="T55" fmla="*/ 147 h 576"/>
                <a:gd name="T56" fmla="*/ 91 w 3842"/>
                <a:gd name="T57" fmla="*/ 230 h 576"/>
                <a:gd name="T58" fmla="*/ 229 w 3842"/>
                <a:gd name="T59" fmla="*/ 92 h 576"/>
                <a:gd name="T60" fmla="*/ 235 w 3842"/>
                <a:gd name="T61" fmla="*/ 484 h 576"/>
                <a:gd name="T62" fmla="*/ 235 w 3842"/>
                <a:gd name="T63" fmla="*/ 314 h 576"/>
                <a:gd name="T64" fmla="*/ 235 w 3842"/>
                <a:gd name="T65" fmla="*/ 484 h 576"/>
                <a:gd name="T66" fmla="*/ 2906 w 3842"/>
                <a:gd name="T67" fmla="*/ 48 h 576"/>
                <a:gd name="T68" fmla="*/ 2532 w 3842"/>
                <a:gd name="T69" fmla="*/ 48 h 576"/>
                <a:gd name="T70" fmla="*/ 2903 w 3842"/>
                <a:gd name="T71" fmla="*/ 573 h 576"/>
                <a:gd name="T72" fmla="*/ 2624 w 3842"/>
                <a:gd name="T73" fmla="*/ 318 h 576"/>
                <a:gd name="T74" fmla="*/ 2834 w 3842"/>
                <a:gd name="T75" fmla="*/ 229 h 576"/>
                <a:gd name="T76" fmla="*/ 2858 w 3842"/>
                <a:gd name="T77" fmla="*/ 92 h 576"/>
                <a:gd name="T78" fmla="*/ 634 w 3842"/>
                <a:gd name="T79" fmla="*/ 44 h 576"/>
                <a:gd name="T80" fmla="*/ 542 w 3842"/>
                <a:gd name="T81" fmla="*/ 343 h 576"/>
                <a:gd name="T82" fmla="*/ 1010 w 3842"/>
                <a:gd name="T83" fmla="*/ 2 h 576"/>
                <a:gd name="T84" fmla="*/ 776 w 3842"/>
                <a:gd name="T85" fmla="*/ 488 h 576"/>
                <a:gd name="T86" fmla="*/ 1676 w 3842"/>
                <a:gd name="T87" fmla="*/ 0 h 576"/>
                <a:gd name="T88" fmla="*/ 1630 w 3842"/>
                <a:gd name="T89" fmla="*/ 572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842" h="576">
                  <a:moveTo>
                    <a:pt x="3464" y="491"/>
                  </a:moveTo>
                  <a:lnTo>
                    <a:pt x="3464" y="491"/>
                  </a:lnTo>
                  <a:cubicBezTo>
                    <a:pt x="3475" y="506"/>
                    <a:pt x="3529" y="576"/>
                    <a:pt x="3647" y="576"/>
                  </a:cubicBezTo>
                  <a:cubicBezTo>
                    <a:pt x="3763" y="576"/>
                    <a:pt x="3842" y="509"/>
                    <a:pt x="3842" y="415"/>
                  </a:cubicBezTo>
                  <a:cubicBezTo>
                    <a:pt x="3842" y="354"/>
                    <a:pt x="3818" y="305"/>
                    <a:pt x="3727" y="261"/>
                  </a:cubicBezTo>
                  <a:cubicBezTo>
                    <a:pt x="3703" y="249"/>
                    <a:pt x="3634" y="216"/>
                    <a:pt x="3634" y="216"/>
                  </a:cubicBezTo>
                  <a:cubicBezTo>
                    <a:pt x="3599" y="199"/>
                    <a:pt x="3583" y="178"/>
                    <a:pt x="3583" y="149"/>
                  </a:cubicBezTo>
                  <a:cubicBezTo>
                    <a:pt x="3583" y="120"/>
                    <a:pt x="3607" y="87"/>
                    <a:pt x="3667" y="87"/>
                  </a:cubicBezTo>
                  <a:cubicBezTo>
                    <a:pt x="3701" y="87"/>
                    <a:pt x="3727" y="98"/>
                    <a:pt x="3742" y="105"/>
                  </a:cubicBezTo>
                  <a:cubicBezTo>
                    <a:pt x="3748" y="108"/>
                    <a:pt x="3764" y="116"/>
                    <a:pt x="3780" y="116"/>
                  </a:cubicBezTo>
                  <a:cubicBezTo>
                    <a:pt x="3800" y="116"/>
                    <a:pt x="3822" y="102"/>
                    <a:pt x="3822" y="72"/>
                  </a:cubicBezTo>
                  <a:cubicBezTo>
                    <a:pt x="3822" y="48"/>
                    <a:pt x="3804" y="35"/>
                    <a:pt x="3789" y="28"/>
                  </a:cubicBezTo>
                  <a:cubicBezTo>
                    <a:pt x="3764" y="16"/>
                    <a:pt x="3726" y="0"/>
                    <a:pt x="3662" y="0"/>
                  </a:cubicBezTo>
                  <a:cubicBezTo>
                    <a:pt x="3561" y="0"/>
                    <a:pt x="3486" y="63"/>
                    <a:pt x="3486" y="153"/>
                  </a:cubicBezTo>
                  <a:cubicBezTo>
                    <a:pt x="3486" y="234"/>
                    <a:pt x="3540" y="275"/>
                    <a:pt x="3606" y="307"/>
                  </a:cubicBezTo>
                  <a:cubicBezTo>
                    <a:pt x="3619" y="312"/>
                    <a:pt x="3668" y="336"/>
                    <a:pt x="3681" y="343"/>
                  </a:cubicBezTo>
                  <a:cubicBezTo>
                    <a:pt x="3724" y="363"/>
                    <a:pt x="3746" y="382"/>
                    <a:pt x="3746" y="417"/>
                  </a:cubicBezTo>
                  <a:cubicBezTo>
                    <a:pt x="3746" y="455"/>
                    <a:pt x="3710" y="487"/>
                    <a:pt x="3656" y="487"/>
                  </a:cubicBezTo>
                  <a:cubicBezTo>
                    <a:pt x="3579" y="487"/>
                    <a:pt x="3538" y="436"/>
                    <a:pt x="3531" y="428"/>
                  </a:cubicBezTo>
                  <a:lnTo>
                    <a:pt x="3464" y="491"/>
                  </a:lnTo>
                  <a:close/>
                  <a:moveTo>
                    <a:pt x="2997" y="491"/>
                  </a:moveTo>
                  <a:lnTo>
                    <a:pt x="2997" y="491"/>
                  </a:lnTo>
                  <a:cubicBezTo>
                    <a:pt x="3009" y="506"/>
                    <a:pt x="3063" y="576"/>
                    <a:pt x="3182" y="576"/>
                  </a:cubicBezTo>
                  <a:cubicBezTo>
                    <a:pt x="3297" y="576"/>
                    <a:pt x="3376" y="509"/>
                    <a:pt x="3376" y="415"/>
                  </a:cubicBezTo>
                  <a:cubicBezTo>
                    <a:pt x="3376" y="354"/>
                    <a:pt x="3352" y="305"/>
                    <a:pt x="3261" y="261"/>
                  </a:cubicBezTo>
                  <a:cubicBezTo>
                    <a:pt x="3237" y="249"/>
                    <a:pt x="3169" y="216"/>
                    <a:pt x="3169" y="216"/>
                  </a:cubicBezTo>
                  <a:cubicBezTo>
                    <a:pt x="3133" y="199"/>
                    <a:pt x="3116" y="178"/>
                    <a:pt x="3116" y="149"/>
                  </a:cubicBezTo>
                  <a:cubicBezTo>
                    <a:pt x="3116" y="120"/>
                    <a:pt x="3141" y="87"/>
                    <a:pt x="3201" y="87"/>
                  </a:cubicBezTo>
                  <a:cubicBezTo>
                    <a:pt x="3235" y="87"/>
                    <a:pt x="3261" y="98"/>
                    <a:pt x="3275" y="105"/>
                  </a:cubicBezTo>
                  <a:cubicBezTo>
                    <a:pt x="3283" y="108"/>
                    <a:pt x="3299" y="116"/>
                    <a:pt x="3314" y="116"/>
                  </a:cubicBezTo>
                  <a:cubicBezTo>
                    <a:pt x="3334" y="116"/>
                    <a:pt x="3356" y="102"/>
                    <a:pt x="3356" y="72"/>
                  </a:cubicBezTo>
                  <a:cubicBezTo>
                    <a:pt x="3356" y="48"/>
                    <a:pt x="3339" y="35"/>
                    <a:pt x="3323" y="28"/>
                  </a:cubicBezTo>
                  <a:cubicBezTo>
                    <a:pt x="3299" y="16"/>
                    <a:pt x="3260" y="0"/>
                    <a:pt x="3197" y="0"/>
                  </a:cubicBezTo>
                  <a:cubicBezTo>
                    <a:pt x="3095" y="0"/>
                    <a:pt x="3020" y="63"/>
                    <a:pt x="3020" y="153"/>
                  </a:cubicBezTo>
                  <a:cubicBezTo>
                    <a:pt x="3020" y="234"/>
                    <a:pt x="3075" y="275"/>
                    <a:pt x="3141" y="307"/>
                  </a:cubicBezTo>
                  <a:cubicBezTo>
                    <a:pt x="3154" y="312"/>
                    <a:pt x="3203" y="336"/>
                    <a:pt x="3217" y="343"/>
                  </a:cubicBezTo>
                  <a:cubicBezTo>
                    <a:pt x="3258" y="363"/>
                    <a:pt x="3280" y="382"/>
                    <a:pt x="3280" y="417"/>
                  </a:cubicBezTo>
                  <a:cubicBezTo>
                    <a:pt x="3280" y="455"/>
                    <a:pt x="3244" y="487"/>
                    <a:pt x="3191" y="487"/>
                  </a:cubicBezTo>
                  <a:cubicBezTo>
                    <a:pt x="3113" y="487"/>
                    <a:pt x="3072" y="436"/>
                    <a:pt x="3065" y="428"/>
                  </a:cubicBezTo>
                  <a:lnTo>
                    <a:pt x="2997" y="491"/>
                  </a:lnTo>
                  <a:close/>
                  <a:moveTo>
                    <a:pt x="1117" y="491"/>
                  </a:moveTo>
                  <a:lnTo>
                    <a:pt x="1117" y="491"/>
                  </a:lnTo>
                  <a:cubicBezTo>
                    <a:pt x="1129" y="506"/>
                    <a:pt x="1182" y="576"/>
                    <a:pt x="1301" y="576"/>
                  </a:cubicBezTo>
                  <a:cubicBezTo>
                    <a:pt x="1417" y="576"/>
                    <a:pt x="1496" y="509"/>
                    <a:pt x="1496" y="415"/>
                  </a:cubicBezTo>
                  <a:cubicBezTo>
                    <a:pt x="1496" y="354"/>
                    <a:pt x="1472" y="305"/>
                    <a:pt x="1381" y="261"/>
                  </a:cubicBezTo>
                  <a:cubicBezTo>
                    <a:pt x="1356" y="249"/>
                    <a:pt x="1288" y="216"/>
                    <a:pt x="1288" y="216"/>
                  </a:cubicBezTo>
                  <a:cubicBezTo>
                    <a:pt x="1252" y="199"/>
                    <a:pt x="1236" y="178"/>
                    <a:pt x="1236" y="149"/>
                  </a:cubicBezTo>
                  <a:cubicBezTo>
                    <a:pt x="1236" y="120"/>
                    <a:pt x="1261" y="87"/>
                    <a:pt x="1321" y="87"/>
                  </a:cubicBezTo>
                  <a:cubicBezTo>
                    <a:pt x="1355" y="87"/>
                    <a:pt x="1381" y="98"/>
                    <a:pt x="1395" y="105"/>
                  </a:cubicBezTo>
                  <a:cubicBezTo>
                    <a:pt x="1402" y="108"/>
                    <a:pt x="1418" y="116"/>
                    <a:pt x="1434" y="116"/>
                  </a:cubicBezTo>
                  <a:cubicBezTo>
                    <a:pt x="1454" y="116"/>
                    <a:pt x="1476" y="102"/>
                    <a:pt x="1476" y="72"/>
                  </a:cubicBezTo>
                  <a:cubicBezTo>
                    <a:pt x="1476" y="48"/>
                    <a:pt x="1458" y="35"/>
                    <a:pt x="1443" y="28"/>
                  </a:cubicBezTo>
                  <a:cubicBezTo>
                    <a:pt x="1418" y="16"/>
                    <a:pt x="1380" y="0"/>
                    <a:pt x="1316" y="0"/>
                  </a:cubicBezTo>
                  <a:cubicBezTo>
                    <a:pt x="1215" y="0"/>
                    <a:pt x="1140" y="63"/>
                    <a:pt x="1140" y="153"/>
                  </a:cubicBezTo>
                  <a:cubicBezTo>
                    <a:pt x="1140" y="234"/>
                    <a:pt x="1195" y="275"/>
                    <a:pt x="1261" y="307"/>
                  </a:cubicBezTo>
                  <a:cubicBezTo>
                    <a:pt x="1273" y="312"/>
                    <a:pt x="1322" y="336"/>
                    <a:pt x="1336" y="343"/>
                  </a:cubicBezTo>
                  <a:cubicBezTo>
                    <a:pt x="1378" y="363"/>
                    <a:pt x="1400" y="382"/>
                    <a:pt x="1400" y="417"/>
                  </a:cubicBezTo>
                  <a:cubicBezTo>
                    <a:pt x="1400" y="455"/>
                    <a:pt x="1364" y="487"/>
                    <a:pt x="1310" y="487"/>
                  </a:cubicBezTo>
                  <a:cubicBezTo>
                    <a:pt x="1233" y="487"/>
                    <a:pt x="1192" y="436"/>
                    <a:pt x="1185" y="428"/>
                  </a:cubicBezTo>
                  <a:lnTo>
                    <a:pt x="1117" y="491"/>
                  </a:lnTo>
                  <a:close/>
                  <a:moveTo>
                    <a:pt x="1949" y="0"/>
                  </a:moveTo>
                  <a:lnTo>
                    <a:pt x="1949" y="0"/>
                  </a:lnTo>
                  <a:cubicBezTo>
                    <a:pt x="1921" y="0"/>
                    <a:pt x="1903" y="19"/>
                    <a:pt x="1903" y="43"/>
                  </a:cubicBezTo>
                  <a:lnTo>
                    <a:pt x="1903" y="531"/>
                  </a:lnTo>
                  <a:cubicBezTo>
                    <a:pt x="1903" y="555"/>
                    <a:pt x="1924" y="575"/>
                    <a:pt x="1949" y="575"/>
                  </a:cubicBezTo>
                  <a:cubicBezTo>
                    <a:pt x="1972" y="575"/>
                    <a:pt x="1994" y="555"/>
                    <a:pt x="1994" y="531"/>
                  </a:cubicBezTo>
                  <a:lnTo>
                    <a:pt x="1994" y="179"/>
                  </a:lnTo>
                  <a:cubicBezTo>
                    <a:pt x="1994" y="179"/>
                    <a:pt x="2218" y="465"/>
                    <a:pt x="2276" y="541"/>
                  </a:cubicBezTo>
                  <a:cubicBezTo>
                    <a:pt x="2291" y="559"/>
                    <a:pt x="2302" y="576"/>
                    <a:pt x="2328" y="576"/>
                  </a:cubicBezTo>
                  <a:cubicBezTo>
                    <a:pt x="2355" y="576"/>
                    <a:pt x="2373" y="556"/>
                    <a:pt x="2373" y="532"/>
                  </a:cubicBezTo>
                  <a:lnTo>
                    <a:pt x="2373" y="3"/>
                  </a:lnTo>
                  <a:lnTo>
                    <a:pt x="2282" y="3"/>
                  </a:lnTo>
                  <a:lnTo>
                    <a:pt x="2282" y="398"/>
                  </a:lnTo>
                  <a:cubicBezTo>
                    <a:pt x="2282" y="398"/>
                    <a:pt x="2033" y="78"/>
                    <a:pt x="1998" y="34"/>
                  </a:cubicBezTo>
                  <a:cubicBezTo>
                    <a:pt x="1982" y="13"/>
                    <a:pt x="1970" y="0"/>
                    <a:pt x="1949" y="0"/>
                  </a:cubicBezTo>
                  <a:close/>
                  <a:moveTo>
                    <a:pt x="342" y="264"/>
                  </a:moveTo>
                  <a:lnTo>
                    <a:pt x="342" y="264"/>
                  </a:lnTo>
                  <a:cubicBezTo>
                    <a:pt x="358" y="272"/>
                    <a:pt x="426" y="301"/>
                    <a:pt x="426" y="402"/>
                  </a:cubicBezTo>
                  <a:cubicBezTo>
                    <a:pt x="426" y="497"/>
                    <a:pt x="355" y="572"/>
                    <a:pt x="252" y="572"/>
                  </a:cubicBezTo>
                  <a:lnTo>
                    <a:pt x="0" y="572"/>
                  </a:lnTo>
                  <a:lnTo>
                    <a:pt x="0" y="47"/>
                  </a:lnTo>
                  <a:cubicBezTo>
                    <a:pt x="0" y="20"/>
                    <a:pt x="18" y="2"/>
                    <a:pt x="44" y="2"/>
                  </a:cubicBezTo>
                  <a:lnTo>
                    <a:pt x="241" y="2"/>
                  </a:lnTo>
                  <a:cubicBezTo>
                    <a:pt x="336" y="2"/>
                    <a:pt x="399" y="59"/>
                    <a:pt x="399" y="147"/>
                  </a:cubicBezTo>
                  <a:cubicBezTo>
                    <a:pt x="399" y="221"/>
                    <a:pt x="357" y="254"/>
                    <a:pt x="342" y="264"/>
                  </a:cubicBezTo>
                  <a:close/>
                  <a:moveTo>
                    <a:pt x="91" y="230"/>
                  </a:moveTo>
                  <a:lnTo>
                    <a:pt x="91" y="230"/>
                  </a:lnTo>
                  <a:lnTo>
                    <a:pt x="229" y="230"/>
                  </a:lnTo>
                  <a:cubicBezTo>
                    <a:pt x="278" y="230"/>
                    <a:pt x="306" y="199"/>
                    <a:pt x="306" y="161"/>
                  </a:cubicBezTo>
                  <a:cubicBezTo>
                    <a:pt x="306" y="123"/>
                    <a:pt x="281" y="92"/>
                    <a:pt x="229" y="92"/>
                  </a:cubicBezTo>
                  <a:lnTo>
                    <a:pt x="91" y="92"/>
                  </a:lnTo>
                  <a:lnTo>
                    <a:pt x="91" y="230"/>
                  </a:lnTo>
                  <a:close/>
                  <a:moveTo>
                    <a:pt x="235" y="484"/>
                  </a:moveTo>
                  <a:lnTo>
                    <a:pt x="235" y="484"/>
                  </a:lnTo>
                  <a:cubicBezTo>
                    <a:pt x="300" y="484"/>
                    <a:pt x="333" y="446"/>
                    <a:pt x="333" y="400"/>
                  </a:cubicBezTo>
                  <a:cubicBezTo>
                    <a:pt x="333" y="352"/>
                    <a:pt x="301" y="314"/>
                    <a:pt x="235" y="314"/>
                  </a:cubicBezTo>
                  <a:lnTo>
                    <a:pt x="91" y="314"/>
                  </a:lnTo>
                  <a:lnTo>
                    <a:pt x="91" y="484"/>
                  </a:lnTo>
                  <a:lnTo>
                    <a:pt x="235" y="484"/>
                  </a:lnTo>
                  <a:close/>
                  <a:moveTo>
                    <a:pt x="2858" y="92"/>
                  </a:moveTo>
                  <a:lnTo>
                    <a:pt x="2858" y="92"/>
                  </a:lnTo>
                  <a:cubicBezTo>
                    <a:pt x="2888" y="92"/>
                    <a:pt x="2906" y="73"/>
                    <a:pt x="2906" y="48"/>
                  </a:cubicBezTo>
                  <a:cubicBezTo>
                    <a:pt x="2906" y="23"/>
                    <a:pt x="2887" y="3"/>
                    <a:pt x="2858" y="3"/>
                  </a:cubicBezTo>
                  <a:lnTo>
                    <a:pt x="2576" y="3"/>
                  </a:lnTo>
                  <a:cubicBezTo>
                    <a:pt x="2551" y="3"/>
                    <a:pt x="2532" y="22"/>
                    <a:pt x="2532" y="48"/>
                  </a:cubicBezTo>
                  <a:lnTo>
                    <a:pt x="2532" y="529"/>
                  </a:lnTo>
                  <a:cubicBezTo>
                    <a:pt x="2532" y="554"/>
                    <a:pt x="2551" y="573"/>
                    <a:pt x="2576" y="573"/>
                  </a:cubicBezTo>
                  <a:lnTo>
                    <a:pt x="2903" y="573"/>
                  </a:lnTo>
                  <a:lnTo>
                    <a:pt x="2903" y="484"/>
                  </a:lnTo>
                  <a:lnTo>
                    <a:pt x="2624" y="484"/>
                  </a:lnTo>
                  <a:lnTo>
                    <a:pt x="2624" y="318"/>
                  </a:lnTo>
                  <a:lnTo>
                    <a:pt x="2834" y="318"/>
                  </a:lnTo>
                  <a:cubicBezTo>
                    <a:pt x="2866" y="318"/>
                    <a:pt x="2884" y="299"/>
                    <a:pt x="2884" y="274"/>
                  </a:cubicBezTo>
                  <a:cubicBezTo>
                    <a:pt x="2884" y="248"/>
                    <a:pt x="2867" y="229"/>
                    <a:pt x="2834" y="229"/>
                  </a:cubicBezTo>
                  <a:lnTo>
                    <a:pt x="2624" y="229"/>
                  </a:lnTo>
                  <a:lnTo>
                    <a:pt x="2624" y="92"/>
                  </a:lnTo>
                  <a:lnTo>
                    <a:pt x="2858" y="92"/>
                  </a:lnTo>
                  <a:close/>
                  <a:moveTo>
                    <a:pt x="634" y="346"/>
                  </a:moveTo>
                  <a:lnTo>
                    <a:pt x="634" y="346"/>
                  </a:lnTo>
                  <a:lnTo>
                    <a:pt x="634" y="44"/>
                  </a:lnTo>
                  <a:cubicBezTo>
                    <a:pt x="634" y="19"/>
                    <a:pt x="616" y="0"/>
                    <a:pt x="588" y="0"/>
                  </a:cubicBezTo>
                  <a:cubicBezTo>
                    <a:pt x="560" y="0"/>
                    <a:pt x="542" y="19"/>
                    <a:pt x="542" y="44"/>
                  </a:cubicBezTo>
                  <a:lnTo>
                    <a:pt x="542" y="343"/>
                  </a:lnTo>
                  <a:cubicBezTo>
                    <a:pt x="542" y="471"/>
                    <a:pt x="632" y="575"/>
                    <a:pt x="776" y="575"/>
                  </a:cubicBezTo>
                  <a:cubicBezTo>
                    <a:pt x="920" y="575"/>
                    <a:pt x="1010" y="471"/>
                    <a:pt x="1010" y="343"/>
                  </a:cubicBezTo>
                  <a:lnTo>
                    <a:pt x="1010" y="2"/>
                  </a:lnTo>
                  <a:lnTo>
                    <a:pt x="918" y="2"/>
                  </a:lnTo>
                  <a:lnTo>
                    <a:pt x="918" y="345"/>
                  </a:lnTo>
                  <a:cubicBezTo>
                    <a:pt x="918" y="421"/>
                    <a:pt x="867" y="488"/>
                    <a:pt x="776" y="488"/>
                  </a:cubicBezTo>
                  <a:cubicBezTo>
                    <a:pt x="684" y="489"/>
                    <a:pt x="634" y="422"/>
                    <a:pt x="634" y="346"/>
                  </a:cubicBezTo>
                  <a:close/>
                  <a:moveTo>
                    <a:pt x="1676" y="0"/>
                  </a:moveTo>
                  <a:lnTo>
                    <a:pt x="1676" y="0"/>
                  </a:lnTo>
                  <a:cubicBezTo>
                    <a:pt x="1704" y="0"/>
                    <a:pt x="1722" y="19"/>
                    <a:pt x="1722" y="44"/>
                  </a:cubicBezTo>
                  <a:lnTo>
                    <a:pt x="1722" y="572"/>
                  </a:lnTo>
                  <a:lnTo>
                    <a:pt x="1630" y="572"/>
                  </a:lnTo>
                  <a:lnTo>
                    <a:pt x="1630" y="44"/>
                  </a:lnTo>
                  <a:cubicBezTo>
                    <a:pt x="1630" y="19"/>
                    <a:pt x="1647" y="0"/>
                    <a:pt x="167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72445142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861E3C-7635-4044-B5F5-389F4006992A}"/>
              </a:ext>
            </a:extLst>
          </p:cNvPr>
          <p:cNvSpPr>
            <a:spLocks noGrp="1"/>
          </p:cNvSpPr>
          <p:nvPr>
            <p:ph type="title" hasCustomPrompt="1"/>
          </p:nvPr>
        </p:nvSpPr>
        <p:spPr>
          <a:xfrm>
            <a:off x="429488" y="685800"/>
            <a:ext cx="11305312" cy="822960"/>
          </a:xfrm>
        </p:spPr>
        <p:txBody>
          <a:bodyPr/>
          <a:lstStyle>
            <a:lvl1pPr>
              <a:defRPr/>
            </a:lvl1pPr>
          </a:lstStyle>
          <a:p>
            <a:r>
              <a:rPr lang="en-US"/>
              <a:t>Slide title, 32pt </a:t>
            </a:r>
            <a:r>
              <a:rPr lang="en-GB"/>
              <a:t>Regular</a:t>
            </a:r>
            <a:endParaRPr lang="en-US"/>
          </a:p>
        </p:txBody>
      </p:sp>
      <p:sp>
        <p:nvSpPr>
          <p:cNvPr id="3" name="Content Placeholder 2">
            <a:extLst>
              <a:ext uri="{FF2B5EF4-FFF2-40B4-BE49-F238E27FC236}">
                <a16:creationId xmlns:a16="http://schemas.microsoft.com/office/drawing/2014/main" id="{A52E098B-E875-4463-B2CE-5E6DCFC38DB7}"/>
              </a:ext>
            </a:extLst>
          </p:cNvPr>
          <p:cNvSpPr>
            <a:spLocks noGrp="1"/>
          </p:cNvSpPr>
          <p:nvPr>
            <p:ph idx="1" hasCustomPrompt="1"/>
          </p:nvPr>
        </p:nvSpPr>
        <p:spPr/>
        <p:txBody>
          <a:bodyPr/>
          <a:lstStyle>
            <a:lvl1pPr>
              <a:defRPr/>
            </a:lvl1pPr>
            <a:lvl2pPr>
              <a:defRPr/>
            </a:lvl2pPr>
            <a:lvl3pPr>
              <a:defRPr/>
            </a:lvl3pPr>
            <a:lvl4pPr>
              <a:defRPr/>
            </a:lvl4pPr>
            <a:lvl5pPr>
              <a:defRPr/>
            </a:lvl5pPr>
          </a:lstStyle>
          <a:p>
            <a:pPr lvl="0"/>
            <a:r>
              <a:rPr lang="en-US"/>
              <a:t>First level, 20pt Regular</a:t>
            </a:r>
          </a:p>
          <a:p>
            <a:pPr lvl="1"/>
            <a:r>
              <a:rPr lang="en-US"/>
              <a:t>Second level, 18pt</a:t>
            </a:r>
          </a:p>
          <a:p>
            <a:pPr lvl="2"/>
            <a:r>
              <a:rPr lang="en-US"/>
              <a:t>Third level, 16pt</a:t>
            </a:r>
          </a:p>
          <a:p>
            <a:pPr lvl="3"/>
            <a:r>
              <a:rPr lang="en-US"/>
              <a:t>Fourth level, 14pt</a:t>
            </a:r>
          </a:p>
          <a:p>
            <a:pPr lvl="4"/>
            <a:r>
              <a:rPr lang="en-US"/>
              <a:t>Fifth level, 12pt Bold, use for captions</a:t>
            </a:r>
          </a:p>
        </p:txBody>
      </p:sp>
      <p:sp>
        <p:nvSpPr>
          <p:cNvPr id="5" name="Footer Placeholder 4">
            <a:extLst>
              <a:ext uri="{FF2B5EF4-FFF2-40B4-BE49-F238E27FC236}">
                <a16:creationId xmlns:a16="http://schemas.microsoft.com/office/drawing/2014/main" id="{C14AA5F4-B3DC-4C34-A0DE-CA330DA5F39B}"/>
              </a:ext>
            </a:extLst>
          </p:cNvPr>
          <p:cNvSpPr>
            <a:spLocks noGrp="1"/>
          </p:cNvSpPr>
          <p:nvPr>
            <p:ph type="ftr" sz="quarter" idx="11"/>
          </p:nvPr>
        </p:nvSpPr>
        <p:spPr/>
        <p:txBody>
          <a:bodyPr/>
          <a:lstStyle/>
          <a:p>
            <a:r>
              <a:rPr lang="en-US"/>
              <a:t>Copyright © 2021 Comcast Business. All rights reserved.</a:t>
            </a:r>
          </a:p>
        </p:txBody>
      </p:sp>
      <p:sp>
        <p:nvSpPr>
          <p:cNvPr id="6" name="Slide Number Placeholder 5">
            <a:extLst>
              <a:ext uri="{FF2B5EF4-FFF2-40B4-BE49-F238E27FC236}">
                <a16:creationId xmlns:a16="http://schemas.microsoft.com/office/drawing/2014/main" id="{9AE1DEDB-F1A2-4073-8F94-8F34A35FA7EE}"/>
              </a:ext>
            </a:extLst>
          </p:cNvPr>
          <p:cNvSpPr>
            <a:spLocks noGrp="1"/>
          </p:cNvSpPr>
          <p:nvPr>
            <p:ph type="sldNum" sz="quarter" idx="12"/>
          </p:nvPr>
        </p:nvSpPr>
        <p:spPr/>
        <p:txBody>
          <a:bodyPr/>
          <a:lstStyle/>
          <a:p>
            <a:fld id="{A07A7439-3E0E-4A6B-9524-3A8EBA819993}" type="slidenum">
              <a:rPr lang="en-US" smtClean="0"/>
              <a:t>‹#›</a:t>
            </a:fld>
            <a:endParaRPr lang="en-US"/>
          </a:p>
        </p:txBody>
      </p:sp>
      <p:sp>
        <p:nvSpPr>
          <p:cNvPr id="9" name="Text Placeholder 8">
            <a:extLst>
              <a:ext uri="{FF2B5EF4-FFF2-40B4-BE49-F238E27FC236}">
                <a16:creationId xmlns:a16="http://schemas.microsoft.com/office/drawing/2014/main" id="{4C8AB70E-6862-463B-B409-040561D73972}"/>
              </a:ext>
            </a:extLst>
          </p:cNvPr>
          <p:cNvSpPr>
            <a:spLocks noGrp="1"/>
          </p:cNvSpPr>
          <p:nvPr>
            <p:ph type="body" sz="quarter" idx="13" hasCustomPrompt="1"/>
          </p:nvPr>
        </p:nvSpPr>
        <p:spPr>
          <a:xfrm>
            <a:off x="457317" y="411480"/>
            <a:ext cx="6400800" cy="182880"/>
          </a:xfrm>
        </p:spPr>
        <p:txBody>
          <a:bodyPr/>
          <a:lstStyle>
            <a:lvl1pPr marL="0" indent="0">
              <a:buNone/>
              <a:defRPr sz="1200">
                <a:solidFill>
                  <a:schemeClr val="accent1"/>
                </a:solidFill>
              </a:defRPr>
            </a:lvl1pPr>
            <a:lvl2pPr marL="228600" indent="0">
              <a:buNone/>
              <a:defRPr/>
            </a:lvl2pPr>
          </a:lstStyle>
          <a:p>
            <a:pPr lvl="0"/>
            <a:r>
              <a:rPr lang="en-US"/>
              <a:t>Optional subtitle, 12pt Regular</a:t>
            </a:r>
          </a:p>
        </p:txBody>
      </p:sp>
    </p:spTree>
    <p:extLst>
      <p:ext uri="{BB962C8B-B14F-4D97-AF65-F5344CB8AC3E}">
        <p14:creationId xmlns:p14="http://schemas.microsoft.com/office/powerpoint/2010/main" val="296335085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8194D4-3A07-4F1A-882C-C717883D954E}"/>
              </a:ext>
            </a:extLst>
          </p:cNvPr>
          <p:cNvSpPr>
            <a:spLocks noGrp="1"/>
          </p:cNvSpPr>
          <p:nvPr>
            <p:ph type="title" hasCustomPrompt="1"/>
          </p:nvPr>
        </p:nvSpPr>
        <p:spPr>
          <a:xfrm>
            <a:off x="429488" y="685800"/>
            <a:ext cx="11305313" cy="822960"/>
          </a:xfrm>
        </p:spPr>
        <p:txBody>
          <a:bodyPr/>
          <a:lstStyle>
            <a:lvl1pPr>
              <a:defRPr/>
            </a:lvl1pPr>
          </a:lstStyle>
          <a:p>
            <a:r>
              <a:rPr lang="en-US"/>
              <a:t>Slide title, 32pt </a:t>
            </a:r>
            <a:r>
              <a:rPr lang="en-GB"/>
              <a:t>Regular</a:t>
            </a:r>
            <a:endParaRPr lang="en-US"/>
          </a:p>
        </p:txBody>
      </p:sp>
      <p:sp>
        <p:nvSpPr>
          <p:cNvPr id="3" name="Content Placeholder 2">
            <a:extLst>
              <a:ext uri="{FF2B5EF4-FFF2-40B4-BE49-F238E27FC236}">
                <a16:creationId xmlns:a16="http://schemas.microsoft.com/office/drawing/2014/main" id="{4A3FEAB6-B0ED-45C1-BC37-9D92F6B30BE6}"/>
              </a:ext>
            </a:extLst>
          </p:cNvPr>
          <p:cNvSpPr>
            <a:spLocks noGrp="1"/>
          </p:cNvSpPr>
          <p:nvPr>
            <p:ph sz="half" idx="1" hasCustomPrompt="1"/>
          </p:nvPr>
        </p:nvSpPr>
        <p:spPr>
          <a:xfrm>
            <a:off x="445207" y="1645920"/>
            <a:ext cx="5486400" cy="4663440"/>
          </a:xfrm>
        </p:spPr>
        <p:txBody>
          <a:bodyPr/>
          <a:lstStyle>
            <a:lvl1pPr>
              <a:defRPr/>
            </a:lvl1pPr>
          </a:lstStyle>
          <a:p>
            <a:pPr lvl="0"/>
            <a:r>
              <a:rPr lang="en-US"/>
              <a:t>First level, 20pt Regular</a:t>
            </a:r>
          </a:p>
          <a:p>
            <a:pPr lvl="1"/>
            <a:r>
              <a:rPr lang="en-US"/>
              <a:t>Second level, 18pt</a:t>
            </a:r>
          </a:p>
          <a:p>
            <a:pPr lvl="2"/>
            <a:r>
              <a:rPr lang="en-US"/>
              <a:t>Third level, 16pt</a:t>
            </a:r>
          </a:p>
          <a:p>
            <a:pPr lvl="3"/>
            <a:r>
              <a:rPr lang="en-US"/>
              <a:t>Fourth level, 14pt</a:t>
            </a:r>
          </a:p>
          <a:p>
            <a:pPr lvl="4"/>
            <a:r>
              <a:rPr lang="en-US"/>
              <a:t>Fifth level, 12pt Bold, use for captions</a:t>
            </a:r>
          </a:p>
        </p:txBody>
      </p:sp>
      <p:sp>
        <p:nvSpPr>
          <p:cNvPr id="4" name="Content Placeholder 3">
            <a:extLst>
              <a:ext uri="{FF2B5EF4-FFF2-40B4-BE49-F238E27FC236}">
                <a16:creationId xmlns:a16="http://schemas.microsoft.com/office/drawing/2014/main" id="{1582D711-78AA-40DF-9ED8-0A7123D2D990}"/>
              </a:ext>
            </a:extLst>
          </p:cNvPr>
          <p:cNvSpPr>
            <a:spLocks noGrp="1"/>
          </p:cNvSpPr>
          <p:nvPr>
            <p:ph sz="half" idx="2" hasCustomPrompt="1"/>
          </p:nvPr>
        </p:nvSpPr>
        <p:spPr>
          <a:xfrm>
            <a:off x="6245350" y="1645920"/>
            <a:ext cx="5486400" cy="4663440"/>
          </a:xfrm>
        </p:spPr>
        <p:txBody>
          <a:bodyPr/>
          <a:lstStyle>
            <a:lvl1pPr>
              <a:defRPr/>
            </a:lvl1pPr>
          </a:lstStyle>
          <a:p>
            <a:pPr lvl="0"/>
            <a:r>
              <a:rPr lang="en-US"/>
              <a:t>First level, 20pt Regular</a:t>
            </a:r>
          </a:p>
          <a:p>
            <a:pPr lvl="1"/>
            <a:r>
              <a:rPr lang="en-US"/>
              <a:t>Second level, 18pt</a:t>
            </a:r>
          </a:p>
          <a:p>
            <a:pPr lvl="2"/>
            <a:r>
              <a:rPr lang="en-US"/>
              <a:t>Third level, 16pt</a:t>
            </a:r>
          </a:p>
          <a:p>
            <a:pPr lvl="3"/>
            <a:r>
              <a:rPr lang="en-US"/>
              <a:t>Fourth level, 14pt</a:t>
            </a:r>
          </a:p>
          <a:p>
            <a:pPr lvl="4"/>
            <a:r>
              <a:rPr lang="en-US"/>
              <a:t>Fifth level, 12pt Bold, use for captions</a:t>
            </a:r>
          </a:p>
        </p:txBody>
      </p:sp>
      <p:sp>
        <p:nvSpPr>
          <p:cNvPr id="6" name="Footer Placeholder 5">
            <a:extLst>
              <a:ext uri="{FF2B5EF4-FFF2-40B4-BE49-F238E27FC236}">
                <a16:creationId xmlns:a16="http://schemas.microsoft.com/office/drawing/2014/main" id="{6666C29D-03F7-467C-85B3-28F7651F8315}"/>
              </a:ext>
            </a:extLst>
          </p:cNvPr>
          <p:cNvSpPr>
            <a:spLocks noGrp="1"/>
          </p:cNvSpPr>
          <p:nvPr>
            <p:ph type="ftr" sz="quarter" idx="11"/>
          </p:nvPr>
        </p:nvSpPr>
        <p:spPr/>
        <p:txBody>
          <a:bodyPr/>
          <a:lstStyle/>
          <a:p>
            <a:r>
              <a:rPr lang="en-US"/>
              <a:t>Copyright © 2021 Comcast Business. All rights reserved.</a:t>
            </a:r>
          </a:p>
        </p:txBody>
      </p:sp>
      <p:sp>
        <p:nvSpPr>
          <p:cNvPr id="7" name="Slide Number Placeholder 6">
            <a:extLst>
              <a:ext uri="{FF2B5EF4-FFF2-40B4-BE49-F238E27FC236}">
                <a16:creationId xmlns:a16="http://schemas.microsoft.com/office/drawing/2014/main" id="{51B86CBB-8A54-4818-8CC6-A9598ED3AFFA}"/>
              </a:ext>
            </a:extLst>
          </p:cNvPr>
          <p:cNvSpPr>
            <a:spLocks noGrp="1"/>
          </p:cNvSpPr>
          <p:nvPr>
            <p:ph type="sldNum" sz="quarter" idx="12"/>
          </p:nvPr>
        </p:nvSpPr>
        <p:spPr/>
        <p:txBody>
          <a:bodyPr/>
          <a:lstStyle/>
          <a:p>
            <a:fld id="{A07A7439-3E0E-4A6B-9524-3A8EBA819993}" type="slidenum">
              <a:rPr lang="en-US" smtClean="0"/>
              <a:t>‹#›</a:t>
            </a:fld>
            <a:endParaRPr lang="en-US"/>
          </a:p>
        </p:txBody>
      </p:sp>
      <p:sp>
        <p:nvSpPr>
          <p:cNvPr id="8" name="Text Placeholder 8">
            <a:extLst>
              <a:ext uri="{FF2B5EF4-FFF2-40B4-BE49-F238E27FC236}">
                <a16:creationId xmlns:a16="http://schemas.microsoft.com/office/drawing/2014/main" id="{349B0992-35C7-46C1-990D-C73E0A449734}"/>
              </a:ext>
            </a:extLst>
          </p:cNvPr>
          <p:cNvSpPr>
            <a:spLocks noGrp="1"/>
          </p:cNvSpPr>
          <p:nvPr>
            <p:ph type="body" sz="quarter" idx="13" hasCustomPrompt="1"/>
          </p:nvPr>
        </p:nvSpPr>
        <p:spPr>
          <a:xfrm>
            <a:off x="457200" y="411480"/>
            <a:ext cx="6400800" cy="182880"/>
          </a:xfrm>
        </p:spPr>
        <p:txBody>
          <a:bodyPr/>
          <a:lstStyle>
            <a:lvl1pPr marL="0" indent="0">
              <a:buNone/>
              <a:defRPr sz="1200">
                <a:solidFill>
                  <a:schemeClr val="accent1"/>
                </a:solidFill>
              </a:defRPr>
            </a:lvl1pPr>
            <a:lvl2pPr marL="228600" indent="0">
              <a:buNone/>
              <a:defRPr/>
            </a:lvl2pPr>
          </a:lstStyle>
          <a:p>
            <a:pPr lvl="0"/>
            <a:r>
              <a:rPr lang="en-US"/>
              <a:t>Optional subtitle, 12pt Regular</a:t>
            </a:r>
          </a:p>
        </p:txBody>
      </p:sp>
    </p:spTree>
    <p:extLst>
      <p:ext uri="{BB962C8B-B14F-4D97-AF65-F5344CB8AC3E}">
        <p14:creationId xmlns:p14="http://schemas.microsoft.com/office/powerpoint/2010/main" val="373411896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Statement 1">
    <p:bg>
      <p:bgPr>
        <a:solidFill>
          <a:schemeClr val="accent1"/>
        </a:solid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A3FEAB6-B0ED-45C1-BC37-9D92F6B30BE6}"/>
              </a:ext>
            </a:extLst>
          </p:cNvPr>
          <p:cNvSpPr>
            <a:spLocks noGrp="1"/>
          </p:cNvSpPr>
          <p:nvPr>
            <p:ph sz="half" idx="1" hasCustomPrompt="1"/>
          </p:nvPr>
        </p:nvSpPr>
        <p:spPr>
          <a:xfrm>
            <a:off x="448205" y="1645920"/>
            <a:ext cx="5486400" cy="4665980"/>
          </a:xfrm>
        </p:spPr>
        <p:txBody>
          <a:bodyPr/>
          <a:lstStyle>
            <a:lvl1pPr marL="0" indent="0">
              <a:buNone/>
              <a:defRPr sz="4000">
                <a:solidFill>
                  <a:schemeClr val="bg1"/>
                </a:solidFill>
                <a:latin typeface="+mj-lt"/>
              </a:defRPr>
            </a:lvl1pPr>
          </a:lstStyle>
          <a:p>
            <a:pPr lvl="0"/>
            <a:r>
              <a:rPr lang="en-US"/>
              <a:t>Single level, 40pt </a:t>
            </a:r>
            <a:r>
              <a:rPr lang="en-GB"/>
              <a:t>Regular</a:t>
            </a:r>
            <a:endParaRPr lang="en-US"/>
          </a:p>
        </p:txBody>
      </p:sp>
      <p:sp>
        <p:nvSpPr>
          <p:cNvPr id="4" name="Content Placeholder 3">
            <a:extLst>
              <a:ext uri="{FF2B5EF4-FFF2-40B4-BE49-F238E27FC236}">
                <a16:creationId xmlns:a16="http://schemas.microsoft.com/office/drawing/2014/main" id="{1582D711-78AA-40DF-9ED8-0A7123D2D990}"/>
              </a:ext>
            </a:extLst>
          </p:cNvPr>
          <p:cNvSpPr>
            <a:spLocks noGrp="1"/>
          </p:cNvSpPr>
          <p:nvPr>
            <p:ph sz="half" idx="2" hasCustomPrompt="1"/>
          </p:nvPr>
        </p:nvSpPr>
        <p:spPr>
          <a:xfrm>
            <a:off x="6245350" y="1645920"/>
            <a:ext cx="5486400" cy="4663440"/>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First level, 20pt Regular</a:t>
            </a:r>
          </a:p>
          <a:p>
            <a:pPr lvl="1"/>
            <a:r>
              <a:rPr lang="en-US"/>
              <a:t>Second level, 18pt</a:t>
            </a:r>
          </a:p>
          <a:p>
            <a:pPr lvl="2"/>
            <a:r>
              <a:rPr lang="en-US"/>
              <a:t>Third level, 16pt</a:t>
            </a:r>
          </a:p>
          <a:p>
            <a:pPr lvl="3"/>
            <a:r>
              <a:rPr lang="en-US"/>
              <a:t>Fourth level, 14pt</a:t>
            </a:r>
          </a:p>
          <a:p>
            <a:pPr lvl="4"/>
            <a:r>
              <a:rPr lang="en-US"/>
              <a:t>Fifth level, 12pt Bold, use for captions</a:t>
            </a:r>
          </a:p>
        </p:txBody>
      </p:sp>
      <p:sp>
        <p:nvSpPr>
          <p:cNvPr id="6" name="Footer Placeholder 5">
            <a:extLst>
              <a:ext uri="{FF2B5EF4-FFF2-40B4-BE49-F238E27FC236}">
                <a16:creationId xmlns:a16="http://schemas.microsoft.com/office/drawing/2014/main" id="{6666C29D-03F7-467C-85B3-28F7651F8315}"/>
              </a:ext>
            </a:extLst>
          </p:cNvPr>
          <p:cNvSpPr>
            <a:spLocks noGrp="1"/>
          </p:cNvSpPr>
          <p:nvPr>
            <p:ph type="ftr" sz="quarter" idx="11"/>
          </p:nvPr>
        </p:nvSpPr>
        <p:spPr/>
        <p:txBody>
          <a:bodyPr/>
          <a:lstStyle>
            <a:lvl1pPr algn="l">
              <a:defRPr>
                <a:solidFill>
                  <a:schemeClr val="bg1"/>
                </a:solidFill>
              </a:defRPr>
            </a:lvl1pPr>
          </a:lstStyle>
          <a:p>
            <a:r>
              <a:rPr lang="en-US"/>
              <a:t>Copyright © 2021 Comcast Business. All rights reserved.</a:t>
            </a:r>
          </a:p>
        </p:txBody>
      </p:sp>
      <p:sp>
        <p:nvSpPr>
          <p:cNvPr id="7" name="Slide Number Placeholder 6">
            <a:extLst>
              <a:ext uri="{FF2B5EF4-FFF2-40B4-BE49-F238E27FC236}">
                <a16:creationId xmlns:a16="http://schemas.microsoft.com/office/drawing/2014/main" id="{51B86CBB-8A54-4818-8CC6-A9598ED3AFFA}"/>
              </a:ext>
            </a:extLst>
          </p:cNvPr>
          <p:cNvSpPr>
            <a:spLocks noGrp="1"/>
          </p:cNvSpPr>
          <p:nvPr>
            <p:ph type="sldNum" sz="quarter" idx="12"/>
          </p:nvPr>
        </p:nvSpPr>
        <p:spPr/>
        <p:txBody>
          <a:bodyPr/>
          <a:lstStyle>
            <a:lvl1pPr>
              <a:defRPr>
                <a:solidFill>
                  <a:schemeClr val="bg1"/>
                </a:solidFill>
              </a:defRPr>
            </a:lvl1pPr>
          </a:lstStyle>
          <a:p>
            <a:fld id="{A07A7439-3E0E-4A6B-9524-3A8EBA819993}" type="slidenum">
              <a:rPr lang="en-US" smtClean="0"/>
              <a:pPr/>
              <a:t>‹#›</a:t>
            </a:fld>
            <a:endParaRPr lang="en-US"/>
          </a:p>
        </p:txBody>
      </p:sp>
      <p:sp>
        <p:nvSpPr>
          <p:cNvPr id="8" name="Text Placeholder 8">
            <a:extLst>
              <a:ext uri="{FF2B5EF4-FFF2-40B4-BE49-F238E27FC236}">
                <a16:creationId xmlns:a16="http://schemas.microsoft.com/office/drawing/2014/main" id="{349B0992-35C7-46C1-990D-C73E0A449734}"/>
              </a:ext>
            </a:extLst>
          </p:cNvPr>
          <p:cNvSpPr>
            <a:spLocks noGrp="1"/>
          </p:cNvSpPr>
          <p:nvPr>
            <p:ph type="body" sz="quarter" idx="13" hasCustomPrompt="1"/>
          </p:nvPr>
        </p:nvSpPr>
        <p:spPr>
          <a:xfrm>
            <a:off x="457200" y="411480"/>
            <a:ext cx="6400800" cy="182880"/>
          </a:xfrm>
        </p:spPr>
        <p:txBody>
          <a:bodyPr/>
          <a:lstStyle>
            <a:lvl1pPr marL="0" indent="0">
              <a:buNone/>
              <a:defRPr sz="1200">
                <a:solidFill>
                  <a:schemeClr val="bg1"/>
                </a:solidFill>
              </a:defRPr>
            </a:lvl1pPr>
            <a:lvl2pPr marL="228600" indent="0">
              <a:buNone/>
              <a:defRPr/>
            </a:lvl2pPr>
          </a:lstStyle>
          <a:p>
            <a:pPr lvl="0"/>
            <a:r>
              <a:rPr lang="en-US"/>
              <a:t>Optional subtitle, 12pt Regular</a:t>
            </a:r>
          </a:p>
        </p:txBody>
      </p:sp>
      <p:grpSp>
        <p:nvGrpSpPr>
          <p:cNvPr id="16" name="Group 4">
            <a:extLst>
              <a:ext uri="{FF2B5EF4-FFF2-40B4-BE49-F238E27FC236}">
                <a16:creationId xmlns:a16="http://schemas.microsoft.com/office/drawing/2014/main" id="{8D09555D-8B40-4F0C-A3DC-DBEAA59D57E4}"/>
              </a:ext>
            </a:extLst>
          </p:cNvPr>
          <p:cNvGrpSpPr>
            <a:grpSpLocks noChangeAspect="1"/>
          </p:cNvGrpSpPr>
          <p:nvPr userDrawn="1"/>
        </p:nvGrpSpPr>
        <p:grpSpPr bwMode="auto">
          <a:xfrm>
            <a:off x="8686800" y="6431507"/>
            <a:ext cx="2522538" cy="184150"/>
            <a:chOff x="288" y="4035"/>
            <a:chExt cx="1589" cy="116"/>
          </a:xfrm>
          <a:solidFill>
            <a:srgbClr val="FFFFFF"/>
          </a:solidFill>
        </p:grpSpPr>
        <p:sp>
          <p:nvSpPr>
            <p:cNvPr id="17" name="Freeform 5">
              <a:extLst>
                <a:ext uri="{FF2B5EF4-FFF2-40B4-BE49-F238E27FC236}">
                  <a16:creationId xmlns:a16="http://schemas.microsoft.com/office/drawing/2014/main" id="{23C095C1-382B-46DF-B0AB-E684E3D09D15}"/>
                </a:ext>
              </a:extLst>
            </p:cNvPr>
            <p:cNvSpPr>
              <a:spLocks noEditPoints="1"/>
            </p:cNvSpPr>
            <p:nvPr userDrawn="1"/>
          </p:nvSpPr>
          <p:spPr bwMode="auto">
            <a:xfrm>
              <a:off x="288" y="4035"/>
              <a:ext cx="769" cy="116"/>
            </a:xfrm>
            <a:custGeom>
              <a:avLst/>
              <a:gdLst>
                <a:gd name="T0" fmla="*/ 3874 w 3874"/>
                <a:gd name="T1" fmla="*/ 31 h 573"/>
                <a:gd name="T2" fmla="*/ 3527 w 3874"/>
                <a:gd name="T3" fmla="*/ 3 h 573"/>
                <a:gd name="T4" fmla="*/ 3527 w 3874"/>
                <a:gd name="T5" fmla="*/ 59 h 573"/>
                <a:gd name="T6" fmla="*/ 3661 w 3874"/>
                <a:gd name="T7" fmla="*/ 569 h 573"/>
                <a:gd name="T8" fmla="*/ 3713 w 3874"/>
                <a:gd name="T9" fmla="*/ 59 h 573"/>
                <a:gd name="T10" fmla="*/ 3874 w 3874"/>
                <a:gd name="T11" fmla="*/ 31 h 573"/>
                <a:gd name="T12" fmla="*/ 2759 w 3874"/>
                <a:gd name="T13" fmla="*/ 0 h 573"/>
                <a:gd name="T14" fmla="*/ 2523 w 3874"/>
                <a:gd name="T15" fmla="*/ 538 h 573"/>
                <a:gd name="T16" fmla="*/ 2547 w 3874"/>
                <a:gd name="T17" fmla="*/ 573 h 573"/>
                <a:gd name="T18" fmla="*/ 2651 w 3874"/>
                <a:gd name="T19" fmla="*/ 359 h 573"/>
                <a:gd name="T20" fmla="*/ 2954 w 3874"/>
                <a:gd name="T21" fmla="*/ 569 h 573"/>
                <a:gd name="T22" fmla="*/ 2784 w 3874"/>
                <a:gd name="T23" fmla="*/ 16 h 573"/>
                <a:gd name="T24" fmla="*/ 2675 w 3874"/>
                <a:gd name="T25" fmla="*/ 302 h 573"/>
                <a:gd name="T26" fmla="*/ 2760 w 3874"/>
                <a:gd name="T27" fmla="*/ 93 h 573"/>
                <a:gd name="T28" fmla="*/ 2675 w 3874"/>
                <a:gd name="T29" fmla="*/ 302 h 573"/>
                <a:gd name="T30" fmla="*/ 1742 w 3874"/>
                <a:gd name="T31" fmla="*/ 0 h 573"/>
                <a:gd name="T32" fmla="*/ 1549 w 3874"/>
                <a:gd name="T33" fmla="*/ 430 h 573"/>
                <a:gd name="T34" fmla="*/ 1357 w 3874"/>
                <a:gd name="T35" fmla="*/ 0 h 573"/>
                <a:gd name="T36" fmla="*/ 1237 w 3874"/>
                <a:gd name="T37" fmla="*/ 543 h 573"/>
                <a:gd name="T38" fmla="*/ 1261 w 3874"/>
                <a:gd name="T39" fmla="*/ 573 h 573"/>
                <a:gd name="T40" fmla="*/ 1366 w 3874"/>
                <a:gd name="T41" fmla="*/ 116 h 573"/>
                <a:gd name="T42" fmla="*/ 1549 w 3874"/>
                <a:gd name="T43" fmla="*/ 523 h 573"/>
                <a:gd name="T44" fmla="*/ 1732 w 3874"/>
                <a:gd name="T45" fmla="*/ 116 h 573"/>
                <a:gd name="T46" fmla="*/ 1868 w 3874"/>
                <a:gd name="T47" fmla="*/ 570 h 573"/>
                <a:gd name="T48" fmla="*/ 1742 w 3874"/>
                <a:gd name="T49" fmla="*/ 0 h 573"/>
                <a:gd name="T50" fmla="*/ 2226 w 3874"/>
                <a:gd name="T51" fmla="*/ 57 h 573"/>
                <a:gd name="T52" fmla="*/ 2429 w 3874"/>
                <a:gd name="T53" fmla="*/ 124 h 573"/>
                <a:gd name="T54" fmla="*/ 2429 w 3874"/>
                <a:gd name="T55" fmla="*/ 84 h 573"/>
                <a:gd name="T56" fmla="*/ 2226 w 3874"/>
                <a:gd name="T57" fmla="*/ 0 h 573"/>
                <a:gd name="T58" fmla="*/ 2226 w 3874"/>
                <a:gd name="T59" fmla="*/ 573 h 573"/>
                <a:gd name="T60" fmla="*/ 2397 w 3874"/>
                <a:gd name="T61" fmla="*/ 440 h 573"/>
                <a:gd name="T62" fmla="*/ 1996 w 3874"/>
                <a:gd name="T63" fmla="*/ 286 h 573"/>
                <a:gd name="T64" fmla="*/ 285 w 3874"/>
                <a:gd name="T65" fmla="*/ 57 h 573"/>
                <a:gd name="T66" fmla="*/ 448 w 3874"/>
                <a:gd name="T67" fmla="*/ 124 h 573"/>
                <a:gd name="T68" fmla="*/ 497 w 3874"/>
                <a:gd name="T69" fmla="*/ 104 h 573"/>
                <a:gd name="T70" fmla="*/ 485 w 3874"/>
                <a:gd name="T71" fmla="*/ 80 h 573"/>
                <a:gd name="T72" fmla="*/ 0 w 3874"/>
                <a:gd name="T73" fmla="*/ 287 h 573"/>
                <a:gd name="T74" fmla="*/ 497 w 3874"/>
                <a:gd name="T75" fmla="*/ 480 h 573"/>
                <a:gd name="T76" fmla="*/ 286 w 3874"/>
                <a:gd name="T77" fmla="*/ 516 h 573"/>
                <a:gd name="T78" fmla="*/ 285 w 3874"/>
                <a:gd name="T79" fmla="*/ 57 h 573"/>
                <a:gd name="T80" fmla="*/ 3341 w 3874"/>
                <a:gd name="T81" fmla="*/ 290 h 573"/>
                <a:gd name="T82" fmla="*/ 3152 w 3874"/>
                <a:gd name="T83" fmla="*/ 142 h 573"/>
                <a:gd name="T84" fmla="*/ 3361 w 3874"/>
                <a:gd name="T85" fmla="*/ 86 h 573"/>
                <a:gd name="T86" fmla="*/ 3403 w 3874"/>
                <a:gd name="T87" fmla="*/ 61 h 573"/>
                <a:gd name="T88" fmla="*/ 3262 w 3874"/>
                <a:gd name="T89" fmla="*/ 0 h 573"/>
                <a:gd name="T90" fmla="*/ 3194 w 3874"/>
                <a:gd name="T91" fmla="*/ 277 h 573"/>
                <a:gd name="T92" fmla="*/ 3375 w 3874"/>
                <a:gd name="T93" fmla="*/ 423 h 573"/>
                <a:gd name="T94" fmla="*/ 3129 w 3874"/>
                <a:gd name="T95" fmla="*/ 456 h 573"/>
                <a:gd name="T96" fmla="*/ 3082 w 3874"/>
                <a:gd name="T97" fmla="*/ 489 h 573"/>
                <a:gd name="T98" fmla="*/ 3266 w 3874"/>
                <a:gd name="T99" fmla="*/ 572 h 573"/>
                <a:gd name="T100" fmla="*/ 3341 w 3874"/>
                <a:gd name="T101" fmla="*/ 290 h 573"/>
                <a:gd name="T102" fmla="*/ 872 w 3874"/>
                <a:gd name="T103" fmla="*/ 0 h 573"/>
                <a:gd name="T104" fmla="*/ 872 w 3874"/>
                <a:gd name="T105" fmla="*/ 573 h 573"/>
                <a:gd name="T106" fmla="*/ 872 w 3874"/>
                <a:gd name="T107" fmla="*/ 0 h 573"/>
                <a:gd name="T108" fmla="*/ 872 w 3874"/>
                <a:gd name="T109" fmla="*/ 516 h 573"/>
                <a:gd name="T110" fmla="*/ 872 w 3874"/>
                <a:gd name="T111" fmla="*/ 56 h 573"/>
                <a:gd name="T112" fmla="*/ 872 w 3874"/>
                <a:gd name="T113" fmla="*/ 516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874" h="573">
                  <a:moveTo>
                    <a:pt x="3874" y="31"/>
                  </a:moveTo>
                  <a:lnTo>
                    <a:pt x="3874" y="31"/>
                  </a:lnTo>
                  <a:cubicBezTo>
                    <a:pt x="3874" y="16"/>
                    <a:pt x="3861" y="3"/>
                    <a:pt x="3846" y="3"/>
                  </a:cubicBezTo>
                  <a:lnTo>
                    <a:pt x="3527" y="3"/>
                  </a:lnTo>
                  <a:cubicBezTo>
                    <a:pt x="3512" y="3"/>
                    <a:pt x="3499" y="15"/>
                    <a:pt x="3499" y="31"/>
                  </a:cubicBezTo>
                  <a:cubicBezTo>
                    <a:pt x="3499" y="47"/>
                    <a:pt x="3511" y="59"/>
                    <a:pt x="3527" y="59"/>
                  </a:cubicBezTo>
                  <a:lnTo>
                    <a:pt x="3661" y="59"/>
                  </a:lnTo>
                  <a:lnTo>
                    <a:pt x="3661" y="569"/>
                  </a:lnTo>
                  <a:lnTo>
                    <a:pt x="3713" y="569"/>
                  </a:lnTo>
                  <a:lnTo>
                    <a:pt x="3713" y="59"/>
                  </a:lnTo>
                  <a:lnTo>
                    <a:pt x="3846" y="59"/>
                  </a:lnTo>
                  <a:cubicBezTo>
                    <a:pt x="3862" y="60"/>
                    <a:pt x="3874" y="47"/>
                    <a:pt x="3874" y="31"/>
                  </a:cubicBezTo>
                  <a:close/>
                  <a:moveTo>
                    <a:pt x="2759" y="0"/>
                  </a:moveTo>
                  <a:lnTo>
                    <a:pt x="2759" y="0"/>
                  </a:lnTo>
                  <a:cubicBezTo>
                    <a:pt x="2748" y="0"/>
                    <a:pt x="2741" y="7"/>
                    <a:pt x="2735" y="16"/>
                  </a:cubicBezTo>
                  <a:cubicBezTo>
                    <a:pt x="2731" y="26"/>
                    <a:pt x="2523" y="538"/>
                    <a:pt x="2523" y="538"/>
                  </a:cubicBezTo>
                  <a:cubicBezTo>
                    <a:pt x="2522" y="541"/>
                    <a:pt x="2521" y="544"/>
                    <a:pt x="2521" y="547"/>
                  </a:cubicBezTo>
                  <a:cubicBezTo>
                    <a:pt x="2521" y="562"/>
                    <a:pt x="2532" y="573"/>
                    <a:pt x="2547" y="573"/>
                  </a:cubicBezTo>
                  <a:cubicBezTo>
                    <a:pt x="2558" y="573"/>
                    <a:pt x="2567" y="566"/>
                    <a:pt x="2570" y="556"/>
                  </a:cubicBezTo>
                  <a:lnTo>
                    <a:pt x="2651" y="359"/>
                  </a:lnTo>
                  <a:lnTo>
                    <a:pt x="2868" y="359"/>
                  </a:lnTo>
                  <a:lnTo>
                    <a:pt x="2954" y="569"/>
                  </a:lnTo>
                  <a:lnTo>
                    <a:pt x="3009" y="569"/>
                  </a:lnTo>
                  <a:cubicBezTo>
                    <a:pt x="3009" y="569"/>
                    <a:pt x="2788" y="25"/>
                    <a:pt x="2784" y="16"/>
                  </a:cubicBezTo>
                  <a:cubicBezTo>
                    <a:pt x="2779" y="7"/>
                    <a:pt x="2770" y="0"/>
                    <a:pt x="2759" y="0"/>
                  </a:cubicBezTo>
                  <a:close/>
                  <a:moveTo>
                    <a:pt x="2675" y="302"/>
                  </a:moveTo>
                  <a:lnTo>
                    <a:pt x="2675" y="302"/>
                  </a:lnTo>
                  <a:lnTo>
                    <a:pt x="2760" y="93"/>
                  </a:lnTo>
                  <a:lnTo>
                    <a:pt x="2845" y="302"/>
                  </a:lnTo>
                  <a:lnTo>
                    <a:pt x="2675" y="302"/>
                  </a:lnTo>
                  <a:close/>
                  <a:moveTo>
                    <a:pt x="1742" y="0"/>
                  </a:moveTo>
                  <a:lnTo>
                    <a:pt x="1742" y="0"/>
                  </a:lnTo>
                  <a:cubicBezTo>
                    <a:pt x="1731" y="0"/>
                    <a:pt x="1723" y="7"/>
                    <a:pt x="1718" y="16"/>
                  </a:cubicBezTo>
                  <a:cubicBezTo>
                    <a:pt x="1714" y="25"/>
                    <a:pt x="1549" y="430"/>
                    <a:pt x="1549" y="430"/>
                  </a:cubicBezTo>
                  <a:cubicBezTo>
                    <a:pt x="1549" y="430"/>
                    <a:pt x="1385" y="24"/>
                    <a:pt x="1381" y="16"/>
                  </a:cubicBezTo>
                  <a:cubicBezTo>
                    <a:pt x="1376" y="7"/>
                    <a:pt x="1368" y="0"/>
                    <a:pt x="1357" y="0"/>
                  </a:cubicBezTo>
                  <a:cubicBezTo>
                    <a:pt x="1345" y="0"/>
                    <a:pt x="1335" y="9"/>
                    <a:pt x="1332" y="21"/>
                  </a:cubicBezTo>
                  <a:cubicBezTo>
                    <a:pt x="1329" y="33"/>
                    <a:pt x="1237" y="543"/>
                    <a:pt x="1237" y="543"/>
                  </a:cubicBezTo>
                  <a:cubicBezTo>
                    <a:pt x="1237" y="545"/>
                    <a:pt x="1236" y="546"/>
                    <a:pt x="1236" y="548"/>
                  </a:cubicBezTo>
                  <a:cubicBezTo>
                    <a:pt x="1236" y="562"/>
                    <a:pt x="1247" y="573"/>
                    <a:pt x="1261" y="573"/>
                  </a:cubicBezTo>
                  <a:cubicBezTo>
                    <a:pt x="1273" y="573"/>
                    <a:pt x="1284" y="564"/>
                    <a:pt x="1286" y="553"/>
                  </a:cubicBezTo>
                  <a:lnTo>
                    <a:pt x="1366" y="116"/>
                  </a:lnTo>
                  <a:cubicBezTo>
                    <a:pt x="1366" y="116"/>
                    <a:pt x="1521" y="498"/>
                    <a:pt x="1526" y="507"/>
                  </a:cubicBezTo>
                  <a:cubicBezTo>
                    <a:pt x="1530" y="516"/>
                    <a:pt x="1538" y="523"/>
                    <a:pt x="1549" y="523"/>
                  </a:cubicBezTo>
                  <a:cubicBezTo>
                    <a:pt x="1560" y="523"/>
                    <a:pt x="1569" y="516"/>
                    <a:pt x="1573" y="507"/>
                  </a:cubicBezTo>
                  <a:cubicBezTo>
                    <a:pt x="1578" y="498"/>
                    <a:pt x="1732" y="116"/>
                    <a:pt x="1732" y="116"/>
                  </a:cubicBezTo>
                  <a:lnTo>
                    <a:pt x="1816" y="570"/>
                  </a:lnTo>
                  <a:lnTo>
                    <a:pt x="1868" y="570"/>
                  </a:lnTo>
                  <a:cubicBezTo>
                    <a:pt x="1868" y="570"/>
                    <a:pt x="1770" y="33"/>
                    <a:pt x="1767" y="21"/>
                  </a:cubicBezTo>
                  <a:cubicBezTo>
                    <a:pt x="1763" y="9"/>
                    <a:pt x="1754" y="0"/>
                    <a:pt x="1742" y="0"/>
                  </a:cubicBezTo>
                  <a:close/>
                  <a:moveTo>
                    <a:pt x="2226" y="57"/>
                  </a:moveTo>
                  <a:lnTo>
                    <a:pt x="2226" y="57"/>
                  </a:lnTo>
                  <a:cubicBezTo>
                    <a:pt x="2288" y="57"/>
                    <a:pt x="2345" y="80"/>
                    <a:pt x="2389" y="124"/>
                  </a:cubicBezTo>
                  <a:cubicBezTo>
                    <a:pt x="2399" y="134"/>
                    <a:pt x="2419" y="134"/>
                    <a:pt x="2429" y="124"/>
                  </a:cubicBezTo>
                  <a:cubicBezTo>
                    <a:pt x="2434" y="119"/>
                    <a:pt x="2437" y="112"/>
                    <a:pt x="2437" y="104"/>
                  </a:cubicBezTo>
                  <a:cubicBezTo>
                    <a:pt x="2437" y="96"/>
                    <a:pt x="2434" y="89"/>
                    <a:pt x="2429" y="84"/>
                  </a:cubicBezTo>
                  <a:lnTo>
                    <a:pt x="2426" y="80"/>
                  </a:lnTo>
                  <a:cubicBezTo>
                    <a:pt x="2372" y="29"/>
                    <a:pt x="2301" y="0"/>
                    <a:pt x="2226" y="0"/>
                  </a:cubicBezTo>
                  <a:cubicBezTo>
                    <a:pt x="2069" y="0"/>
                    <a:pt x="1940" y="129"/>
                    <a:pt x="1940" y="287"/>
                  </a:cubicBezTo>
                  <a:cubicBezTo>
                    <a:pt x="1940" y="445"/>
                    <a:pt x="2069" y="573"/>
                    <a:pt x="2226" y="573"/>
                  </a:cubicBezTo>
                  <a:cubicBezTo>
                    <a:pt x="2310" y="573"/>
                    <a:pt x="2385" y="538"/>
                    <a:pt x="2437" y="480"/>
                  </a:cubicBezTo>
                  <a:lnTo>
                    <a:pt x="2397" y="440"/>
                  </a:lnTo>
                  <a:cubicBezTo>
                    <a:pt x="2355" y="487"/>
                    <a:pt x="2294" y="516"/>
                    <a:pt x="2226" y="516"/>
                  </a:cubicBezTo>
                  <a:cubicBezTo>
                    <a:pt x="2100" y="516"/>
                    <a:pt x="1996" y="413"/>
                    <a:pt x="1996" y="286"/>
                  </a:cubicBezTo>
                  <a:cubicBezTo>
                    <a:pt x="1996" y="160"/>
                    <a:pt x="2100" y="57"/>
                    <a:pt x="2226" y="57"/>
                  </a:cubicBezTo>
                  <a:close/>
                  <a:moveTo>
                    <a:pt x="285" y="57"/>
                  </a:moveTo>
                  <a:lnTo>
                    <a:pt x="285" y="57"/>
                  </a:lnTo>
                  <a:cubicBezTo>
                    <a:pt x="347" y="57"/>
                    <a:pt x="404" y="80"/>
                    <a:pt x="448" y="124"/>
                  </a:cubicBezTo>
                  <a:cubicBezTo>
                    <a:pt x="459" y="134"/>
                    <a:pt x="478" y="134"/>
                    <a:pt x="488" y="124"/>
                  </a:cubicBezTo>
                  <a:cubicBezTo>
                    <a:pt x="494" y="119"/>
                    <a:pt x="497" y="112"/>
                    <a:pt x="497" y="104"/>
                  </a:cubicBezTo>
                  <a:cubicBezTo>
                    <a:pt x="497" y="96"/>
                    <a:pt x="494" y="89"/>
                    <a:pt x="488" y="84"/>
                  </a:cubicBezTo>
                  <a:lnTo>
                    <a:pt x="485" y="80"/>
                  </a:lnTo>
                  <a:cubicBezTo>
                    <a:pt x="431" y="29"/>
                    <a:pt x="361" y="0"/>
                    <a:pt x="286" y="0"/>
                  </a:cubicBezTo>
                  <a:cubicBezTo>
                    <a:pt x="128" y="0"/>
                    <a:pt x="0" y="129"/>
                    <a:pt x="0" y="287"/>
                  </a:cubicBezTo>
                  <a:cubicBezTo>
                    <a:pt x="0" y="445"/>
                    <a:pt x="128" y="573"/>
                    <a:pt x="286" y="573"/>
                  </a:cubicBezTo>
                  <a:cubicBezTo>
                    <a:pt x="369" y="573"/>
                    <a:pt x="444" y="538"/>
                    <a:pt x="497" y="480"/>
                  </a:cubicBezTo>
                  <a:lnTo>
                    <a:pt x="457" y="440"/>
                  </a:lnTo>
                  <a:cubicBezTo>
                    <a:pt x="415" y="487"/>
                    <a:pt x="353" y="516"/>
                    <a:pt x="286" y="516"/>
                  </a:cubicBezTo>
                  <a:cubicBezTo>
                    <a:pt x="159" y="516"/>
                    <a:pt x="56" y="413"/>
                    <a:pt x="56" y="286"/>
                  </a:cubicBezTo>
                  <a:cubicBezTo>
                    <a:pt x="55" y="160"/>
                    <a:pt x="159" y="57"/>
                    <a:pt x="285" y="57"/>
                  </a:cubicBezTo>
                  <a:close/>
                  <a:moveTo>
                    <a:pt x="3341" y="290"/>
                  </a:moveTo>
                  <a:lnTo>
                    <a:pt x="3341" y="290"/>
                  </a:lnTo>
                  <a:cubicBezTo>
                    <a:pt x="3326" y="282"/>
                    <a:pt x="3233" y="234"/>
                    <a:pt x="3219" y="227"/>
                  </a:cubicBezTo>
                  <a:cubicBezTo>
                    <a:pt x="3170" y="201"/>
                    <a:pt x="3152" y="179"/>
                    <a:pt x="3152" y="142"/>
                  </a:cubicBezTo>
                  <a:cubicBezTo>
                    <a:pt x="3152" y="90"/>
                    <a:pt x="3195" y="56"/>
                    <a:pt x="3262" y="56"/>
                  </a:cubicBezTo>
                  <a:cubicBezTo>
                    <a:pt x="3301" y="56"/>
                    <a:pt x="3339" y="73"/>
                    <a:pt x="3361" y="86"/>
                  </a:cubicBezTo>
                  <a:cubicBezTo>
                    <a:pt x="3365" y="88"/>
                    <a:pt x="3370" y="89"/>
                    <a:pt x="3374" y="89"/>
                  </a:cubicBezTo>
                  <a:cubicBezTo>
                    <a:pt x="3390" y="89"/>
                    <a:pt x="3403" y="77"/>
                    <a:pt x="3403" y="61"/>
                  </a:cubicBezTo>
                  <a:cubicBezTo>
                    <a:pt x="3403" y="51"/>
                    <a:pt x="3397" y="42"/>
                    <a:pt x="3388" y="37"/>
                  </a:cubicBezTo>
                  <a:cubicBezTo>
                    <a:pt x="3361" y="21"/>
                    <a:pt x="3313" y="0"/>
                    <a:pt x="3262" y="0"/>
                  </a:cubicBezTo>
                  <a:cubicBezTo>
                    <a:pt x="3165" y="0"/>
                    <a:pt x="3097" y="58"/>
                    <a:pt x="3097" y="142"/>
                  </a:cubicBezTo>
                  <a:cubicBezTo>
                    <a:pt x="3097" y="217"/>
                    <a:pt x="3146" y="252"/>
                    <a:pt x="3194" y="277"/>
                  </a:cubicBezTo>
                  <a:cubicBezTo>
                    <a:pt x="3208" y="284"/>
                    <a:pt x="3302" y="333"/>
                    <a:pt x="3317" y="340"/>
                  </a:cubicBezTo>
                  <a:cubicBezTo>
                    <a:pt x="3354" y="360"/>
                    <a:pt x="3375" y="390"/>
                    <a:pt x="3375" y="423"/>
                  </a:cubicBezTo>
                  <a:cubicBezTo>
                    <a:pt x="3375" y="468"/>
                    <a:pt x="3337" y="516"/>
                    <a:pt x="3266" y="516"/>
                  </a:cubicBezTo>
                  <a:cubicBezTo>
                    <a:pt x="3196" y="516"/>
                    <a:pt x="3143" y="470"/>
                    <a:pt x="3129" y="456"/>
                  </a:cubicBezTo>
                  <a:lnTo>
                    <a:pt x="3124" y="451"/>
                  </a:lnTo>
                  <a:lnTo>
                    <a:pt x="3082" y="489"/>
                  </a:lnTo>
                  <a:lnTo>
                    <a:pt x="3087" y="494"/>
                  </a:lnTo>
                  <a:cubicBezTo>
                    <a:pt x="3106" y="512"/>
                    <a:pt x="3173" y="572"/>
                    <a:pt x="3266" y="572"/>
                  </a:cubicBezTo>
                  <a:cubicBezTo>
                    <a:pt x="3369" y="572"/>
                    <a:pt x="3431" y="496"/>
                    <a:pt x="3431" y="422"/>
                  </a:cubicBezTo>
                  <a:cubicBezTo>
                    <a:pt x="3431" y="368"/>
                    <a:pt x="3398" y="320"/>
                    <a:pt x="3341" y="290"/>
                  </a:cubicBezTo>
                  <a:close/>
                  <a:moveTo>
                    <a:pt x="872" y="0"/>
                  </a:moveTo>
                  <a:lnTo>
                    <a:pt x="872" y="0"/>
                  </a:lnTo>
                  <a:cubicBezTo>
                    <a:pt x="715" y="0"/>
                    <a:pt x="586" y="129"/>
                    <a:pt x="586" y="287"/>
                  </a:cubicBezTo>
                  <a:cubicBezTo>
                    <a:pt x="586" y="445"/>
                    <a:pt x="715" y="573"/>
                    <a:pt x="872" y="573"/>
                  </a:cubicBezTo>
                  <a:cubicBezTo>
                    <a:pt x="1030" y="573"/>
                    <a:pt x="1159" y="445"/>
                    <a:pt x="1159" y="287"/>
                  </a:cubicBezTo>
                  <a:cubicBezTo>
                    <a:pt x="1159" y="129"/>
                    <a:pt x="1030" y="0"/>
                    <a:pt x="872" y="0"/>
                  </a:cubicBezTo>
                  <a:close/>
                  <a:moveTo>
                    <a:pt x="872" y="516"/>
                  </a:moveTo>
                  <a:lnTo>
                    <a:pt x="872" y="516"/>
                  </a:lnTo>
                  <a:cubicBezTo>
                    <a:pt x="746" y="516"/>
                    <a:pt x="642" y="413"/>
                    <a:pt x="642" y="286"/>
                  </a:cubicBezTo>
                  <a:cubicBezTo>
                    <a:pt x="642" y="159"/>
                    <a:pt x="746" y="56"/>
                    <a:pt x="872" y="56"/>
                  </a:cubicBezTo>
                  <a:cubicBezTo>
                    <a:pt x="999" y="56"/>
                    <a:pt x="1103" y="159"/>
                    <a:pt x="1103" y="286"/>
                  </a:cubicBezTo>
                  <a:cubicBezTo>
                    <a:pt x="1102" y="413"/>
                    <a:pt x="999" y="516"/>
                    <a:pt x="872" y="51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6">
              <a:extLst>
                <a:ext uri="{FF2B5EF4-FFF2-40B4-BE49-F238E27FC236}">
                  <a16:creationId xmlns:a16="http://schemas.microsoft.com/office/drawing/2014/main" id="{A657D5A2-F8CA-4B34-97CB-B11E419BFF22}"/>
                </a:ext>
              </a:extLst>
            </p:cNvPr>
            <p:cNvSpPr>
              <a:spLocks noEditPoints="1"/>
            </p:cNvSpPr>
            <p:nvPr userDrawn="1"/>
          </p:nvSpPr>
          <p:spPr bwMode="auto">
            <a:xfrm>
              <a:off x="1114" y="4035"/>
              <a:ext cx="763" cy="116"/>
            </a:xfrm>
            <a:custGeom>
              <a:avLst/>
              <a:gdLst>
                <a:gd name="T0" fmla="*/ 3647 w 3842"/>
                <a:gd name="T1" fmla="*/ 576 h 576"/>
                <a:gd name="T2" fmla="*/ 3634 w 3842"/>
                <a:gd name="T3" fmla="*/ 216 h 576"/>
                <a:gd name="T4" fmla="*/ 3742 w 3842"/>
                <a:gd name="T5" fmla="*/ 105 h 576"/>
                <a:gd name="T6" fmla="*/ 3789 w 3842"/>
                <a:gd name="T7" fmla="*/ 28 h 576"/>
                <a:gd name="T8" fmla="*/ 3606 w 3842"/>
                <a:gd name="T9" fmla="*/ 307 h 576"/>
                <a:gd name="T10" fmla="*/ 3656 w 3842"/>
                <a:gd name="T11" fmla="*/ 487 h 576"/>
                <a:gd name="T12" fmla="*/ 2997 w 3842"/>
                <a:gd name="T13" fmla="*/ 491 h 576"/>
                <a:gd name="T14" fmla="*/ 3376 w 3842"/>
                <a:gd name="T15" fmla="*/ 415 h 576"/>
                <a:gd name="T16" fmla="*/ 3116 w 3842"/>
                <a:gd name="T17" fmla="*/ 149 h 576"/>
                <a:gd name="T18" fmla="*/ 3314 w 3842"/>
                <a:gd name="T19" fmla="*/ 116 h 576"/>
                <a:gd name="T20" fmla="*/ 3197 w 3842"/>
                <a:gd name="T21" fmla="*/ 0 h 576"/>
                <a:gd name="T22" fmla="*/ 3217 w 3842"/>
                <a:gd name="T23" fmla="*/ 343 h 576"/>
                <a:gd name="T24" fmla="*/ 3065 w 3842"/>
                <a:gd name="T25" fmla="*/ 428 h 576"/>
                <a:gd name="T26" fmla="*/ 1117 w 3842"/>
                <a:gd name="T27" fmla="*/ 491 h 576"/>
                <a:gd name="T28" fmla="*/ 1381 w 3842"/>
                <a:gd name="T29" fmla="*/ 261 h 576"/>
                <a:gd name="T30" fmla="*/ 1321 w 3842"/>
                <a:gd name="T31" fmla="*/ 87 h 576"/>
                <a:gd name="T32" fmla="*/ 1476 w 3842"/>
                <a:gd name="T33" fmla="*/ 72 h 576"/>
                <a:gd name="T34" fmla="*/ 1140 w 3842"/>
                <a:gd name="T35" fmla="*/ 153 h 576"/>
                <a:gd name="T36" fmla="*/ 1400 w 3842"/>
                <a:gd name="T37" fmla="*/ 417 h 576"/>
                <a:gd name="T38" fmla="*/ 1117 w 3842"/>
                <a:gd name="T39" fmla="*/ 491 h 576"/>
                <a:gd name="T40" fmla="*/ 1903 w 3842"/>
                <a:gd name="T41" fmla="*/ 43 h 576"/>
                <a:gd name="T42" fmla="*/ 1994 w 3842"/>
                <a:gd name="T43" fmla="*/ 531 h 576"/>
                <a:gd name="T44" fmla="*/ 2328 w 3842"/>
                <a:gd name="T45" fmla="*/ 576 h 576"/>
                <a:gd name="T46" fmla="*/ 2282 w 3842"/>
                <a:gd name="T47" fmla="*/ 3 h 576"/>
                <a:gd name="T48" fmla="*/ 1949 w 3842"/>
                <a:gd name="T49" fmla="*/ 0 h 576"/>
                <a:gd name="T50" fmla="*/ 426 w 3842"/>
                <a:gd name="T51" fmla="*/ 402 h 576"/>
                <a:gd name="T52" fmla="*/ 0 w 3842"/>
                <a:gd name="T53" fmla="*/ 47 h 576"/>
                <a:gd name="T54" fmla="*/ 399 w 3842"/>
                <a:gd name="T55" fmla="*/ 147 h 576"/>
                <a:gd name="T56" fmla="*/ 91 w 3842"/>
                <a:gd name="T57" fmla="*/ 230 h 576"/>
                <a:gd name="T58" fmla="*/ 229 w 3842"/>
                <a:gd name="T59" fmla="*/ 92 h 576"/>
                <a:gd name="T60" fmla="*/ 235 w 3842"/>
                <a:gd name="T61" fmla="*/ 484 h 576"/>
                <a:gd name="T62" fmla="*/ 235 w 3842"/>
                <a:gd name="T63" fmla="*/ 314 h 576"/>
                <a:gd name="T64" fmla="*/ 235 w 3842"/>
                <a:gd name="T65" fmla="*/ 484 h 576"/>
                <a:gd name="T66" fmla="*/ 2906 w 3842"/>
                <a:gd name="T67" fmla="*/ 48 h 576"/>
                <a:gd name="T68" fmla="*/ 2532 w 3842"/>
                <a:gd name="T69" fmla="*/ 48 h 576"/>
                <a:gd name="T70" fmla="*/ 2903 w 3842"/>
                <a:gd name="T71" fmla="*/ 573 h 576"/>
                <a:gd name="T72" fmla="*/ 2624 w 3842"/>
                <a:gd name="T73" fmla="*/ 318 h 576"/>
                <a:gd name="T74" fmla="*/ 2834 w 3842"/>
                <a:gd name="T75" fmla="*/ 229 h 576"/>
                <a:gd name="T76" fmla="*/ 2858 w 3842"/>
                <a:gd name="T77" fmla="*/ 92 h 576"/>
                <a:gd name="T78" fmla="*/ 634 w 3842"/>
                <a:gd name="T79" fmla="*/ 44 h 576"/>
                <a:gd name="T80" fmla="*/ 542 w 3842"/>
                <a:gd name="T81" fmla="*/ 343 h 576"/>
                <a:gd name="T82" fmla="*/ 1010 w 3842"/>
                <a:gd name="T83" fmla="*/ 2 h 576"/>
                <a:gd name="T84" fmla="*/ 776 w 3842"/>
                <a:gd name="T85" fmla="*/ 488 h 576"/>
                <a:gd name="T86" fmla="*/ 1676 w 3842"/>
                <a:gd name="T87" fmla="*/ 0 h 576"/>
                <a:gd name="T88" fmla="*/ 1630 w 3842"/>
                <a:gd name="T89" fmla="*/ 572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842" h="576">
                  <a:moveTo>
                    <a:pt x="3464" y="491"/>
                  </a:moveTo>
                  <a:lnTo>
                    <a:pt x="3464" y="491"/>
                  </a:lnTo>
                  <a:cubicBezTo>
                    <a:pt x="3475" y="506"/>
                    <a:pt x="3529" y="576"/>
                    <a:pt x="3647" y="576"/>
                  </a:cubicBezTo>
                  <a:cubicBezTo>
                    <a:pt x="3763" y="576"/>
                    <a:pt x="3842" y="509"/>
                    <a:pt x="3842" y="415"/>
                  </a:cubicBezTo>
                  <a:cubicBezTo>
                    <a:pt x="3842" y="354"/>
                    <a:pt x="3818" y="305"/>
                    <a:pt x="3727" y="261"/>
                  </a:cubicBezTo>
                  <a:cubicBezTo>
                    <a:pt x="3703" y="249"/>
                    <a:pt x="3634" y="216"/>
                    <a:pt x="3634" y="216"/>
                  </a:cubicBezTo>
                  <a:cubicBezTo>
                    <a:pt x="3599" y="199"/>
                    <a:pt x="3583" y="178"/>
                    <a:pt x="3583" y="149"/>
                  </a:cubicBezTo>
                  <a:cubicBezTo>
                    <a:pt x="3583" y="120"/>
                    <a:pt x="3607" y="87"/>
                    <a:pt x="3667" y="87"/>
                  </a:cubicBezTo>
                  <a:cubicBezTo>
                    <a:pt x="3701" y="87"/>
                    <a:pt x="3727" y="98"/>
                    <a:pt x="3742" y="105"/>
                  </a:cubicBezTo>
                  <a:cubicBezTo>
                    <a:pt x="3748" y="108"/>
                    <a:pt x="3764" y="116"/>
                    <a:pt x="3780" y="116"/>
                  </a:cubicBezTo>
                  <a:cubicBezTo>
                    <a:pt x="3800" y="116"/>
                    <a:pt x="3822" y="102"/>
                    <a:pt x="3822" y="72"/>
                  </a:cubicBezTo>
                  <a:cubicBezTo>
                    <a:pt x="3822" y="48"/>
                    <a:pt x="3804" y="35"/>
                    <a:pt x="3789" y="28"/>
                  </a:cubicBezTo>
                  <a:cubicBezTo>
                    <a:pt x="3764" y="16"/>
                    <a:pt x="3726" y="0"/>
                    <a:pt x="3662" y="0"/>
                  </a:cubicBezTo>
                  <a:cubicBezTo>
                    <a:pt x="3561" y="0"/>
                    <a:pt x="3486" y="63"/>
                    <a:pt x="3486" y="153"/>
                  </a:cubicBezTo>
                  <a:cubicBezTo>
                    <a:pt x="3486" y="234"/>
                    <a:pt x="3540" y="275"/>
                    <a:pt x="3606" y="307"/>
                  </a:cubicBezTo>
                  <a:cubicBezTo>
                    <a:pt x="3619" y="312"/>
                    <a:pt x="3668" y="336"/>
                    <a:pt x="3681" y="343"/>
                  </a:cubicBezTo>
                  <a:cubicBezTo>
                    <a:pt x="3724" y="363"/>
                    <a:pt x="3746" y="382"/>
                    <a:pt x="3746" y="417"/>
                  </a:cubicBezTo>
                  <a:cubicBezTo>
                    <a:pt x="3746" y="455"/>
                    <a:pt x="3710" y="487"/>
                    <a:pt x="3656" y="487"/>
                  </a:cubicBezTo>
                  <a:cubicBezTo>
                    <a:pt x="3579" y="487"/>
                    <a:pt x="3538" y="436"/>
                    <a:pt x="3531" y="428"/>
                  </a:cubicBezTo>
                  <a:lnTo>
                    <a:pt x="3464" y="491"/>
                  </a:lnTo>
                  <a:close/>
                  <a:moveTo>
                    <a:pt x="2997" y="491"/>
                  </a:moveTo>
                  <a:lnTo>
                    <a:pt x="2997" y="491"/>
                  </a:lnTo>
                  <a:cubicBezTo>
                    <a:pt x="3009" y="506"/>
                    <a:pt x="3063" y="576"/>
                    <a:pt x="3182" y="576"/>
                  </a:cubicBezTo>
                  <a:cubicBezTo>
                    <a:pt x="3297" y="576"/>
                    <a:pt x="3376" y="509"/>
                    <a:pt x="3376" y="415"/>
                  </a:cubicBezTo>
                  <a:cubicBezTo>
                    <a:pt x="3376" y="354"/>
                    <a:pt x="3352" y="305"/>
                    <a:pt x="3261" y="261"/>
                  </a:cubicBezTo>
                  <a:cubicBezTo>
                    <a:pt x="3237" y="249"/>
                    <a:pt x="3169" y="216"/>
                    <a:pt x="3169" y="216"/>
                  </a:cubicBezTo>
                  <a:cubicBezTo>
                    <a:pt x="3133" y="199"/>
                    <a:pt x="3116" y="178"/>
                    <a:pt x="3116" y="149"/>
                  </a:cubicBezTo>
                  <a:cubicBezTo>
                    <a:pt x="3116" y="120"/>
                    <a:pt x="3141" y="87"/>
                    <a:pt x="3201" y="87"/>
                  </a:cubicBezTo>
                  <a:cubicBezTo>
                    <a:pt x="3235" y="87"/>
                    <a:pt x="3261" y="98"/>
                    <a:pt x="3275" y="105"/>
                  </a:cubicBezTo>
                  <a:cubicBezTo>
                    <a:pt x="3283" y="108"/>
                    <a:pt x="3299" y="116"/>
                    <a:pt x="3314" y="116"/>
                  </a:cubicBezTo>
                  <a:cubicBezTo>
                    <a:pt x="3334" y="116"/>
                    <a:pt x="3356" y="102"/>
                    <a:pt x="3356" y="72"/>
                  </a:cubicBezTo>
                  <a:cubicBezTo>
                    <a:pt x="3356" y="48"/>
                    <a:pt x="3339" y="35"/>
                    <a:pt x="3323" y="28"/>
                  </a:cubicBezTo>
                  <a:cubicBezTo>
                    <a:pt x="3299" y="16"/>
                    <a:pt x="3260" y="0"/>
                    <a:pt x="3197" y="0"/>
                  </a:cubicBezTo>
                  <a:cubicBezTo>
                    <a:pt x="3095" y="0"/>
                    <a:pt x="3020" y="63"/>
                    <a:pt x="3020" y="153"/>
                  </a:cubicBezTo>
                  <a:cubicBezTo>
                    <a:pt x="3020" y="234"/>
                    <a:pt x="3075" y="275"/>
                    <a:pt x="3141" y="307"/>
                  </a:cubicBezTo>
                  <a:cubicBezTo>
                    <a:pt x="3154" y="312"/>
                    <a:pt x="3203" y="336"/>
                    <a:pt x="3217" y="343"/>
                  </a:cubicBezTo>
                  <a:cubicBezTo>
                    <a:pt x="3258" y="363"/>
                    <a:pt x="3280" y="382"/>
                    <a:pt x="3280" y="417"/>
                  </a:cubicBezTo>
                  <a:cubicBezTo>
                    <a:pt x="3280" y="455"/>
                    <a:pt x="3244" y="487"/>
                    <a:pt x="3191" y="487"/>
                  </a:cubicBezTo>
                  <a:cubicBezTo>
                    <a:pt x="3113" y="487"/>
                    <a:pt x="3072" y="436"/>
                    <a:pt x="3065" y="428"/>
                  </a:cubicBezTo>
                  <a:lnTo>
                    <a:pt x="2997" y="491"/>
                  </a:lnTo>
                  <a:close/>
                  <a:moveTo>
                    <a:pt x="1117" y="491"/>
                  </a:moveTo>
                  <a:lnTo>
                    <a:pt x="1117" y="491"/>
                  </a:lnTo>
                  <a:cubicBezTo>
                    <a:pt x="1129" y="506"/>
                    <a:pt x="1182" y="576"/>
                    <a:pt x="1301" y="576"/>
                  </a:cubicBezTo>
                  <a:cubicBezTo>
                    <a:pt x="1417" y="576"/>
                    <a:pt x="1496" y="509"/>
                    <a:pt x="1496" y="415"/>
                  </a:cubicBezTo>
                  <a:cubicBezTo>
                    <a:pt x="1496" y="354"/>
                    <a:pt x="1472" y="305"/>
                    <a:pt x="1381" y="261"/>
                  </a:cubicBezTo>
                  <a:cubicBezTo>
                    <a:pt x="1356" y="249"/>
                    <a:pt x="1288" y="216"/>
                    <a:pt x="1288" y="216"/>
                  </a:cubicBezTo>
                  <a:cubicBezTo>
                    <a:pt x="1252" y="199"/>
                    <a:pt x="1236" y="178"/>
                    <a:pt x="1236" y="149"/>
                  </a:cubicBezTo>
                  <a:cubicBezTo>
                    <a:pt x="1236" y="120"/>
                    <a:pt x="1261" y="87"/>
                    <a:pt x="1321" y="87"/>
                  </a:cubicBezTo>
                  <a:cubicBezTo>
                    <a:pt x="1355" y="87"/>
                    <a:pt x="1381" y="98"/>
                    <a:pt x="1395" y="105"/>
                  </a:cubicBezTo>
                  <a:cubicBezTo>
                    <a:pt x="1402" y="108"/>
                    <a:pt x="1418" y="116"/>
                    <a:pt x="1434" y="116"/>
                  </a:cubicBezTo>
                  <a:cubicBezTo>
                    <a:pt x="1454" y="116"/>
                    <a:pt x="1476" y="102"/>
                    <a:pt x="1476" y="72"/>
                  </a:cubicBezTo>
                  <a:cubicBezTo>
                    <a:pt x="1476" y="48"/>
                    <a:pt x="1458" y="35"/>
                    <a:pt x="1443" y="28"/>
                  </a:cubicBezTo>
                  <a:cubicBezTo>
                    <a:pt x="1418" y="16"/>
                    <a:pt x="1380" y="0"/>
                    <a:pt x="1316" y="0"/>
                  </a:cubicBezTo>
                  <a:cubicBezTo>
                    <a:pt x="1215" y="0"/>
                    <a:pt x="1140" y="63"/>
                    <a:pt x="1140" y="153"/>
                  </a:cubicBezTo>
                  <a:cubicBezTo>
                    <a:pt x="1140" y="234"/>
                    <a:pt x="1195" y="275"/>
                    <a:pt x="1261" y="307"/>
                  </a:cubicBezTo>
                  <a:cubicBezTo>
                    <a:pt x="1273" y="312"/>
                    <a:pt x="1322" y="336"/>
                    <a:pt x="1336" y="343"/>
                  </a:cubicBezTo>
                  <a:cubicBezTo>
                    <a:pt x="1378" y="363"/>
                    <a:pt x="1400" y="382"/>
                    <a:pt x="1400" y="417"/>
                  </a:cubicBezTo>
                  <a:cubicBezTo>
                    <a:pt x="1400" y="455"/>
                    <a:pt x="1364" y="487"/>
                    <a:pt x="1310" y="487"/>
                  </a:cubicBezTo>
                  <a:cubicBezTo>
                    <a:pt x="1233" y="487"/>
                    <a:pt x="1192" y="436"/>
                    <a:pt x="1185" y="428"/>
                  </a:cubicBezTo>
                  <a:lnTo>
                    <a:pt x="1117" y="491"/>
                  </a:lnTo>
                  <a:close/>
                  <a:moveTo>
                    <a:pt x="1949" y="0"/>
                  </a:moveTo>
                  <a:lnTo>
                    <a:pt x="1949" y="0"/>
                  </a:lnTo>
                  <a:cubicBezTo>
                    <a:pt x="1921" y="0"/>
                    <a:pt x="1903" y="19"/>
                    <a:pt x="1903" y="43"/>
                  </a:cubicBezTo>
                  <a:lnTo>
                    <a:pt x="1903" y="531"/>
                  </a:lnTo>
                  <a:cubicBezTo>
                    <a:pt x="1903" y="555"/>
                    <a:pt x="1924" y="575"/>
                    <a:pt x="1949" y="575"/>
                  </a:cubicBezTo>
                  <a:cubicBezTo>
                    <a:pt x="1972" y="575"/>
                    <a:pt x="1994" y="555"/>
                    <a:pt x="1994" y="531"/>
                  </a:cubicBezTo>
                  <a:lnTo>
                    <a:pt x="1994" y="179"/>
                  </a:lnTo>
                  <a:cubicBezTo>
                    <a:pt x="1994" y="179"/>
                    <a:pt x="2218" y="465"/>
                    <a:pt x="2276" y="541"/>
                  </a:cubicBezTo>
                  <a:cubicBezTo>
                    <a:pt x="2291" y="559"/>
                    <a:pt x="2302" y="576"/>
                    <a:pt x="2328" y="576"/>
                  </a:cubicBezTo>
                  <a:cubicBezTo>
                    <a:pt x="2355" y="576"/>
                    <a:pt x="2373" y="556"/>
                    <a:pt x="2373" y="532"/>
                  </a:cubicBezTo>
                  <a:lnTo>
                    <a:pt x="2373" y="3"/>
                  </a:lnTo>
                  <a:lnTo>
                    <a:pt x="2282" y="3"/>
                  </a:lnTo>
                  <a:lnTo>
                    <a:pt x="2282" y="398"/>
                  </a:lnTo>
                  <a:cubicBezTo>
                    <a:pt x="2282" y="398"/>
                    <a:pt x="2033" y="78"/>
                    <a:pt x="1998" y="34"/>
                  </a:cubicBezTo>
                  <a:cubicBezTo>
                    <a:pt x="1982" y="13"/>
                    <a:pt x="1970" y="0"/>
                    <a:pt x="1949" y="0"/>
                  </a:cubicBezTo>
                  <a:close/>
                  <a:moveTo>
                    <a:pt x="342" y="264"/>
                  </a:moveTo>
                  <a:lnTo>
                    <a:pt x="342" y="264"/>
                  </a:lnTo>
                  <a:cubicBezTo>
                    <a:pt x="358" y="272"/>
                    <a:pt x="426" y="301"/>
                    <a:pt x="426" y="402"/>
                  </a:cubicBezTo>
                  <a:cubicBezTo>
                    <a:pt x="426" y="497"/>
                    <a:pt x="355" y="572"/>
                    <a:pt x="252" y="572"/>
                  </a:cubicBezTo>
                  <a:lnTo>
                    <a:pt x="0" y="572"/>
                  </a:lnTo>
                  <a:lnTo>
                    <a:pt x="0" y="47"/>
                  </a:lnTo>
                  <a:cubicBezTo>
                    <a:pt x="0" y="20"/>
                    <a:pt x="18" y="2"/>
                    <a:pt x="44" y="2"/>
                  </a:cubicBezTo>
                  <a:lnTo>
                    <a:pt x="241" y="2"/>
                  </a:lnTo>
                  <a:cubicBezTo>
                    <a:pt x="336" y="2"/>
                    <a:pt x="399" y="59"/>
                    <a:pt x="399" y="147"/>
                  </a:cubicBezTo>
                  <a:cubicBezTo>
                    <a:pt x="399" y="221"/>
                    <a:pt x="357" y="254"/>
                    <a:pt x="342" y="264"/>
                  </a:cubicBezTo>
                  <a:close/>
                  <a:moveTo>
                    <a:pt x="91" y="230"/>
                  </a:moveTo>
                  <a:lnTo>
                    <a:pt x="91" y="230"/>
                  </a:lnTo>
                  <a:lnTo>
                    <a:pt x="229" y="230"/>
                  </a:lnTo>
                  <a:cubicBezTo>
                    <a:pt x="278" y="230"/>
                    <a:pt x="306" y="199"/>
                    <a:pt x="306" y="161"/>
                  </a:cubicBezTo>
                  <a:cubicBezTo>
                    <a:pt x="306" y="123"/>
                    <a:pt x="281" y="92"/>
                    <a:pt x="229" y="92"/>
                  </a:cubicBezTo>
                  <a:lnTo>
                    <a:pt x="91" y="92"/>
                  </a:lnTo>
                  <a:lnTo>
                    <a:pt x="91" y="230"/>
                  </a:lnTo>
                  <a:close/>
                  <a:moveTo>
                    <a:pt x="235" y="484"/>
                  </a:moveTo>
                  <a:lnTo>
                    <a:pt x="235" y="484"/>
                  </a:lnTo>
                  <a:cubicBezTo>
                    <a:pt x="300" y="484"/>
                    <a:pt x="333" y="446"/>
                    <a:pt x="333" y="400"/>
                  </a:cubicBezTo>
                  <a:cubicBezTo>
                    <a:pt x="333" y="352"/>
                    <a:pt x="301" y="314"/>
                    <a:pt x="235" y="314"/>
                  </a:cubicBezTo>
                  <a:lnTo>
                    <a:pt x="91" y="314"/>
                  </a:lnTo>
                  <a:lnTo>
                    <a:pt x="91" y="484"/>
                  </a:lnTo>
                  <a:lnTo>
                    <a:pt x="235" y="484"/>
                  </a:lnTo>
                  <a:close/>
                  <a:moveTo>
                    <a:pt x="2858" y="92"/>
                  </a:moveTo>
                  <a:lnTo>
                    <a:pt x="2858" y="92"/>
                  </a:lnTo>
                  <a:cubicBezTo>
                    <a:pt x="2888" y="92"/>
                    <a:pt x="2906" y="73"/>
                    <a:pt x="2906" y="48"/>
                  </a:cubicBezTo>
                  <a:cubicBezTo>
                    <a:pt x="2906" y="23"/>
                    <a:pt x="2887" y="3"/>
                    <a:pt x="2858" y="3"/>
                  </a:cubicBezTo>
                  <a:lnTo>
                    <a:pt x="2576" y="3"/>
                  </a:lnTo>
                  <a:cubicBezTo>
                    <a:pt x="2551" y="3"/>
                    <a:pt x="2532" y="22"/>
                    <a:pt x="2532" y="48"/>
                  </a:cubicBezTo>
                  <a:lnTo>
                    <a:pt x="2532" y="529"/>
                  </a:lnTo>
                  <a:cubicBezTo>
                    <a:pt x="2532" y="554"/>
                    <a:pt x="2551" y="573"/>
                    <a:pt x="2576" y="573"/>
                  </a:cubicBezTo>
                  <a:lnTo>
                    <a:pt x="2903" y="573"/>
                  </a:lnTo>
                  <a:lnTo>
                    <a:pt x="2903" y="484"/>
                  </a:lnTo>
                  <a:lnTo>
                    <a:pt x="2624" y="484"/>
                  </a:lnTo>
                  <a:lnTo>
                    <a:pt x="2624" y="318"/>
                  </a:lnTo>
                  <a:lnTo>
                    <a:pt x="2834" y="318"/>
                  </a:lnTo>
                  <a:cubicBezTo>
                    <a:pt x="2866" y="318"/>
                    <a:pt x="2884" y="299"/>
                    <a:pt x="2884" y="274"/>
                  </a:cubicBezTo>
                  <a:cubicBezTo>
                    <a:pt x="2884" y="248"/>
                    <a:pt x="2867" y="229"/>
                    <a:pt x="2834" y="229"/>
                  </a:cubicBezTo>
                  <a:lnTo>
                    <a:pt x="2624" y="229"/>
                  </a:lnTo>
                  <a:lnTo>
                    <a:pt x="2624" y="92"/>
                  </a:lnTo>
                  <a:lnTo>
                    <a:pt x="2858" y="92"/>
                  </a:lnTo>
                  <a:close/>
                  <a:moveTo>
                    <a:pt x="634" y="346"/>
                  </a:moveTo>
                  <a:lnTo>
                    <a:pt x="634" y="346"/>
                  </a:lnTo>
                  <a:lnTo>
                    <a:pt x="634" y="44"/>
                  </a:lnTo>
                  <a:cubicBezTo>
                    <a:pt x="634" y="19"/>
                    <a:pt x="616" y="0"/>
                    <a:pt x="588" y="0"/>
                  </a:cubicBezTo>
                  <a:cubicBezTo>
                    <a:pt x="560" y="0"/>
                    <a:pt x="542" y="19"/>
                    <a:pt x="542" y="44"/>
                  </a:cubicBezTo>
                  <a:lnTo>
                    <a:pt x="542" y="343"/>
                  </a:lnTo>
                  <a:cubicBezTo>
                    <a:pt x="542" y="471"/>
                    <a:pt x="632" y="575"/>
                    <a:pt x="776" y="575"/>
                  </a:cubicBezTo>
                  <a:cubicBezTo>
                    <a:pt x="920" y="575"/>
                    <a:pt x="1010" y="471"/>
                    <a:pt x="1010" y="343"/>
                  </a:cubicBezTo>
                  <a:lnTo>
                    <a:pt x="1010" y="2"/>
                  </a:lnTo>
                  <a:lnTo>
                    <a:pt x="918" y="2"/>
                  </a:lnTo>
                  <a:lnTo>
                    <a:pt x="918" y="345"/>
                  </a:lnTo>
                  <a:cubicBezTo>
                    <a:pt x="918" y="421"/>
                    <a:pt x="867" y="488"/>
                    <a:pt x="776" y="488"/>
                  </a:cubicBezTo>
                  <a:cubicBezTo>
                    <a:pt x="684" y="489"/>
                    <a:pt x="634" y="422"/>
                    <a:pt x="634" y="346"/>
                  </a:cubicBezTo>
                  <a:close/>
                  <a:moveTo>
                    <a:pt x="1676" y="0"/>
                  </a:moveTo>
                  <a:lnTo>
                    <a:pt x="1676" y="0"/>
                  </a:lnTo>
                  <a:cubicBezTo>
                    <a:pt x="1704" y="0"/>
                    <a:pt x="1722" y="19"/>
                    <a:pt x="1722" y="44"/>
                  </a:cubicBezTo>
                  <a:lnTo>
                    <a:pt x="1722" y="572"/>
                  </a:lnTo>
                  <a:lnTo>
                    <a:pt x="1630" y="572"/>
                  </a:lnTo>
                  <a:lnTo>
                    <a:pt x="1630" y="44"/>
                  </a:lnTo>
                  <a:cubicBezTo>
                    <a:pt x="1630" y="19"/>
                    <a:pt x="1647" y="0"/>
                    <a:pt x="167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54929497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Statement 2">
    <p:bg>
      <p:bgPr>
        <a:solidFill>
          <a:schemeClr val="accent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2E03E43-45EB-46FA-8891-8017EE960935}"/>
              </a:ext>
            </a:extLst>
          </p:cNvPr>
          <p:cNvSpPr/>
          <p:nvPr userDrawn="1"/>
        </p:nvSpPr>
        <p:spPr>
          <a:xfrm>
            <a:off x="6096000" y="-9144"/>
            <a:ext cx="6096000" cy="6876288"/>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4A3FEAB6-B0ED-45C1-BC37-9D92F6B30BE6}"/>
              </a:ext>
            </a:extLst>
          </p:cNvPr>
          <p:cNvSpPr>
            <a:spLocks noGrp="1"/>
          </p:cNvSpPr>
          <p:nvPr>
            <p:ph sz="half" idx="1" hasCustomPrompt="1"/>
          </p:nvPr>
        </p:nvSpPr>
        <p:spPr>
          <a:xfrm>
            <a:off x="448205" y="1645920"/>
            <a:ext cx="5486400" cy="4665980"/>
          </a:xfrm>
        </p:spPr>
        <p:txBody>
          <a:bodyPr/>
          <a:lstStyle>
            <a:lvl1pPr marL="0" indent="0">
              <a:buNone/>
              <a:defRPr sz="4000">
                <a:solidFill>
                  <a:schemeClr val="bg1"/>
                </a:solidFill>
                <a:latin typeface="+mj-lt"/>
              </a:defRPr>
            </a:lvl1pPr>
          </a:lstStyle>
          <a:p>
            <a:pPr lvl="0"/>
            <a:r>
              <a:rPr lang="en-US"/>
              <a:t>Single level, 40pt </a:t>
            </a:r>
            <a:r>
              <a:rPr lang="en-GB"/>
              <a:t>Regular</a:t>
            </a:r>
            <a:endParaRPr lang="en-US"/>
          </a:p>
        </p:txBody>
      </p:sp>
      <p:sp>
        <p:nvSpPr>
          <p:cNvPr id="4" name="Content Placeholder 3">
            <a:extLst>
              <a:ext uri="{FF2B5EF4-FFF2-40B4-BE49-F238E27FC236}">
                <a16:creationId xmlns:a16="http://schemas.microsoft.com/office/drawing/2014/main" id="{1582D711-78AA-40DF-9ED8-0A7123D2D990}"/>
              </a:ext>
            </a:extLst>
          </p:cNvPr>
          <p:cNvSpPr>
            <a:spLocks noGrp="1"/>
          </p:cNvSpPr>
          <p:nvPr>
            <p:ph sz="half" idx="2" hasCustomPrompt="1"/>
          </p:nvPr>
        </p:nvSpPr>
        <p:spPr>
          <a:xfrm>
            <a:off x="6245350" y="461912"/>
            <a:ext cx="5486400" cy="584998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First level, 20pt Regular</a:t>
            </a:r>
          </a:p>
          <a:p>
            <a:pPr lvl="1"/>
            <a:r>
              <a:rPr lang="en-US"/>
              <a:t>Second level, 18pt</a:t>
            </a:r>
          </a:p>
          <a:p>
            <a:pPr lvl="2"/>
            <a:r>
              <a:rPr lang="en-US"/>
              <a:t>Third level, 16pt</a:t>
            </a:r>
          </a:p>
          <a:p>
            <a:pPr lvl="3"/>
            <a:r>
              <a:rPr lang="en-US"/>
              <a:t>Fourth level, 14pt</a:t>
            </a:r>
          </a:p>
          <a:p>
            <a:pPr lvl="4"/>
            <a:r>
              <a:rPr lang="en-US"/>
              <a:t>Fifth level, 12pt Bold, use for captions</a:t>
            </a:r>
          </a:p>
        </p:txBody>
      </p:sp>
      <p:sp>
        <p:nvSpPr>
          <p:cNvPr id="6" name="Footer Placeholder 5">
            <a:extLst>
              <a:ext uri="{FF2B5EF4-FFF2-40B4-BE49-F238E27FC236}">
                <a16:creationId xmlns:a16="http://schemas.microsoft.com/office/drawing/2014/main" id="{6666C29D-03F7-467C-85B3-28F7651F8315}"/>
              </a:ext>
            </a:extLst>
          </p:cNvPr>
          <p:cNvSpPr>
            <a:spLocks noGrp="1"/>
          </p:cNvSpPr>
          <p:nvPr>
            <p:ph type="ftr" sz="quarter" idx="11"/>
          </p:nvPr>
        </p:nvSpPr>
        <p:spPr/>
        <p:txBody>
          <a:bodyPr/>
          <a:lstStyle>
            <a:lvl1pPr>
              <a:defRPr>
                <a:solidFill>
                  <a:schemeClr val="bg1"/>
                </a:solidFill>
              </a:defRPr>
            </a:lvl1pPr>
          </a:lstStyle>
          <a:p>
            <a:r>
              <a:rPr lang="en-US"/>
              <a:t>Copyright © 2021 Comcast Business. All rights reserved.</a:t>
            </a:r>
          </a:p>
        </p:txBody>
      </p:sp>
      <p:sp>
        <p:nvSpPr>
          <p:cNvPr id="7" name="Slide Number Placeholder 6">
            <a:extLst>
              <a:ext uri="{FF2B5EF4-FFF2-40B4-BE49-F238E27FC236}">
                <a16:creationId xmlns:a16="http://schemas.microsoft.com/office/drawing/2014/main" id="{51B86CBB-8A54-4818-8CC6-A9598ED3AFFA}"/>
              </a:ext>
            </a:extLst>
          </p:cNvPr>
          <p:cNvSpPr>
            <a:spLocks noGrp="1"/>
          </p:cNvSpPr>
          <p:nvPr>
            <p:ph type="sldNum" sz="quarter" idx="12"/>
          </p:nvPr>
        </p:nvSpPr>
        <p:spPr/>
        <p:txBody>
          <a:bodyPr/>
          <a:lstStyle>
            <a:lvl1pPr>
              <a:defRPr>
                <a:solidFill>
                  <a:schemeClr val="tx1"/>
                </a:solidFill>
              </a:defRPr>
            </a:lvl1pPr>
          </a:lstStyle>
          <a:p>
            <a:fld id="{A07A7439-3E0E-4A6B-9524-3A8EBA819993}" type="slidenum">
              <a:rPr lang="en-US" smtClean="0"/>
              <a:pPr/>
              <a:t>‹#›</a:t>
            </a:fld>
            <a:endParaRPr lang="en-US"/>
          </a:p>
        </p:txBody>
      </p:sp>
      <p:sp>
        <p:nvSpPr>
          <p:cNvPr id="8" name="Text Placeholder 8">
            <a:extLst>
              <a:ext uri="{FF2B5EF4-FFF2-40B4-BE49-F238E27FC236}">
                <a16:creationId xmlns:a16="http://schemas.microsoft.com/office/drawing/2014/main" id="{349B0992-35C7-46C1-990D-C73E0A449734}"/>
              </a:ext>
            </a:extLst>
          </p:cNvPr>
          <p:cNvSpPr>
            <a:spLocks noGrp="1"/>
          </p:cNvSpPr>
          <p:nvPr>
            <p:ph type="body" sz="quarter" idx="13" hasCustomPrompt="1"/>
          </p:nvPr>
        </p:nvSpPr>
        <p:spPr>
          <a:xfrm>
            <a:off x="457200" y="411480"/>
            <a:ext cx="5577840" cy="182880"/>
          </a:xfrm>
        </p:spPr>
        <p:txBody>
          <a:bodyPr/>
          <a:lstStyle>
            <a:lvl1pPr marL="0" indent="0">
              <a:buNone/>
              <a:defRPr sz="1200">
                <a:solidFill>
                  <a:schemeClr val="bg1"/>
                </a:solidFill>
              </a:defRPr>
            </a:lvl1pPr>
            <a:lvl2pPr marL="228600" indent="0">
              <a:buNone/>
              <a:defRPr/>
            </a:lvl2pPr>
          </a:lstStyle>
          <a:p>
            <a:pPr lvl="0"/>
            <a:r>
              <a:rPr lang="en-US"/>
              <a:t>Optional subtitle, 12pt Regular</a:t>
            </a:r>
          </a:p>
        </p:txBody>
      </p:sp>
      <p:grpSp>
        <p:nvGrpSpPr>
          <p:cNvPr id="14" name="Group 13">
            <a:extLst>
              <a:ext uri="{FF2B5EF4-FFF2-40B4-BE49-F238E27FC236}">
                <a16:creationId xmlns:a16="http://schemas.microsoft.com/office/drawing/2014/main" id="{A40D8F40-10BA-46CD-8F24-F71709C68DFD}"/>
              </a:ext>
            </a:extLst>
          </p:cNvPr>
          <p:cNvGrpSpPr>
            <a:grpSpLocks noChangeAspect="1"/>
          </p:cNvGrpSpPr>
          <p:nvPr userDrawn="1"/>
        </p:nvGrpSpPr>
        <p:grpSpPr bwMode="auto">
          <a:xfrm>
            <a:off x="8679774" y="6436900"/>
            <a:ext cx="2522538" cy="184150"/>
            <a:chOff x="288" y="4035"/>
            <a:chExt cx="1589" cy="116"/>
          </a:xfrm>
        </p:grpSpPr>
        <p:sp>
          <p:nvSpPr>
            <p:cNvPr id="15" name="Freeform 5">
              <a:extLst>
                <a:ext uri="{FF2B5EF4-FFF2-40B4-BE49-F238E27FC236}">
                  <a16:creationId xmlns:a16="http://schemas.microsoft.com/office/drawing/2014/main" id="{1CB24044-9D10-4F59-AE19-B665B09DB31E}"/>
                </a:ext>
              </a:extLst>
            </p:cNvPr>
            <p:cNvSpPr>
              <a:spLocks noEditPoints="1"/>
            </p:cNvSpPr>
            <p:nvPr userDrawn="1"/>
          </p:nvSpPr>
          <p:spPr bwMode="auto">
            <a:xfrm>
              <a:off x="288" y="4035"/>
              <a:ext cx="769" cy="116"/>
            </a:xfrm>
            <a:custGeom>
              <a:avLst/>
              <a:gdLst>
                <a:gd name="T0" fmla="*/ 3874 w 3874"/>
                <a:gd name="T1" fmla="*/ 31 h 573"/>
                <a:gd name="T2" fmla="*/ 3527 w 3874"/>
                <a:gd name="T3" fmla="*/ 3 h 573"/>
                <a:gd name="T4" fmla="*/ 3527 w 3874"/>
                <a:gd name="T5" fmla="*/ 59 h 573"/>
                <a:gd name="T6" fmla="*/ 3661 w 3874"/>
                <a:gd name="T7" fmla="*/ 569 h 573"/>
                <a:gd name="T8" fmla="*/ 3713 w 3874"/>
                <a:gd name="T9" fmla="*/ 59 h 573"/>
                <a:gd name="T10" fmla="*/ 3874 w 3874"/>
                <a:gd name="T11" fmla="*/ 31 h 573"/>
                <a:gd name="T12" fmla="*/ 2759 w 3874"/>
                <a:gd name="T13" fmla="*/ 0 h 573"/>
                <a:gd name="T14" fmla="*/ 2523 w 3874"/>
                <a:gd name="T15" fmla="*/ 538 h 573"/>
                <a:gd name="T16" fmla="*/ 2547 w 3874"/>
                <a:gd name="T17" fmla="*/ 573 h 573"/>
                <a:gd name="T18" fmla="*/ 2651 w 3874"/>
                <a:gd name="T19" fmla="*/ 359 h 573"/>
                <a:gd name="T20" fmla="*/ 2954 w 3874"/>
                <a:gd name="T21" fmla="*/ 569 h 573"/>
                <a:gd name="T22" fmla="*/ 2784 w 3874"/>
                <a:gd name="T23" fmla="*/ 16 h 573"/>
                <a:gd name="T24" fmla="*/ 2675 w 3874"/>
                <a:gd name="T25" fmla="*/ 302 h 573"/>
                <a:gd name="T26" fmla="*/ 2760 w 3874"/>
                <a:gd name="T27" fmla="*/ 93 h 573"/>
                <a:gd name="T28" fmla="*/ 2675 w 3874"/>
                <a:gd name="T29" fmla="*/ 302 h 573"/>
                <a:gd name="T30" fmla="*/ 1742 w 3874"/>
                <a:gd name="T31" fmla="*/ 0 h 573"/>
                <a:gd name="T32" fmla="*/ 1549 w 3874"/>
                <a:gd name="T33" fmla="*/ 430 h 573"/>
                <a:gd name="T34" fmla="*/ 1357 w 3874"/>
                <a:gd name="T35" fmla="*/ 0 h 573"/>
                <a:gd name="T36" fmla="*/ 1237 w 3874"/>
                <a:gd name="T37" fmla="*/ 543 h 573"/>
                <a:gd name="T38" fmla="*/ 1261 w 3874"/>
                <a:gd name="T39" fmla="*/ 573 h 573"/>
                <a:gd name="T40" fmla="*/ 1366 w 3874"/>
                <a:gd name="T41" fmla="*/ 116 h 573"/>
                <a:gd name="T42" fmla="*/ 1549 w 3874"/>
                <a:gd name="T43" fmla="*/ 523 h 573"/>
                <a:gd name="T44" fmla="*/ 1732 w 3874"/>
                <a:gd name="T45" fmla="*/ 116 h 573"/>
                <a:gd name="T46" fmla="*/ 1868 w 3874"/>
                <a:gd name="T47" fmla="*/ 570 h 573"/>
                <a:gd name="T48" fmla="*/ 1742 w 3874"/>
                <a:gd name="T49" fmla="*/ 0 h 573"/>
                <a:gd name="T50" fmla="*/ 2226 w 3874"/>
                <a:gd name="T51" fmla="*/ 57 h 573"/>
                <a:gd name="T52" fmla="*/ 2429 w 3874"/>
                <a:gd name="T53" fmla="*/ 124 h 573"/>
                <a:gd name="T54" fmla="*/ 2429 w 3874"/>
                <a:gd name="T55" fmla="*/ 84 h 573"/>
                <a:gd name="T56" fmla="*/ 2226 w 3874"/>
                <a:gd name="T57" fmla="*/ 0 h 573"/>
                <a:gd name="T58" fmla="*/ 2226 w 3874"/>
                <a:gd name="T59" fmla="*/ 573 h 573"/>
                <a:gd name="T60" fmla="*/ 2397 w 3874"/>
                <a:gd name="T61" fmla="*/ 440 h 573"/>
                <a:gd name="T62" fmla="*/ 1996 w 3874"/>
                <a:gd name="T63" fmla="*/ 286 h 573"/>
                <a:gd name="T64" fmla="*/ 285 w 3874"/>
                <a:gd name="T65" fmla="*/ 57 h 573"/>
                <a:gd name="T66" fmla="*/ 448 w 3874"/>
                <a:gd name="T67" fmla="*/ 124 h 573"/>
                <a:gd name="T68" fmla="*/ 497 w 3874"/>
                <a:gd name="T69" fmla="*/ 104 h 573"/>
                <a:gd name="T70" fmla="*/ 485 w 3874"/>
                <a:gd name="T71" fmla="*/ 80 h 573"/>
                <a:gd name="T72" fmla="*/ 0 w 3874"/>
                <a:gd name="T73" fmla="*/ 287 h 573"/>
                <a:gd name="T74" fmla="*/ 497 w 3874"/>
                <a:gd name="T75" fmla="*/ 480 h 573"/>
                <a:gd name="T76" fmla="*/ 286 w 3874"/>
                <a:gd name="T77" fmla="*/ 516 h 573"/>
                <a:gd name="T78" fmla="*/ 285 w 3874"/>
                <a:gd name="T79" fmla="*/ 57 h 573"/>
                <a:gd name="T80" fmla="*/ 3341 w 3874"/>
                <a:gd name="T81" fmla="*/ 290 h 573"/>
                <a:gd name="T82" fmla="*/ 3152 w 3874"/>
                <a:gd name="T83" fmla="*/ 142 h 573"/>
                <a:gd name="T84" fmla="*/ 3361 w 3874"/>
                <a:gd name="T85" fmla="*/ 86 h 573"/>
                <a:gd name="T86" fmla="*/ 3403 w 3874"/>
                <a:gd name="T87" fmla="*/ 61 h 573"/>
                <a:gd name="T88" fmla="*/ 3262 w 3874"/>
                <a:gd name="T89" fmla="*/ 0 h 573"/>
                <a:gd name="T90" fmla="*/ 3194 w 3874"/>
                <a:gd name="T91" fmla="*/ 277 h 573"/>
                <a:gd name="T92" fmla="*/ 3375 w 3874"/>
                <a:gd name="T93" fmla="*/ 423 h 573"/>
                <a:gd name="T94" fmla="*/ 3129 w 3874"/>
                <a:gd name="T95" fmla="*/ 456 h 573"/>
                <a:gd name="T96" fmla="*/ 3082 w 3874"/>
                <a:gd name="T97" fmla="*/ 489 h 573"/>
                <a:gd name="T98" fmla="*/ 3266 w 3874"/>
                <a:gd name="T99" fmla="*/ 572 h 573"/>
                <a:gd name="T100" fmla="*/ 3341 w 3874"/>
                <a:gd name="T101" fmla="*/ 290 h 573"/>
                <a:gd name="T102" fmla="*/ 872 w 3874"/>
                <a:gd name="T103" fmla="*/ 0 h 573"/>
                <a:gd name="T104" fmla="*/ 872 w 3874"/>
                <a:gd name="T105" fmla="*/ 573 h 573"/>
                <a:gd name="T106" fmla="*/ 872 w 3874"/>
                <a:gd name="T107" fmla="*/ 0 h 573"/>
                <a:gd name="T108" fmla="*/ 872 w 3874"/>
                <a:gd name="T109" fmla="*/ 516 h 573"/>
                <a:gd name="T110" fmla="*/ 872 w 3874"/>
                <a:gd name="T111" fmla="*/ 56 h 573"/>
                <a:gd name="T112" fmla="*/ 872 w 3874"/>
                <a:gd name="T113" fmla="*/ 516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874" h="573">
                  <a:moveTo>
                    <a:pt x="3874" y="31"/>
                  </a:moveTo>
                  <a:lnTo>
                    <a:pt x="3874" y="31"/>
                  </a:lnTo>
                  <a:cubicBezTo>
                    <a:pt x="3874" y="16"/>
                    <a:pt x="3861" y="3"/>
                    <a:pt x="3846" y="3"/>
                  </a:cubicBezTo>
                  <a:lnTo>
                    <a:pt x="3527" y="3"/>
                  </a:lnTo>
                  <a:cubicBezTo>
                    <a:pt x="3512" y="3"/>
                    <a:pt x="3499" y="15"/>
                    <a:pt x="3499" y="31"/>
                  </a:cubicBezTo>
                  <a:cubicBezTo>
                    <a:pt x="3499" y="47"/>
                    <a:pt x="3511" y="59"/>
                    <a:pt x="3527" y="59"/>
                  </a:cubicBezTo>
                  <a:lnTo>
                    <a:pt x="3661" y="59"/>
                  </a:lnTo>
                  <a:lnTo>
                    <a:pt x="3661" y="569"/>
                  </a:lnTo>
                  <a:lnTo>
                    <a:pt x="3713" y="569"/>
                  </a:lnTo>
                  <a:lnTo>
                    <a:pt x="3713" y="59"/>
                  </a:lnTo>
                  <a:lnTo>
                    <a:pt x="3846" y="59"/>
                  </a:lnTo>
                  <a:cubicBezTo>
                    <a:pt x="3862" y="60"/>
                    <a:pt x="3874" y="47"/>
                    <a:pt x="3874" y="31"/>
                  </a:cubicBezTo>
                  <a:close/>
                  <a:moveTo>
                    <a:pt x="2759" y="0"/>
                  </a:moveTo>
                  <a:lnTo>
                    <a:pt x="2759" y="0"/>
                  </a:lnTo>
                  <a:cubicBezTo>
                    <a:pt x="2748" y="0"/>
                    <a:pt x="2741" y="7"/>
                    <a:pt x="2735" y="16"/>
                  </a:cubicBezTo>
                  <a:cubicBezTo>
                    <a:pt x="2731" y="26"/>
                    <a:pt x="2523" y="538"/>
                    <a:pt x="2523" y="538"/>
                  </a:cubicBezTo>
                  <a:cubicBezTo>
                    <a:pt x="2522" y="541"/>
                    <a:pt x="2521" y="544"/>
                    <a:pt x="2521" y="547"/>
                  </a:cubicBezTo>
                  <a:cubicBezTo>
                    <a:pt x="2521" y="562"/>
                    <a:pt x="2532" y="573"/>
                    <a:pt x="2547" y="573"/>
                  </a:cubicBezTo>
                  <a:cubicBezTo>
                    <a:pt x="2558" y="573"/>
                    <a:pt x="2567" y="566"/>
                    <a:pt x="2570" y="556"/>
                  </a:cubicBezTo>
                  <a:lnTo>
                    <a:pt x="2651" y="359"/>
                  </a:lnTo>
                  <a:lnTo>
                    <a:pt x="2868" y="359"/>
                  </a:lnTo>
                  <a:lnTo>
                    <a:pt x="2954" y="569"/>
                  </a:lnTo>
                  <a:lnTo>
                    <a:pt x="3009" y="569"/>
                  </a:lnTo>
                  <a:cubicBezTo>
                    <a:pt x="3009" y="569"/>
                    <a:pt x="2788" y="25"/>
                    <a:pt x="2784" y="16"/>
                  </a:cubicBezTo>
                  <a:cubicBezTo>
                    <a:pt x="2779" y="7"/>
                    <a:pt x="2770" y="0"/>
                    <a:pt x="2759" y="0"/>
                  </a:cubicBezTo>
                  <a:close/>
                  <a:moveTo>
                    <a:pt x="2675" y="302"/>
                  </a:moveTo>
                  <a:lnTo>
                    <a:pt x="2675" y="302"/>
                  </a:lnTo>
                  <a:lnTo>
                    <a:pt x="2760" y="93"/>
                  </a:lnTo>
                  <a:lnTo>
                    <a:pt x="2845" y="302"/>
                  </a:lnTo>
                  <a:lnTo>
                    <a:pt x="2675" y="302"/>
                  </a:lnTo>
                  <a:close/>
                  <a:moveTo>
                    <a:pt x="1742" y="0"/>
                  </a:moveTo>
                  <a:lnTo>
                    <a:pt x="1742" y="0"/>
                  </a:lnTo>
                  <a:cubicBezTo>
                    <a:pt x="1731" y="0"/>
                    <a:pt x="1723" y="7"/>
                    <a:pt x="1718" y="16"/>
                  </a:cubicBezTo>
                  <a:cubicBezTo>
                    <a:pt x="1714" y="25"/>
                    <a:pt x="1549" y="430"/>
                    <a:pt x="1549" y="430"/>
                  </a:cubicBezTo>
                  <a:cubicBezTo>
                    <a:pt x="1549" y="430"/>
                    <a:pt x="1385" y="24"/>
                    <a:pt x="1381" y="16"/>
                  </a:cubicBezTo>
                  <a:cubicBezTo>
                    <a:pt x="1376" y="7"/>
                    <a:pt x="1368" y="0"/>
                    <a:pt x="1357" y="0"/>
                  </a:cubicBezTo>
                  <a:cubicBezTo>
                    <a:pt x="1345" y="0"/>
                    <a:pt x="1335" y="9"/>
                    <a:pt x="1332" y="21"/>
                  </a:cubicBezTo>
                  <a:cubicBezTo>
                    <a:pt x="1329" y="33"/>
                    <a:pt x="1237" y="543"/>
                    <a:pt x="1237" y="543"/>
                  </a:cubicBezTo>
                  <a:cubicBezTo>
                    <a:pt x="1237" y="545"/>
                    <a:pt x="1236" y="546"/>
                    <a:pt x="1236" y="548"/>
                  </a:cubicBezTo>
                  <a:cubicBezTo>
                    <a:pt x="1236" y="562"/>
                    <a:pt x="1247" y="573"/>
                    <a:pt x="1261" y="573"/>
                  </a:cubicBezTo>
                  <a:cubicBezTo>
                    <a:pt x="1273" y="573"/>
                    <a:pt x="1284" y="564"/>
                    <a:pt x="1286" y="553"/>
                  </a:cubicBezTo>
                  <a:lnTo>
                    <a:pt x="1366" y="116"/>
                  </a:lnTo>
                  <a:cubicBezTo>
                    <a:pt x="1366" y="116"/>
                    <a:pt x="1521" y="498"/>
                    <a:pt x="1526" y="507"/>
                  </a:cubicBezTo>
                  <a:cubicBezTo>
                    <a:pt x="1530" y="516"/>
                    <a:pt x="1538" y="523"/>
                    <a:pt x="1549" y="523"/>
                  </a:cubicBezTo>
                  <a:cubicBezTo>
                    <a:pt x="1560" y="523"/>
                    <a:pt x="1569" y="516"/>
                    <a:pt x="1573" y="507"/>
                  </a:cubicBezTo>
                  <a:cubicBezTo>
                    <a:pt x="1578" y="498"/>
                    <a:pt x="1732" y="116"/>
                    <a:pt x="1732" y="116"/>
                  </a:cubicBezTo>
                  <a:lnTo>
                    <a:pt x="1816" y="570"/>
                  </a:lnTo>
                  <a:lnTo>
                    <a:pt x="1868" y="570"/>
                  </a:lnTo>
                  <a:cubicBezTo>
                    <a:pt x="1868" y="570"/>
                    <a:pt x="1770" y="33"/>
                    <a:pt x="1767" y="21"/>
                  </a:cubicBezTo>
                  <a:cubicBezTo>
                    <a:pt x="1763" y="9"/>
                    <a:pt x="1754" y="0"/>
                    <a:pt x="1742" y="0"/>
                  </a:cubicBezTo>
                  <a:close/>
                  <a:moveTo>
                    <a:pt x="2226" y="57"/>
                  </a:moveTo>
                  <a:lnTo>
                    <a:pt x="2226" y="57"/>
                  </a:lnTo>
                  <a:cubicBezTo>
                    <a:pt x="2288" y="57"/>
                    <a:pt x="2345" y="80"/>
                    <a:pt x="2389" y="124"/>
                  </a:cubicBezTo>
                  <a:cubicBezTo>
                    <a:pt x="2399" y="134"/>
                    <a:pt x="2419" y="134"/>
                    <a:pt x="2429" y="124"/>
                  </a:cubicBezTo>
                  <a:cubicBezTo>
                    <a:pt x="2434" y="119"/>
                    <a:pt x="2437" y="112"/>
                    <a:pt x="2437" y="104"/>
                  </a:cubicBezTo>
                  <a:cubicBezTo>
                    <a:pt x="2437" y="96"/>
                    <a:pt x="2434" y="89"/>
                    <a:pt x="2429" y="84"/>
                  </a:cubicBezTo>
                  <a:lnTo>
                    <a:pt x="2426" y="80"/>
                  </a:lnTo>
                  <a:cubicBezTo>
                    <a:pt x="2372" y="29"/>
                    <a:pt x="2301" y="0"/>
                    <a:pt x="2226" y="0"/>
                  </a:cubicBezTo>
                  <a:cubicBezTo>
                    <a:pt x="2069" y="0"/>
                    <a:pt x="1940" y="129"/>
                    <a:pt x="1940" y="287"/>
                  </a:cubicBezTo>
                  <a:cubicBezTo>
                    <a:pt x="1940" y="445"/>
                    <a:pt x="2069" y="573"/>
                    <a:pt x="2226" y="573"/>
                  </a:cubicBezTo>
                  <a:cubicBezTo>
                    <a:pt x="2310" y="573"/>
                    <a:pt x="2385" y="538"/>
                    <a:pt x="2437" y="480"/>
                  </a:cubicBezTo>
                  <a:lnTo>
                    <a:pt x="2397" y="440"/>
                  </a:lnTo>
                  <a:cubicBezTo>
                    <a:pt x="2355" y="487"/>
                    <a:pt x="2294" y="516"/>
                    <a:pt x="2226" y="516"/>
                  </a:cubicBezTo>
                  <a:cubicBezTo>
                    <a:pt x="2100" y="516"/>
                    <a:pt x="1996" y="413"/>
                    <a:pt x="1996" y="286"/>
                  </a:cubicBezTo>
                  <a:cubicBezTo>
                    <a:pt x="1996" y="160"/>
                    <a:pt x="2100" y="57"/>
                    <a:pt x="2226" y="57"/>
                  </a:cubicBezTo>
                  <a:close/>
                  <a:moveTo>
                    <a:pt x="285" y="57"/>
                  </a:moveTo>
                  <a:lnTo>
                    <a:pt x="285" y="57"/>
                  </a:lnTo>
                  <a:cubicBezTo>
                    <a:pt x="347" y="57"/>
                    <a:pt x="404" y="80"/>
                    <a:pt x="448" y="124"/>
                  </a:cubicBezTo>
                  <a:cubicBezTo>
                    <a:pt x="459" y="134"/>
                    <a:pt x="478" y="134"/>
                    <a:pt x="488" y="124"/>
                  </a:cubicBezTo>
                  <a:cubicBezTo>
                    <a:pt x="494" y="119"/>
                    <a:pt x="497" y="112"/>
                    <a:pt x="497" y="104"/>
                  </a:cubicBezTo>
                  <a:cubicBezTo>
                    <a:pt x="497" y="96"/>
                    <a:pt x="494" y="89"/>
                    <a:pt x="488" y="84"/>
                  </a:cubicBezTo>
                  <a:lnTo>
                    <a:pt x="485" y="80"/>
                  </a:lnTo>
                  <a:cubicBezTo>
                    <a:pt x="431" y="29"/>
                    <a:pt x="361" y="0"/>
                    <a:pt x="286" y="0"/>
                  </a:cubicBezTo>
                  <a:cubicBezTo>
                    <a:pt x="128" y="0"/>
                    <a:pt x="0" y="129"/>
                    <a:pt x="0" y="287"/>
                  </a:cubicBezTo>
                  <a:cubicBezTo>
                    <a:pt x="0" y="445"/>
                    <a:pt x="128" y="573"/>
                    <a:pt x="286" y="573"/>
                  </a:cubicBezTo>
                  <a:cubicBezTo>
                    <a:pt x="369" y="573"/>
                    <a:pt x="444" y="538"/>
                    <a:pt x="497" y="480"/>
                  </a:cubicBezTo>
                  <a:lnTo>
                    <a:pt x="457" y="440"/>
                  </a:lnTo>
                  <a:cubicBezTo>
                    <a:pt x="415" y="487"/>
                    <a:pt x="353" y="516"/>
                    <a:pt x="286" y="516"/>
                  </a:cubicBezTo>
                  <a:cubicBezTo>
                    <a:pt x="159" y="516"/>
                    <a:pt x="56" y="413"/>
                    <a:pt x="56" y="286"/>
                  </a:cubicBezTo>
                  <a:cubicBezTo>
                    <a:pt x="55" y="160"/>
                    <a:pt x="159" y="57"/>
                    <a:pt x="285" y="57"/>
                  </a:cubicBezTo>
                  <a:close/>
                  <a:moveTo>
                    <a:pt x="3341" y="290"/>
                  </a:moveTo>
                  <a:lnTo>
                    <a:pt x="3341" y="290"/>
                  </a:lnTo>
                  <a:cubicBezTo>
                    <a:pt x="3326" y="282"/>
                    <a:pt x="3233" y="234"/>
                    <a:pt x="3219" y="227"/>
                  </a:cubicBezTo>
                  <a:cubicBezTo>
                    <a:pt x="3170" y="201"/>
                    <a:pt x="3152" y="179"/>
                    <a:pt x="3152" y="142"/>
                  </a:cubicBezTo>
                  <a:cubicBezTo>
                    <a:pt x="3152" y="90"/>
                    <a:pt x="3195" y="56"/>
                    <a:pt x="3262" y="56"/>
                  </a:cubicBezTo>
                  <a:cubicBezTo>
                    <a:pt x="3301" y="56"/>
                    <a:pt x="3339" y="73"/>
                    <a:pt x="3361" y="86"/>
                  </a:cubicBezTo>
                  <a:cubicBezTo>
                    <a:pt x="3365" y="88"/>
                    <a:pt x="3370" y="89"/>
                    <a:pt x="3374" y="89"/>
                  </a:cubicBezTo>
                  <a:cubicBezTo>
                    <a:pt x="3390" y="89"/>
                    <a:pt x="3403" y="77"/>
                    <a:pt x="3403" y="61"/>
                  </a:cubicBezTo>
                  <a:cubicBezTo>
                    <a:pt x="3403" y="51"/>
                    <a:pt x="3397" y="42"/>
                    <a:pt x="3388" y="37"/>
                  </a:cubicBezTo>
                  <a:cubicBezTo>
                    <a:pt x="3361" y="21"/>
                    <a:pt x="3313" y="0"/>
                    <a:pt x="3262" y="0"/>
                  </a:cubicBezTo>
                  <a:cubicBezTo>
                    <a:pt x="3165" y="0"/>
                    <a:pt x="3097" y="58"/>
                    <a:pt x="3097" y="142"/>
                  </a:cubicBezTo>
                  <a:cubicBezTo>
                    <a:pt x="3097" y="217"/>
                    <a:pt x="3146" y="252"/>
                    <a:pt x="3194" y="277"/>
                  </a:cubicBezTo>
                  <a:cubicBezTo>
                    <a:pt x="3208" y="284"/>
                    <a:pt x="3302" y="333"/>
                    <a:pt x="3317" y="340"/>
                  </a:cubicBezTo>
                  <a:cubicBezTo>
                    <a:pt x="3354" y="360"/>
                    <a:pt x="3375" y="390"/>
                    <a:pt x="3375" y="423"/>
                  </a:cubicBezTo>
                  <a:cubicBezTo>
                    <a:pt x="3375" y="468"/>
                    <a:pt x="3337" y="516"/>
                    <a:pt x="3266" y="516"/>
                  </a:cubicBezTo>
                  <a:cubicBezTo>
                    <a:pt x="3196" y="516"/>
                    <a:pt x="3143" y="470"/>
                    <a:pt x="3129" y="456"/>
                  </a:cubicBezTo>
                  <a:lnTo>
                    <a:pt x="3124" y="451"/>
                  </a:lnTo>
                  <a:lnTo>
                    <a:pt x="3082" y="489"/>
                  </a:lnTo>
                  <a:lnTo>
                    <a:pt x="3087" y="494"/>
                  </a:lnTo>
                  <a:cubicBezTo>
                    <a:pt x="3106" y="512"/>
                    <a:pt x="3173" y="572"/>
                    <a:pt x="3266" y="572"/>
                  </a:cubicBezTo>
                  <a:cubicBezTo>
                    <a:pt x="3369" y="572"/>
                    <a:pt x="3431" y="496"/>
                    <a:pt x="3431" y="422"/>
                  </a:cubicBezTo>
                  <a:cubicBezTo>
                    <a:pt x="3431" y="368"/>
                    <a:pt x="3398" y="320"/>
                    <a:pt x="3341" y="290"/>
                  </a:cubicBezTo>
                  <a:close/>
                  <a:moveTo>
                    <a:pt x="872" y="0"/>
                  </a:moveTo>
                  <a:lnTo>
                    <a:pt x="872" y="0"/>
                  </a:lnTo>
                  <a:cubicBezTo>
                    <a:pt x="715" y="0"/>
                    <a:pt x="586" y="129"/>
                    <a:pt x="586" y="287"/>
                  </a:cubicBezTo>
                  <a:cubicBezTo>
                    <a:pt x="586" y="445"/>
                    <a:pt x="715" y="573"/>
                    <a:pt x="872" y="573"/>
                  </a:cubicBezTo>
                  <a:cubicBezTo>
                    <a:pt x="1030" y="573"/>
                    <a:pt x="1159" y="445"/>
                    <a:pt x="1159" y="287"/>
                  </a:cubicBezTo>
                  <a:cubicBezTo>
                    <a:pt x="1159" y="129"/>
                    <a:pt x="1030" y="0"/>
                    <a:pt x="872" y="0"/>
                  </a:cubicBezTo>
                  <a:close/>
                  <a:moveTo>
                    <a:pt x="872" y="516"/>
                  </a:moveTo>
                  <a:lnTo>
                    <a:pt x="872" y="516"/>
                  </a:lnTo>
                  <a:cubicBezTo>
                    <a:pt x="746" y="516"/>
                    <a:pt x="642" y="413"/>
                    <a:pt x="642" y="286"/>
                  </a:cubicBezTo>
                  <a:cubicBezTo>
                    <a:pt x="642" y="159"/>
                    <a:pt x="746" y="56"/>
                    <a:pt x="872" y="56"/>
                  </a:cubicBezTo>
                  <a:cubicBezTo>
                    <a:pt x="999" y="56"/>
                    <a:pt x="1103" y="159"/>
                    <a:pt x="1103" y="286"/>
                  </a:cubicBezTo>
                  <a:cubicBezTo>
                    <a:pt x="1102" y="413"/>
                    <a:pt x="999" y="516"/>
                    <a:pt x="872" y="516"/>
                  </a:cubicBezTo>
                  <a:close/>
                </a:path>
              </a:pathLst>
            </a:custGeom>
            <a:solidFill>
              <a:srgbClr val="112F6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6">
              <a:extLst>
                <a:ext uri="{FF2B5EF4-FFF2-40B4-BE49-F238E27FC236}">
                  <a16:creationId xmlns:a16="http://schemas.microsoft.com/office/drawing/2014/main" id="{39D16691-B665-4116-92F1-43105BE17B5E}"/>
                </a:ext>
              </a:extLst>
            </p:cNvPr>
            <p:cNvSpPr>
              <a:spLocks noEditPoints="1"/>
            </p:cNvSpPr>
            <p:nvPr userDrawn="1"/>
          </p:nvSpPr>
          <p:spPr bwMode="auto">
            <a:xfrm>
              <a:off x="1114" y="4035"/>
              <a:ext cx="763" cy="116"/>
            </a:xfrm>
            <a:custGeom>
              <a:avLst/>
              <a:gdLst>
                <a:gd name="T0" fmla="*/ 3647 w 3842"/>
                <a:gd name="T1" fmla="*/ 576 h 576"/>
                <a:gd name="T2" fmla="*/ 3634 w 3842"/>
                <a:gd name="T3" fmla="*/ 216 h 576"/>
                <a:gd name="T4" fmla="*/ 3742 w 3842"/>
                <a:gd name="T5" fmla="*/ 105 h 576"/>
                <a:gd name="T6" fmla="*/ 3789 w 3842"/>
                <a:gd name="T7" fmla="*/ 28 h 576"/>
                <a:gd name="T8" fmla="*/ 3606 w 3842"/>
                <a:gd name="T9" fmla="*/ 307 h 576"/>
                <a:gd name="T10" fmla="*/ 3656 w 3842"/>
                <a:gd name="T11" fmla="*/ 487 h 576"/>
                <a:gd name="T12" fmla="*/ 2997 w 3842"/>
                <a:gd name="T13" fmla="*/ 491 h 576"/>
                <a:gd name="T14" fmla="*/ 3376 w 3842"/>
                <a:gd name="T15" fmla="*/ 415 h 576"/>
                <a:gd name="T16" fmla="*/ 3116 w 3842"/>
                <a:gd name="T17" fmla="*/ 149 h 576"/>
                <a:gd name="T18" fmla="*/ 3314 w 3842"/>
                <a:gd name="T19" fmla="*/ 116 h 576"/>
                <a:gd name="T20" fmla="*/ 3197 w 3842"/>
                <a:gd name="T21" fmla="*/ 0 h 576"/>
                <a:gd name="T22" fmla="*/ 3217 w 3842"/>
                <a:gd name="T23" fmla="*/ 343 h 576"/>
                <a:gd name="T24" fmla="*/ 3065 w 3842"/>
                <a:gd name="T25" fmla="*/ 428 h 576"/>
                <a:gd name="T26" fmla="*/ 1117 w 3842"/>
                <a:gd name="T27" fmla="*/ 491 h 576"/>
                <a:gd name="T28" fmla="*/ 1381 w 3842"/>
                <a:gd name="T29" fmla="*/ 261 h 576"/>
                <a:gd name="T30" fmla="*/ 1321 w 3842"/>
                <a:gd name="T31" fmla="*/ 87 h 576"/>
                <a:gd name="T32" fmla="*/ 1476 w 3842"/>
                <a:gd name="T33" fmla="*/ 72 h 576"/>
                <a:gd name="T34" fmla="*/ 1140 w 3842"/>
                <a:gd name="T35" fmla="*/ 153 h 576"/>
                <a:gd name="T36" fmla="*/ 1400 w 3842"/>
                <a:gd name="T37" fmla="*/ 417 h 576"/>
                <a:gd name="T38" fmla="*/ 1117 w 3842"/>
                <a:gd name="T39" fmla="*/ 491 h 576"/>
                <a:gd name="T40" fmla="*/ 1903 w 3842"/>
                <a:gd name="T41" fmla="*/ 43 h 576"/>
                <a:gd name="T42" fmla="*/ 1994 w 3842"/>
                <a:gd name="T43" fmla="*/ 531 h 576"/>
                <a:gd name="T44" fmla="*/ 2328 w 3842"/>
                <a:gd name="T45" fmla="*/ 576 h 576"/>
                <a:gd name="T46" fmla="*/ 2282 w 3842"/>
                <a:gd name="T47" fmla="*/ 3 h 576"/>
                <a:gd name="T48" fmla="*/ 1949 w 3842"/>
                <a:gd name="T49" fmla="*/ 0 h 576"/>
                <a:gd name="T50" fmla="*/ 426 w 3842"/>
                <a:gd name="T51" fmla="*/ 402 h 576"/>
                <a:gd name="T52" fmla="*/ 0 w 3842"/>
                <a:gd name="T53" fmla="*/ 47 h 576"/>
                <a:gd name="T54" fmla="*/ 399 w 3842"/>
                <a:gd name="T55" fmla="*/ 147 h 576"/>
                <a:gd name="T56" fmla="*/ 91 w 3842"/>
                <a:gd name="T57" fmla="*/ 230 h 576"/>
                <a:gd name="T58" fmla="*/ 229 w 3842"/>
                <a:gd name="T59" fmla="*/ 92 h 576"/>
                <a:gd name="T60" fmla="*/ 235 w 3842"/>
                <a:gd name="T61" fmla="*/ 484 h 576"/>
                <a:gd name="T62" fmla="*/ 235 w 3842"/>
                <a:gd name="T63" fmla="*/ 314 h 576"/>
                <a:gd name="T64" fmla="*/ 235 w 3842"/>
                <a:gd name="T65" fmla="*/ 484 h 576"/>
                <a:gd name="T66" fmla="*/ 2906 w 3842"/>
                <a:gd name="T67" fmla="*/ 48 h 576"/>
                <a:gd name="T68" fmla="*/ 2532 w 3842"/>
                <a:gd name="T69" fmla="*/ 48 h 576"/>
                <a:gd name="T70" fmla="*/ 2903 w 3842"/>
                <a:gd name="T71" fmla="*/ 573 h 576"/>
                <a:gd name="T72" fmla="*/ 2624 w 3842"/>
                <a:gd name="T73" fmla="*/ 318 h 576"/>
                <a:gd name="T74" fmla="*/ 2834 w 3842"/>
                <a:gd name="T75" fmla="*/ 229 h 576"/>
                <a:gd name="T76" fmla="*/ 2858 w 3842"/>
                <a:gd name="T77" fmla="*/ 92 h 576"/>
                <a:gd name="T78" fmla="*/ 634 w 3842"/>
                <a:gd name="T79" fmla="*/ 44 h 576"/>
                <a:gd name="T80" fmla="*/ 542 w 3842"/>
                <a:gd name="T81" fmla="*/ 343 h 576"/>
                <a:gd name="T82" fmla="*/ 1010 w 3842"/>
                <a:gd name="T83" fmla="*/ 2 h 576"/>
                <a:gd name="T84" fmla="*/ 776 w 3842"/>
                <a:gd name="T85" fmla="*/ 488 h 576"/>
                <a:gd name="T86" fmla="*/ 1676 w 3842"/>
                <a:gd name="T87" fmla="*/ 0 h 576"/>
                <a:gd name="T88" fmla="*/ 1630 w 3842"/>
                <a:gd name="T89" fmla="*/ 572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842" h="576">
                  <a:moveTo>
                    <a:pt x="3464" y="491"/>
                  </a:moveTo>
                  <a:lnTo>
                    <a:pt x="3464" y="491"/>
                  </a:lnTo>
                  <a:cubicBezTo>
                    <a:pt x="3475" y="506"/>
                    <a:pt x="3529" y="576"/>
                    <a:pt x="3647" y="576"/>
                  </a:cubicBezTo>
                  <a:cubicBezTo>
                    <a:pt x="3763" y="576"/>
                    <a:pt x="3842" y="509"/>
                    <a:pt x="3842" y="415"/>
                  </a:cubicBezTo>
                  <a:cubicBezTo>
                    <a:pt x="3842" y="354"/>
                    <a:pt x="3818" y="305"/>
                    <a:pt x="3727" y="261"/>
                  </a:cubicBezTo>
                  <a:cubicBezTo>
                    <a:pt x="3703" y="249"/>
                    <a:pt x="3634" y="216"/>
                    <a:pt x="3634" y="216"/>
                  </a:cubicBezTo>
                  <a:cubicBezTo>
                    <a:pt x="3599" y="199"/>
                    <a:pt x="3583" y="178"/>
                    <a:pt x="3583" y="149"/>
                  </a:cubicBezTo>
                  <a:cubicBezTo>
                    <a:pt x="3583" y="120"/>
                    <a:pt x="3607" y="87"/>
                    <a:pt x="3667" y="87"/>
                  </a:cubicBezTo>
                  <a:cubicBezTo>
                    <a:pt x="3701" y="87"/>
                    <a:pt x="3727" y="98"/>
                    <a:pt x="3742" y="105"/>
                  </a:cubicBezTo>
                  <a:cubicBezTo>
                    <a:pt x="3748" y="108"/>
                    <a:pt x="3764" y="116"/>
                    <a:pt x="3780" y="116"/>
                  </a:cubicBezTo>
                  <a:cubicBezTo>
                    <a:pt x="3800" y="116"/>
                    <a:pt x="3822" y="102"/>
                    <a:pt x="3822" y="72"/>
                  </a:cubicBezTo>
                  <a:cubicBezTo>
                    <a:pt x="3822" y="48"/>
                    <a:pt x="3804" y="35"/>
                    <a:pt x="3789" y="28"/>
                  </a:cubicBezTo>
                  <a:cubicBezTo>
                    <a:pt x="3764" y="16"/>
                    <a:pt x="3726" y="0"/>
                    <a:pt x="3662" y="0"/>
                  </a:cubicBezTo>
                  <a:cubicBezTo>
                    <a:pt x="3561" y="0"/>
                    <a:pt x="3486" y="63"/>
                    <a:pt x="3486" y="153"/>
                  </a:cubicBezTo>
                  <a:cubicBezTo>
                    <a:pt x="3486" y="234"/>
                    <a:pt x="3540" y="275"/>
                    <a:pt x="3606" y="307"/>
                  </a:cubicBezTo>
                  <a:cubicBezTo>
                    <a:pt x="3619" y="312"/>
                    <a:pt x="3668" y="336"/>
                    <a:pt x="3681" y="343"/>
                  </a:cubicBezTo>
                  <a:cubicBezTo>
                    <a:pt x="3724" y="363"/>
                    <a:pt x="3746" y="382"/>
                    <a:pt x="3746" y="417"/>
                  </a:cubicBezTo>
                  <a:cubicBezTo>
                    <a:pt x="3746" y="455"/>
                    <a:pt x="3710" y="487"/>
                    <a:pt x="3656" y="487"/>
                  </a:cubicBezTo>
                  <a:cubicBezTo>
                    <a:pt x="3579" y="487"/>
                    <a:pt x="3538" y="436"/>
                    <a:pt x="3531" y="428"/>
                  </a:cubicBezTo>
                  <a:lnTo>
                    <a:pt x="3464" y="491"/>
                  </a:lnTo>
                  <a:close/>
                  <a:moveTo>
                    <a:pt x="2997" y="491"/>
                  </a:moveTo>
                  <a:lnTo>
                    <a:pt x="2997" y="491"/>
                  </a:lnTo>
                  <a:cubicBezTo>
                    <a:pt x="3009" y="506"/>
                    <a:pt x="3063" y="576"/>
                    <a:pt x="3182" y="576"/>
                  </a:cubicBezTo>
                  <a:cubicBezTo>
                    <a:pt x="3297" y="576"/>
                    <a:pt x="3376" y="509"/>
                    <a:pt x="3376" y="415"/>
                  </a:cubicBezTo>
                  <a:cubicBezTo>
                    <a:pt x="3376" y="354"/>
                    <a:pt x="3352" y="305"/>
                    <a:pt x="3261" y="261"/>
                  </a:cubicBezTo>
                  <a:cubicBezTo>
                    <a:pt x="3237" y="249"/>
                    <a:pt x="3169" y="216"/>
                    <a:pt x="3169" y="216"/>
                  </a:cubicBezTo>
                  <a:cubicBezTo>
                    <a:pt x="3133" y="199"/>
                    <a:pt x="3116" y="178"/>
                    <a:pt x="3116" y="149"/>
                  </a:cubicBezTo>
                  <a:cubicBezTo>
                    <a:pt x="3116" y="120"/>
                    <a:pt x="3141" y="87"/>
                    <a:pt x="3201" y="87"/>
                  </a:cubicBezTo>
                  <a:cubicBezTo>
                    <a:pt x="3235" y="87"/>
                    <a:pt x="3261" y="98"/>
                    <a:pt x="3275" y="105"/>
                  </a:cubicBezTo>
                  <a:cubicBezTo>
                    <a:pt x="3283" y="108"/>
                    <a:pt x="3299" y="116"/>
                    <a:pt x="3314" y="116"/>
                  </a:cubicBezTo>
                  <a:cubicBezTo>
                    <a:pt x="3334" y="116"/>
                    <a:pt x="3356" y="102"/>
                    <a:pt x="3356" y="72"/>
                  </a:cubicBezTo>
                  <a:cubicBezTo>
                    <a:pt x="3356" y="48"/>
                    <a:pt x="3339" y="35"/>
                    <a:pt x="3323" y="28"/>
                  </a:cubicBezTo>
                  <a:cubicBezTo>
                    <a:pt x="3299" y="16"/>
                    <a:pt x="3260" y="0"/>
                    <a:pt x="3197" y="0"/>
                  </a:cubicBezTo>
                  <a:cubicBezTo>
                    <a:pt x="3095" y="0"/>
                    <a:pt x="3020" y="63"/>
                    <a:pt x="3020" y="153"/>
                  </a:cubicBezTo>
                  <a:cubicBezTo>
                    <a:pt x="3020" y="234"/>
                    <a:pt x="3075" y="275"/>
                    <a:pt x="3141" y="307"/>
                  </a:cubicBezTo>
                  <a:cubicBezTo>
                    <a:pt x="3154" y="312"/>
                    <a:pt x="3203" y="336"/>
                    <a:pt x="3217" y="343"/>
                  </a:cubicBezTo>
                  <a:cubicBezTo>
                    <a:pt x="3258" y="363"/>
                    <a:pt x="3280" y="382"/>
                    <a:pt x="3280" y="417"/>
                  </a:cubicBezTo>
                  <a:cubicBezTo>
                    <a:pt x="3280" y="455"/>
                    <a:pt x="3244" y="487"/>
                    <a:pt x="3191" y="487"/>
                  </a:cubicBezTo>
                  <a:cubicBezTo>
                    <a:pt x="3113" y="487"/>
                    <a:pt x="3072" y="436"/>
                    <a:pt x="3065" y="428"/>
                  </a:cubicBezTo>
                  <a:lnTo>
                    <a:pt x="2997" y="491"/>
                  </a:lnTo>
                  <a:close/>
                  <a:moveTo>
                    <a:pt x="1117" y="491"/>
                  </a:moveTo>
                  <a:lnTo>
                    <a:pt x="1117" y="491"/>
                  </a:lnTo>
                  <a:cubicBezTo>
                    <a:pt x="1129" y="506"/>
                    <a:pt x="1182" y="576"/>
                    <a:pt x="1301" y="576"/>
                  </a:cubicBezTo>
                  <a:cubicBezTo>
                    <a:pt x="1417" y="576"/>
                    <a:pt x="1496" y="509"/>
                    <a:pt x="1496" y="415"/>
                  </a:cubicBezTo>
                  <a:cubicBezTo>
                    <a:pt x="1496" y="354"/>
                    <a:pt x="1472" y="305"/>
                    <a:pt x="1381" y="261"/>
                  </a:cubicBezTo>
                  <a:cubicBezTo>
                    <a:pt x="1356" y="249"/>
                    <a:pt x="1288" y="216"/>
                    <a:pt x="1288" y="216"/>
                  </a:cubicBezTo>
                  <a:cubicBezTo>
                    <a:pt x="1252" y="199"/>
                    <a:pt x="1236" y="178"/>
                    <a:pt x="1236" y="149"/>
                  </a:cubicBezTo>
                  <a:cubicBezTo>
                    <a:pt x="1236" y="120"/>
                    <a:pt x="1261" y="87"/>
                    <a:pt x="1321" y="87"/>
                  </a:cubicBezTo>
                  <a:cubicBezTo>
                    <a:pt x="1355" y="87"/>
                    <a:pt x="1381" y="98"/>
                    <a:pt x="1395" y="105"/>
                  </a:cubicBezTo>
                  <a:cubicBezTo>
                    <a:pt x="1402" y="108"/>
                    <a:pt x="1418" y="116"/>
                    <a:pt x="1434" y="116"/>
                  </a:cubicBezTo>
                  <a:cubicBezTo>
                    <a:pt x="1454" y="116"/>
                    <a:pt x="1476" y="102"/>
                    <a:pt x="1476" y="72"/>
                  </a:cubicBezTo>
                  <a:cubicBezTo>
                    <a:pt x="1476" y="48"/>
                    <a:pt x="1458" y="35"/>
                    <a:pt x="1443" y="28"/>
                  </a:cubicBezTo>
                  <a:cubicBezTo>
                    <a:pt x="1418" y="16"/>
                    <a:pt x="1380" y="0"/>
                    <a:pt x="1316" y="0"/>
                  </a:cubicBezTo>
                  <a:cubicBezTo>
                    <a:pt x="1215" y="0"/>
                    <a:pt x="1140" y="63"/>
                    <a:pt x="1140" y="153"/>
                  </a:cubicBezTo>
                  <a:cubicBezTo>
                    <a:pt x="1140" y="234"/>
                    <a:pt x="1195" y="275"/>
                    <a:pt x="1261" y="307"/>
                  </a:cubicBezTo>
                  <a:cubicBezTo>
                    <a:pt x="1273" y="312"/>
                    <a:pt x="1322" y="336"/>
                    <a:pt x="1336" y="343"/>
                  </a:cubicBezTo>
                  <a:cubicBezTo>
                    <a:pt x="1378" y="363"/>
                    <a:pt x="1400" y="382"/>
                    <a:pt x="1400" y="417"/>
                  </a:cubicBezTo>
                  <a:cubicBezTo>
                    <a:pt x="1400" y="455"/>
                    <a:pt x="1364" y="487"/>
                    <a:pt x="1310" y="487"/>
                  </a:cubicBezTo>
                  <a:cubicBezTo>
                    <a:pt x="1233" y="487"/>
                    <a:pt x="1192" y="436"/>
                    <a:pt x="1185" y="428"/>
                  </a:cubicBezTo>
                  <a:lnTo>
                    <a:pt x="1117" y="491"/>
                  </a:lnTo>
                  <a:close/>
                  <a:moveTo>
                    <a:pt x="1949" y="0"/>
                  </a:moveTo>
                  <a:lnTo>
                    <a:pt x="1949" y="0"/>
                  </a:lnTo>
                  <a:cubicBezTo>
                    <a:pt x="1921" y="0"/>
                    <a:pt x="1903" y="19"/>
                    <a:pt x="1903" y="43"/>
                  </a:cubicBezTo>
                  <a:lnTo>
                    <a:pt x="1903" y="531"/>
                  </a:lnTo>
                  <a:cubicBezTo>
                    <a:pt x="1903" y="555"/>
                    <a:pt x="1924" y="575"/>
                    <a:pt x="1949" y="575"/>
                  </a:cubicBezTo>
                  <a:cubicBezTo>
                    <a:pt x="1972" y="575"/>
                    <a:pt x="1994" y="555"/>
                    <a:pt x="1994" y="531"/>
                  </a:cubicBezTo>
                  <a:lnTo>
                    <a:pt x="1994" y="179"/>
                  </a:lnTo>
                  <a:cubicBezTo>
                    <a:pt x="1994" y="179"/>
                    <a:pt x="2218" y="465"/>
                    <a:pt x="2276" y="541"/>
                  </a:cubicBezTo>
                  <a:cubicBezTo>
                    <a:pt x="2291" y="559"/>
                    <a:pt x="2302" y="576"/>
                    <a:pt x="2328" y="576"/>
                  </a:cubicBezTo>
                  <a:cubicBezTo>
                    <a:pt x="2355" y="576"/>
                    <a:pt x="2373" y="556"/>
                    <a:pt x="2373" y="532"/>
                  </a:cubicBezTo>
                  <a:lnTo>
                    <a:pt x="2373" y="3"/>
                  </a:lnTo>
                  <a:lnTo>
                    <a:pt x="2282" y="3"/>
                  </a:lnTo>
                  <a:lnTo>
                    <a:pt x="2282" y="398"/>
                  </a:lnTo>
                  <a:cubicBezTo>
                    <a:pt x="2282" y="398"/>
                    <a:pt x="2033" y="78"/>
                    <a:pt x="1998" y="34"/>
                  </a:cubicBezTo>
                  <a:cubicBezTo>
                    <a:pt x="1982" y="13"/>
                    <a:pt x="1970" y="0"/>
                    <a:pt x="1949" y="0"/>
                  </a:cubicBezTo>
                  <a:close/>
                  <a:moveTo>
                    <a:pt x="342" y="264"/>
                  </a:moveTo>
                  <a:lnTo>
                    <a:pt x="342" y="264"/>
                  </a:lnTo>
                  <a:cubicBezTo>
                    <a:pt x="358" y="272"/>
                    <a:pt x="426" y="301"/>
                    <a:pt x="426" y="402"/>
                  </a:cubicBezTo>
                  <a:cubicBezTo>
                    <a:pt x="426" y="497"/>
                    <a:pt x="355" y="572"/>
                    <a:pt x="252" y="572"/>
                  </a:cubicBezTo>
                  <a:lnTo>
                    <a:pt x="0" y="572"/>
                  </a:lnTo>
                  <a:lnTo>
                    <a:pt x="0" y="47"/>
                  </a:lnTo>
                  <a:cubicBezTo>
                    <a:pt x="0" y="20"/>
                    <a:pt x="18" y="2"/>
                    <a:pt x="44" y="2"/>
                  </a:cubicBezTo>
                  <a:lnTo>
                    <a:pt x="241" y="2"/>
                  </a:lnTo>
                  <a:cubicBezTo>
                    <a:pt x="336" y="2"/>
                    <a:pt x="399" y="59"/>
                    <a:pt x="399" y="147"/>
                  </a:cubicBezTo>
                  <a:cubicBezTo>
                    <a:pt x="399" y="221"/>
                    <a:pt x="357" y="254"/>
                    <a:pt x="342" y="264"/>
                  </a:cubicBezTo>
                  <a:close/>
                  <a:moveTo>
                    <a:pt x="91" y="230"/>
                  </a:moveTo>
                  <a:lnTo>
                    <a:pt x="91" y="230"/>
                  </a:lnTo>
                  <a:lnTo>
                    <a:pt x="229" y="230"/>
                  </a:lnTo>
                  <a:cubicBezTo>
                    <a:pt x="278" y="230"/>
                    <a:pt x="306" y="199"/>
                    <a:pt x="306" y="161"/>
                  </a:cubicBezTo>
                  <a:cubicBezTo>
                    <a:pt x="306" y="123"/>
                    <a:pt x="281" y="92"/>
                    <a:pt x="229" y="92"/>
                  </a:cubicBezTo>
                  <a:lnTo>
                    <a:pt x="91" y="92"/>
                  </a:lnTo>
                  <a:lnTo>
                    <a:pt x="91" y="230"/>
                  </a:lnTo>
                  <a:close/>
                  <a:moveTo>
                    <a:pt x="235" y="484"/>
                  </a:moveTo>
                  <a:lnTo>
                    <a:pt x="235" y="484"/>
                  </a:lnTo>
                  <a:cubicBezTo>
                    <a:pt x="300" y="484"/>
                    <a:pt x="333" y="446"/>
                    <a:pt x="333" y="400"/>
                  </a:cubicBezTo>
                  <a:cubicBezTo>
                    <a:pt x="333" y="352"/>
                    <a:pt x="301" y="314"/>
                    <a:pt x="235" y="314"/>
                  </a:cubicBezTo>
                  <a:lnTo>
                    <a:pt x="91" y="314"/>
                  </a:lnTo>
                  <a:lnTo>
                    <a:pt x="91" y="484"/>
                  </a:lnTo>
                  <a:lnTo>
                    <a:pt x="235" y="484"/>
                  </a:lnTo>
                  <a:close/>
                  <a:moveTo>
                    <a:pt x="2858" y="92"/>
                  </a:moveTo>
                  <a:lnTo>
                    <a:pt x="2858" y="92"/>
                  </a:lnTo>
                  <a:cubicBezTo>
                    <a:pt x="2888" y="92"/>
                    <a:pt x="2906" y="73"/>
                    <a:pt x="2906" y="48"/>
                  </a:cubicBezTo>
                  <a:cubicBezTo>
                    <a:pt x="2906" y="23"/>
                    <a:pt x="2887" y="3"/>
                    <a:pt x="2858" y="3"/>
                  </a:cubicBezTo>
                  <a:lnTo>
                    <a:pt x="2576" y="3"/>
                  </a:lnTo>
                  <a:cubicBezTo>
                    <a:pt x="2551" y="3"/>
                    <a:pt x="2532" y="22"/>
                    <a:pt x="2532" y="48"/>
                  </a:cubicBezTo>
                  <a:lnTo>
                    <a:pt x="2532" y="529"/>
                  </a:lnTo>
                  <a:cubicBezTo>
                    <a:pt x="2532" y="554"/>
                    <a:pt x="2551" y="573"/>
                    <a:pt x="2576" y="573"/>
                  </a:cubicBezTo>
                  <a:lnTo>
                    <a:pt x="2903" y="573"/>
                  </a:lnTo>
                  <a:lnTo>
                    <a:pt x="2903" y="484"/>
                  </a:lnTo>
                  <a:lnTo>
                    <a:pt x="2624" y="484"/>
                  </a:lnTo>
                  <a:lnTo>
                    <a:pt x="2624" y="318"/>
                  </a:lnTo>
                  <a:lnTo>
                    <a:pt x="2834" y="318"/>
                  </a:lnTo>
                  <a:cubicBezTo>
                    <a:pt x="2866" y="318"/>
                    <a:pt x="2884" y="299"/>
                    <a:pt x="2884" y="274"/>
                  </a:cubicBezTo>
                  <a:cubicBezTo>
                    <a:pt x="2884" y="248"/>
                    <a:pt x="2867" y="229"/>
                    <a:pt x="2834" y="229"/>
                  </a:cubicBezTo>
                  <a:lnTo>
                    <a:pt x="2624" y="229"/>
                  </a:lnTo>
                  <a:lnTo>
                    <a:pt x="2624" y="92"/>
                  </a:lnTo>
                  <a:lnTo>
                    <a:pt x="2858" y="92"/>
                  </a:lnTo>
                  <a:close/>
                  <a:moveTo>
                    <a:pt x="634" y="346"/>
                  </a:moveTo>
                  <a:lnTo>
                    <a:pt x="634" y="346"/>
                  </a:lnTo>
                  <a:lnTo>
                    <a:pt x="634" y="44"/>
                  </a:lnTo>
                  <a:cubicBezTo>
                    <a:pt x="634" y="19"/>
                    <a:pt x="616" y="0"/>
                    <a:pt x="588" y="0"/>
                  </a:cubicBezTo>
                  <a:cubicBezTo>
                    <a:pt x="560" y="0"/>
                    <a:pt x="542" y="19"/>
                    <a:pt x="542" y="44"/>
                  </a:cubicBezTo>
                  <a:lnTo>
                    <a:pt x="542" y="343"/>
                  </a:lnTo>
                  <a:cubicBezTo>
                    <a:pt x="542" y="471"/>
                    <a:pt x="632" y="575"/>
                    <a:pt x="776" y="575"/>
                  </a:cubicBezTo>
                  <a:cubicBezTo>
                    <a:pt x="920" y="575"/>
                    <a:pt x="1010" y="471"/>
                    <a:pt x="1010" y="343"/>
                  </a:cubicBezTo>
                  <a:lnTo>
                    <a:pt x="1010" y="2"/>
                  </a:lnTo>
                  <a:lnTo>
                    <a:pt x="918" y="2"/>
                  </a:lnTo>
                  <a:lnTo>
                    <a:pt x="918" y="345"/>
                  </a:lnTo>
                  <a:cubicBezTo>
                    <a:pt x="918" y="421"/>
                    <a:pt x="867" y="488"/>
                    <a:pt x="776" y="488"/>
                  </a:cubicBezTo>
                  <a:cubicBezTo>
                    <a:pt x="684" y="489"/>
                    <a:pt x="634" y="422"/>
                    <a:pt x="634" y="346"/>
                  </a:cubicBezTo>
                  <a:close/>
                  <a:moveTo>
                    <a:pt x="1676" y="0"/>
                  </a:moveTo>
                  <a:lnTo>
                    <a:pt x="1676" y="0"/>
                  </a:lnTo>
                  <a:cubicBezTo>
                    <a:pt x="1704" y="0"/>
                    <a:pt x="1722" y="19"/>
                    <a:pt x="1722" y="44"/>
                  </a:cubicBezTo>
                  <a:lnTo>
                    <a:pt x="1722" y="572"/>
                  </a:lnTo>
                  <a:lnTo>
                    <a:pt x="1630" y="572"/>
                  </a:lnTo>
                  <a:lnTo>
                    <a:pt x="1630" y="44"/>
                  </a:lnTo>
                  <a:cubicBezTo>
                    <a:pt x="1630" y="19"/>
                    <a:pt x="1647" y="0"/>
                    <a:pt x="1676" y="0"/>
                  </a:cubicBezTo>
                  <a:close/>
                </a:path>
              </a:pathLst>
            </a:custGeom>
            <a:solidFill>
              <a:srgbClr val="0D62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11808453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Split 1">
    <p:bg>
      <p:bgPr>
        <a:solidFill>
          <a:schemeClr val="accent1"/>
        </a:solidFill>
        <a:effectLst/>
      </p:bgPr>
    </p:bg>
    <p:spTree>
      <p:nvGrpSpPr>
        <p:cNvPr id="1" name=""/>
        <p:cNvGrpSpPr/>
        <p:nvPr/>
      </p:nvGrpSpPr>
      <p:grpSpPr>
        <a:xfrm>
          <a:off x="0" y="0"/>
          <a:ext cx="0" cy="0"/>
          <a:chOff x="0" y="0"/>
          <a:chExt cx="0" cy="0"/>
        </a:xfrm>
      </p:grpSpPr>
      <p:sp>
        <p:nvSpPr>
          <p:cNvPr id="16" name="Rectangle: Single Corner Rounded 15">
            <a:extLst>
              <a:ext uri="{FF2B5EF4-FFF2-40B4-BE49-F238E27FC236}">
                <a16:creationId xmlns:a16="http://schemas.microsoft.com/office/drawing/2014/main" id="{5260F9FA-1EFA-4E42-B19E-AE498163DCDB}"/>
              </a:ext>
            </a:extLst>
          </p:cNvPr>
          <p:cNvSpPr/>
          <p:nvPr userDrawn="1"/>
        </p:nvSpPr>
        <p:spPr>
          <a:xfrm flipH="1">
            <a:off x="6447931" y="2285374"/>
            <a:ext cx="5769864" cy="4581144"/>
          </a:xfrm>
          <a:prstGeom prst="round1Rect">
            <a:avLst>
              <a:gd name="adj" fmla="val 5325"/>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F8194D4-3A07-4F1A-882C-C717883D954E}"/>
              </a:ext>
            </a:extLst>
          </p:cNvPr>
          <p:cNvSpPr>
            <a:spLocks noGrp="1"/>
          </p:cNvSpPr>
          <p:nvPr>
            <p:ph type="title" hasCustomPrompt="1"/>
          </p:nvPr>
        </p:nvSpPr>
        <p:spPr>
          <a:xfrm>
            <a:off x="429488" y="685800"/>
            <a:ext cx="11305313" cy="822960"/>
          </a:xfrm>
        </p:spPr>
        <p:txBody>
          <a:bodyPr/>
          <a:lstStyle>
            <a:lvl1pPr>
              <a:defRPr>
                <a:solidFill>
                  <a:schemeClr val="bg1"/>
                </a:solidFill>
              </a:defRPr>
            </a:lvl1pPr>
          </a:lstStyle>
          <a:p>
            <a:r>
              <a:rPr lang="en-US"/>
              <a:t>Slide title, 32pt </a:t>
            </a:r>
            <a:r>
              <a:rPr lang="en-GB"/>
              <a:t>Regular</a:t>
            </a:r>
            <a:endParaRPr lang="en-US"/>
          </a:p>
        </p:txBody>
      </p:sp>
      <p:sp>
        <p:nvSpPr>
          <p:cNvPr id="3" name="Content Placeholder 2">
            <a:extLst>
              <a:ext uri="{FF2B5EF4-FFF2-40B4-BE49-F238E27FC236}">
                <a16:creationId xmlns:a16="http://schemas.microsoft.com/office/drawing/2014/main" id="{4A3FEAB6-B0ED-45C1-BC37-9D92F6B30BE6}"/>
              </a:ext>
            </a:extLst>
          </p:cNvPr>
          <p:cNvSpPr>
            <a:spLocks noGrp="1"/>
          </p:cNvSpPr>
          <p:nvPr>
            <p:ph sz="half" idx="1" hasCustomPrompt="1"/>
          </p:nvPr>
        </p:nvSpPr>
        <p:spPr>
          <a:xfrm>
            <a:off x="448205" y="1645920"/>
            <a:ext cx="5486400" cy="466344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First level, 20pt Regular</a:t>
            </a:r>
          </a:p>
          <a:p>
            <a:pPr lvl="1"/>
            <a:r>
              <a:rPr lang="en-US"/>
              <a:t>Second level, 18pt</a:t>
            </a:r>
          </a:p>
          <a:p>
            <a:pPr lvl="2"/>
            <a:r>
              <a:rPr lang="en-US"/>
              <a:t>Third level, 16pt</a:t>
            </a:r>
          </a:p>
          <a:p>
            <a:pPr lvl="3"/>
            <a:r>
              <a:rPr lang="en-US"/>
              <a:t>Fourth level, 14pt</a:t>
            </a:r>
          </a:p>
          <a:p>
            <a:pPr lvl="4"/>
            <a:r>
              <a:rPr lang="en-US"/>
              <a:t>Fifth level, 12pt Bold, use for captions</a:t>
            </a:r>
          </a:p>
        </p:txBody>
      </p:sp>
      <p:sp>
        <p:nvSpPr>
          <p:cNvPr id="6" name="Footer Placeholder 5">
            <a:extLst>
              <a:ext uri="{FF2B5EF4-FFF2-40B4-BE49-F238E27FC236}">
                <a16:creationId xmlns:a16="http://schemas.microsoft.com/office/drawing/2014/main" id="{6666C29D-03F7-467C-85B3-28F7651F8315}"/>
              </a:ext>
            </a:extLst>
          </p:cNvPr>
          <p:cNvSpPr>
            <a:spLocks noGrp="1"/>
          </p:cNvSpPr>
          <p:nvPr>
            <p:ph type="ftr" sz="quarter" idx="11"/>
          </p:nvPr>
        </p:nvSpPr>
        <p:spPr/>
        <p:txBody>
          <a:bodyPr/>
          <a:lstStyle>
            <a:lvl1pPr>
              <a:defRPr>
                <a:solidFill>
                  <a:schemeClr val="bg1"/>
                </a:solidFill>
              </a:defRPr>
            </a:lvl1pPr>
          </a:lstStyle>
          <a:p>
            <a:r>
              <a:rPr lang="en-US"/>
              <a:t>Copyright © 2021 Comcast Business. All rights reserved.</a:t>
            </a:r>
          </a:p>
        </p:txBody>
      </p:sp>
      <p:sp>
        <p:nvSpPr>
          <p:cNvPr id="7" name="Slide Number Placeholder 6">
            <a:extLst>
              <a:ext uri="{FF2B5EF4-FFF2-40B4-BE49-F238E27FC236}">
                <a16:creationId xmlns:a16="http://schemas.microsoft.com/office/drawing/2014/main" id="{51B86CBB-8A54-4818-8CC6-A9598ED3AFFA}"/>
              </a:ext>
            </a:extLst>
          </p:cNvPr>
          <p:cNvSpPr>
            <a:spLocks noGrp="1"/>
          </p:cNvSpPr>
          <p:nvPr>
            <p:ph type="sldNum" sz="quarter" idx="12"/>
          </p:nvPr>
        </p:nvSpPr>
        <p:spPr/>
        <p:txBody>
          <a:bodyPr/>
          <a:lstStyle>
            <a:lvl1pPr>
              <a:defRPr>
                <a:solidFill>
                  <a:schemeClr val="tx1"/>
                </a:solidFill>
              </a:defRPr>
            </a:lvl1pPr>
          </a:lstStyle>
          <a:p>
            <a:fld id="{A07A7439-3E0E-4A6B-9524-3A8EBA819993}" type="slidenum">
              <a:rPr lang="en-US" smtClean="0"/>
              <a:pPr/>
              <a:t>‹#›</a:t>
            </a:fld>
            <a:endParaRPr lang="en-US"/>
          </a:p>
        </p:txBody>
      </p:sp>
      <p:sp>
        <p:nvSpPr>
          <p:cNvPr id="8" name="Text Placeholder 8">
            <a:extLst>
              <a:ext uri="{FF2B5EF4-FFF2-40B4-BE49-F238E27FC236}">
                <a16:creationId xmlns:a16="http://schemas.microsoft.com/office/drawing/2014/main" id="{349B0992-35C7-46C1-990D-C73E0A449734}"/>
              </a:ext>
            </a:extLst>
          </p:cNvPr>
          <p:cNvSpPr>
            <a:spLocks noGrp="1"/>
          </p:cNvSpPr>
          <p:nvPr>
            <p:ph type="body" sz="quarter" idx="13" hasCustomPrompt="1"/>
          </p:nvPr>
        </p:nvSpPr>
        <p:spPr>
          <a:xfrm>
            <a:off x="457200" y="411480"/>
            <a:ext cx="6400800" cy="182880"/>
          </a:xfrm>
        </p:spPr>
        <p:txBody>
          <a:bodyPr/>
          <a:lstStyle>
            <a:lvl1pPr marL="0" indent="0">
              <a:buNone/>
              <a:defRPr sz="1200">
                <a:solidFill>
                  <a:schemeClr val="bg1"/>
                </a:solidFill>
              </a:defRPr>
            </a:lvl1pPr>
            <a:lvl2pPr marL="228600" indent="0">
              <a:buNone/>
              <a:defRPr/>
            </a:lvl2pPr>
          </a:lstStyle>
          <a:p>
            <a:pPr lvl="0"/>
            <a:r>
              <a:rPr lang="en-US"/>
              <a:t>Optional subtitle, 12pt Regular</a:t>
            </a:r>
          </a:p>
        </p:txBody>
      </p:sp>
      <p:sp>
        <p:nvSpPr>
          <p:cNvPr id="4" name="Content Placeholder 3">
            <a:extLst>
              <a:ext uri="{FF2B5EF4-FFF2-40B4-BE49-F238E27FC236}">
                <a16:creationId xmlns:a16="http://schemas.microsoft.com/office/drawing/2014/main" id="{1582D711-78AA-40DF-9ED8-0A7123D2D990}"/>
              </a:ext>
            </a:extLst>
          </p:cNvPr>
          <p:cNvSpPr>
            <a:spLocks noGrp="1"/>
          </p:cNvSpPr>
          <p:nvPr>
            <p:ph sz="half" idx="2" hasCustomPrompt="1"/>
          </p:nvPr>
        </p:nvSpPr>
        <p:spPr>
          <a:xfrm>
            <a:off x="6705601" y="2560320"/>
            <a:ext cx="5029200" cy="3749040"/>
          </a:xfrm>
        </p:spPr>
        <p:txBody>
          <a:bodyPr/>
          <a:lstStyle>
            <a:lvl1pPr>
              <a:defRPr/>
            </a:lvl1pPr>
          </a:lstStyle>
          <a:p>
            <a:pPr lvl="0"/>
            <a:r>
              <a:rPr lang="en-US"/>
              <a:t>First level, 20pt Regular</a:t>
            </a:r>
          </a:p>
          <a:p>
            <a:pPr lvl="1"/>
            <a:r>
              <a:rPr lang="en-US"/>
              <a:t>Second level, 18pt</a:t>
            </a:r>
          </a:p>
          <a:p>
            <a:pPr lvl="2"/>
            <a:r>
              <a:rPr lang="en-US"/>
              <a:t>Third level, 16pt</a:t>
            </a:r>
          </a:p>
          <a:p>
            <a:pPr lvl="3"/>
            <a:r>
              <a:rPr lang="en-US"/>
              <a:t>Fourth level, 14pt</a:t>
            </a:r>
          </a:p>
          <a:p>
            <a:pPr lvl="4"/>
            <a:r>
              <a:rPr lang="en-US"/>
              <a:t>Fifth level, 12pt Bold, use for captions</a:t>
            </a:r>
          </a:p>
        </p:txBody>
      </p:sp>
      <p:grpSp>
        <p:nvGrpSpPr>
          <p:cNvPr id="12" name="Group 11">
            <a:extLst>
              <a:ext uri="{FF2B5EF4-FFF2-40B4-BE49-F238E27FC236}">
                <a16:creationId xmlns:a16="http://schemas.microsoft.com/office/drawing/2014/main" id="{2CC27482-570B-4DEB-AB53-8F9EDB9316EA}"/>
              </a:ext>
            </a:extLst>
          </p:cNvPr>
          <p:cNvGrpSpPr>
            <a:grpSpLocks noChangeAspect="1"/>
          </p:cNvGrpSpPr>
          <p:nvPr userDrawn="1"/>
        </p:nvGrpSpPr>
        <p:grpSpPr bwMode="auto">
          <a:xfrm>
            <a:off x="8679774" y="6436900"/>
            <a:ext cx="2522538" cy="184150"/>
            <a:chOff x="288" y="4035"/>
            <a:chExt cx="1589" cy="116"/>
          </a:xfrm>
        </p:grpSpPr>
        <p:sp>
          <p:nvSpPr>
            <p:cNvPr id="13" name="Freeform 5">
              <a:extLst>
                <a:ext uri="{FF2B5EF4-FFF2-40B4-BE49-F238E27FC236}">
                  <a16:creationId xmlns:a16="http://schemas.microsoft.com/office/drawing/2014/main" id="{D039B0F0-587B-41B8-B9C3-9B60B8C9B83F}"/>
                </a:ext>
              </a:extLst>
            </p:cNvPr>
            <p:cNvSpPr>
              <a:spLocks noEditPoints="1"/>
            </p:cNvSpPr>
            <p:nvPr userDrawn="1"/>
          </p:nvSpPr>
          <p:spPr bwMode="auto">
            <a:xfrm>
              <a:off x="288" y="4035"/>
              <a:ext cx="769" cy="116"/>
            </a:xfrm>
            <a:custGeom>
              <a:avLst/>
              <a:gdLst>
                <a:gd name="T0" fmla="*/ 3874 w 3874"/>
                <a:gd name="T1" fmla="*/ 31 h 573"/>
                <a:gd name="T2" fmla="*/ 3527 w 3874"/>
                <a:gd name="T3" fmla="*/ 3 h 573"/>
                <a:gd name="T4" fmla="*/ 3527 w 3874"/>
                <a:gd name="T5" fmla="*/ 59 h 573"/>
                <a:gd name="T6" fmla="*/ 3661 w 3874"/>
                <a:gd name="T7" fmla="*/ 569 h 573"/>
                <a:gd name="T8" fmla="*/ 3713 w 3874"/>
                <a:gd name="T9" fmla="*/ 59 h 573"/>
                <a:gd name="T10" fmla="*/ 3874 w 3874"/>
                <a:gd name="T11" fmla="*/ 31 h 573"/>
                <a:gd name="T12" fmla="*/ 2759 w 3874"/>
                <a:gd name="T13" fmla="*/ 0 h 573"/>
                <a:gd name="T14" fmla="*/ 2523 w 3874"/>
                <a:gd name="T15" fmla="*/ 538 h 573"/>
                <a:gd name="T16" fmla="*/ 2547 w 3874"/>
                <a:gd name="T17" fmla="*/ 573 h 573"/>
                <a:gd name="T18" fmla="*/ 2651 w 3874"/>
                <a:gd name="T19" fmla="*/ 359 h 573"/>
                <a:gd name="T20" fmla="*/ 2954 w 3874"/>
                <a:gd name="T21" fmla="*/ 569 h 573"/>
                <a:gd name="T22" fmla="*/ 2784 w 3874"/>
                <a:gd name="T23" fmla="*/ 16 h 573"/>
                <a:gd name="T24" fmla="*/ 2675 w 3874"/>
                <a:gd name="T25" fmla="*/ 302 h 573"/>
                <a:gd name="T26" fmla="*/ 2760 w 3874"/>
                <a:gd name="T27" fmla="*/ 93 h 573"/>
                <a:gd name="T28" fmla="*/ 2675 w 3874"/>
                <a:gd name="T29" fmla="*/ 302 h 573"/>
                <a:gd name="T30" fmla="*/ 1742 w 3874"/>
                <a:gd name="T31" fmla="*/ 0 h 573"/>
                <a:gd name="T32" fmla="*/ 1549 w 3874"/>
                <a:gd name="T33" fmla="*/ 430 h 573"/>
                <a:gd name="T34" fmla="*/ 1357 w 3874"/>
                <a:gd name="T35" fmla="*/ 0 h 573"/>
                <a:gd name="T36" fmla="*/ 1237 w 3874"/>
                <a:gd name="T37" fmla="*/ 543 h 573"/>
                <a:gd name="T38" fmla="*/ 1261 w 3874"/>
                <a:gd name="T39" fmla="*/ 573 h 573"/>
                <a:gd name="T40" fmla="*/ 1366 w 3874"/>
                <a:gd name="T41" fmla="*/ 116 h 573"/>
                <a:gd name="T42" fmla="*/ 1549 w 3874"/>
                <a:gd name="T43" fmla="*/ 523 h 573"/>
                <a:gd name="T44" fmla="*/ 1732 w 3874"/>
                <a:gd name="T45" fmla="*/ 116 h 573"/>
                <a:gd name="T46" fmla="*/ 1868 w 3874"/>
                <a:gd name="T47" fmla="*/ 570 h 573"/>
                <a:gd name="T48" fmla="*/ 1742 w 3874"/>
                <a:gd name="T49" fmla="*/ 0 h 573"/>
                <a:gd name="T50" fmla="*/ 2226 w 3874"/>
                <a:gd name="T51" fmla="*/ 57 h 573"/>
                <a:gd name="T52" fmla="*/ 2429 w 3874"/>
                <a:gd name="T53" fmla="*/ 124 h 573"/>
                <a:gd name="T54" fmla="*/ 2429 w 3874"/>
                <a:gd name="T55" fmla="*/ 84 h 573"/>
                <a:gd name="T56" fmla="*/ 2226 w 3874"/>
                <a:gd name="T57" fmla="*/ 0 h 573"/>
                <a:gd name="T58" fmla="*/ 2226 w 3874"/>
                <a:gd name="T59" fmla="*/ 573 h 573"/>
                <a:gd name="T60" fmla="*/ 2397 w 3874"/>
                <a:gd name="T61" fmla="*/ 440 h 573"/>
                <a:gd name="T62" fmla="*/ 1996 w 3874"/>
                <a:gd name="T63" fmla="*/ 286 h 573"/>
                <a:gd name="T64" fmla="*/ 285 w 3874"/>
                <a:gd name="T65" fmla="*/ 57 h 573"/>
                <a:gd name="T66" fmla="*/ 448 w 3874"/>
                <a:gd name="T67" fmla="*/ 124 h 573"/>
                <a:gd name="T68" fmla="*/ 497 w 3874"/>
                <a:gd name="T69" fmla="*/ 104 h 573"/>
                <a:gd name="T70" fmla="*/ 485 w 3874"/>
                <a:gd name="T71" fmla="*/ 80 h 573"/>
                <a:gd name="T72" fmla="*/ 0 w 3874"/>
                <a:gd name="T73" fmla="*/ 287 h 573"/>
                <a:gd name="T74" fmla="*/ 497 w 3874"/>
                <a:gd name="T75" fmla="*/ 480 h 573"/>
                <a:gd name="T76" fmla="*/ 286 w 3874"/>
                <a:gd name="T77" fmla="*/ 516 h 573"/>
                <a:gd name="T78" fmla="*/ 285 w 3874"/>
                <a:gd name="T79" fmla="*/ 57 h 573"/>
                <a:gd name="T80" fmla="*/ 3341 w 3874"/>
                <a:gd name="T81" fmla="*/ 290 h 573"/>
                <a:gd name="T82" fmla="*/ 3152 w 3874"/>
                <a:gd name="T83" fmla="*/ 142 h 573"/>
                <a:gd name="T84" fmla="*/ 3361 w 3874"/>
                <a:gd name="T85" fmla="*/ 86 h 573"/>
                <a:gd name="T86" fmla="*/ 3403 w 3874"/>
                <a:gd name="T87" fmla="*/ 61 h 573"/>
                <a:gd name="T88" fmla="*/ 3262 w 3874"/>
                <a:gd name="T89" fmla="*/ 0 h 573"/>
                <a:gd name="T90" fmla="*/ 3194 w 3874"/>
                <a:gd name="T91" fmla="*/ 277 h 573"/>
                <a:gd name="T92" fmla="*/ 3375 w 3874"/>
                <a:gd name="T93" fmla="*/ 423 h 573"/>
                <a:gd name="T94" fmla="*/ 3129 w 3874"/>
                <a:gd name="T95" fmla="*/ 456 h 573"/>
                <a:gd name="T96" fmla="*/ 3082 w 3874"/>
                <a:gd name="T97" fmla="*/ 489 h 573"/>
                <a:gd name="T98" fmla="*/ 3266 w 3874"/>
                <a:gd name="T99" fmla="*/ 572 h 573"/>
                <a:gd name="T100" fmla="*/ 3341 w 3874"/>
                <a:gd name="T101" fmla="*/ 290 h 573"/>
                <a:gd name="T102" fmla="*/ 872 w 3874"/>
                <a:gd name="T103" fmla="*/ 0 h 573"/>
                <a:gd name="T104" fmla="*/ 872 w 3874"/>
                <a:gd name="T105" fmla="*/ 573 h 573"/>
                <a:gd name="T106" fmla="*/ 872 w 3874"/>
                <a:gd name="T107" fmla="*/ 0 h 573"/>
                <a:gd name="T108" fmla="*/ 872 w 3874"/>
                <a:gd name="T109" fmla="*/ 516 h 573"/>
                <a:gd name="T110" fmla="*/ 872 w 3874"/>
                <a:gd name="T111" fmla="*/ 56 h 573"/>
                <a:gd name="T112" fmla="*/ 872 w 3874"/>
                <a:gd name="T113" fmla="*/ 516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874" h="573">
                  <a:moveTo>
                    <a:pt x="3874" y="31"/>
                  </a:moveTo>
                  <a:lnTo>
                    <a:pt x="3874" y="31"/>
                  </a:lnTo>
                  <a:cubicBezTo>
                    <a:pt x="3874" y="16"/>
                    <a:pt x="3861" y="3"/>
                    <a:pt x="3846" y="3"/>
                  </a:cubicBezTo>
                  <a:lnTo>
                    <a:pt x="3527" y="3"/>
                  </a:lnTo>
                  <a:cubicBezTo>
                    <a:pt x="3512" y="3"/>
                    <a:pt x="3499" y="15"/>
                    <a:pt x="3499" y="31"/>
                  </a:cubicBezTo>
                  <a:cubicBezTo>
                    <a:pt x="3499" y="47"/>
                    <a:pt x="3511" y="59"/>
                    <a:pt x="3527" y="59"/>
                  </a:cubicBezTo>
                  <a:lnTo>
                    <a:pt x="3661" y="59"/>
                  </a:lnTo>
                  <a:lnTo>
                    <a:pt x="3661" y="569"/>
                  </a:lnTo>
                  <a:lnTo>
                    <a:pt x="3713" y="569"/>
                  </a:lnTo>
                  <a:lnTo>
                    <a:pt x="3713" y="59"/>
                  </a:lnTo>
                  <a:lnTo>
                    <a:pt x="3846" y="59"/>
                  </a:lnTo>
                  <a:cubicBezTo>
                    <a:pt x="3862" y="60"/>
                    <a:pt x="3874" y="47"/>
                    <a:pt x="3874" y="31"/>
                  </a:cubicBezTo>
                  <a:close/>
                  <a:moveTo>
                    <a:pt x="2759" y="0"/>
                  </a:moveTo>
                  <a:lnTo>
                    <a:pt x="2759" y="0"/>
                  </a:lnTo>
                  <a:cubicBezTo>
                    <a:pt x="2748" y="0"/>
                    <a:pt x="2741" y="7"/>
                    <a:pt x="2735" y="16"/>
                  </a:cubicBezTo>
                  <a:cubicBezTo>
                    <a:pt x="2731" y="26"/>
                    <a:pt x="2523" y="538"/>
                    <a:pt x="2523" y="538"/>
                  </a:cubicBezTo>
                  <a:cubicBezTo>
                    <a:pt x="2522" y="541"/>
                    <a:pt x="2521" y="544"/>
                    <a:pt x="2521" y="547"/>
                  </a:cubicBezTo>
                  <a:cubicBezTo>
                    <a:pt x="2521" y="562"/>
                    <a:pt x="2532" y="573"/>
                    <a:pt x="2547" y="573"/>
                  </a:cubicBezTo>
                  <a:cubicBezTo>
                    <a:pt x="2558" y="573"/>
                    <a:pt x="2567" y="566"/>
                    <a:pt x="2570" y="556"/>
                  </a:cubicBezTo>
                  <a:lnTo>
                    <a:pt x="2651" y="359"/>
                  </a:lnTo>
                  <a:lnTo>
                    <a:pt x="2868" y="359"/>
                  </a:lnTo>
                  <a:lnTo>
                    <a:pt x="2954" y="569"/>
                  </a:lnTo>
                  <a:lnTo>
                    <a:pt x="3009" y="569"/>
                  </a:lnTo>
                  <a:cubicBezTo>
                    <a:pt x="3009" y="569"/>
                    <a:pt x="2788" y="25"/>
                    <a:pt x="2784" y="16"/>
                  </a:cubicBezTo>
                  <a:cubicBezTo>
                    <a:pt x="2779" y="7"/>
                    <a:pt x="2770" y="0"/>
                    <a:pt x="2759" y="0"/>
                  </a:cubicBezTo>
                  <a:close/>
                  <a:moveTo>
                    <a:pt x="2675" y="302"/>
                  </a:moveTo>
                  <a:lnTo>
                    <a:pt x="2675" y="302"/>
                  </a:lnTo>
                  <a:lnTo>
                    <a:pt x="2760" y="93"/>
                  </a:lnTo>
                  <a:lnTo>
                    <a:pt x="2845" y="302"/>
                  </a:lnTo>
                  <a:lnTo>
                    <a:pt x="2675" y="302"/>
                  </a:lnTo>
                  <a:close/>
                  <a:moveTo>
                    <a:pt x="1742" y="0"/>
                  </a:moveTo>
                  <a:lnTo>
                    <a:pt x="1742" y="0"/>
                  </a:lnTo>
                  <a:cubicBezTo>
                    <a:pt x="1731" y="0"/>
                    <a:pt x="1723" y="7"/>
                    <a:pt x="1718" y="16"/>
                  </a:cubicBezTo>
                  <a:cubicBezTo>
                    <a:pt x="1714" y="25"/>
                    <a:pt x="1549" y="430"/>
                    <a:pt x="1549" y="430"/>
                  </a:cubicBezTo>
                  <a:cubicBezTo>
                    <a:pt x="1549" y="430"/>
                    <a:pt x="1385" y="24"/>
                    <a:pt x="1381" y="16"/>
                  </a:cubicBezTo>
                  <a:cubicBezTo>
                    <a:pt x="1376" y="7"/>
                    <a:pt x="1368" y="0"/>
                    <a:pt x="1357" y="0"/>
                  </a:cubicBezTo>
                  <a:cubicBezTo>
                    <a:pt x="1345" y="0"/>
                    <a:pt x="1335" y="9"/>
                    <a:pt x="1332" y="21"/>
                  </a:cubicBezTo>
                  <a:cubicBezTo>
                    <a:pt x="1329" y="33"/>
                    <a:pt x="1237" y="543"/>
                    <a:pt x="1237" y="543"/>
                  </a:cubicBezTo>
                  <a:cubicBezTo>
                    <a:pt x="1237" y="545"/>
                    <a:pt x="1236" y="546"/>
                    <a:pt x="1236" y="548"/>
                  </a:cubicBezTo>
                  <a:cubicBezTo>
                    <a:pt x="1236" y="562"/>
                    <a:pt x="1247" y="573"/>
                    <a:pt x="1261" y="573"/>
                  </a:cubicBezTo>
                  <a:cubicBezTo>
                    <a:pt x="1273" y="573"/>
                    <a:pt x="1284" y="564"/>
                    <a:pt x="1286" y="553"/>
                  </a:cubicBezTo>
                  <a:lnTo>
                    <a:pt x="1366" y="116"/>
                  </a:lnTo>
                  <a:cubicBezTo>
                    <a:pt x="1366" y="116"/>
                    <a:pt x="1521" y="498"/>
                    <a:pt x="1526" y="507"/>
                  </a:cubicBezTo>
                  <a:cubicBezTo>
                    <a:pt x="1530" y="516"/>
                    <a:pt x="1538" y="523"/>
                    <a:pt x="1549" y="523"/>
                  </a:cubicBezTo>
                  <a:cubicBezTo>
                    <a:pt x="1560" y="523"/>
                    <a:pt x="1569" y="516"/>
                    <a:pt x="1573" y="507"/>
                  </a:cubicBezTo>
                  <a:cubicBezTo>
                    <a:pt x="1578" y="498"/>
                    <a:pt x="1732" y="116"/>
                    <a:pt x="1732" y="116"/>
                  </a:cubicBezTo>
                  <a:lnTo>
                    <a:pt x="1816" y="570"/>
                  </a:lnTo>
                  <a:lnTo>
                    <a:pt x="1868" y="570"/>
                  </a:lnTo>
                  <a:cubicBezTo>
                    <a:pt x="1868" y="570"/>
                    <a:pt x="1770" y="33"/>
                    <a:pt x="1767" y="21"/>
                  </a:cubicBezTo>
                  <a:cubicBezTo>
                    <a:pt x="1763" y="9"/>
                    <a:pt x="1754" y="0"/>
                    <a:pt x="1742" y="0"/>
                  </a:cubicBezTo>
                  <a:close/>
                  <a:moveTo>
                    <a:pt x="2226" y="57"/>
                  </a:moveTo>
                  <a:lnTo>
                    <a:pt x="2226" y="57"/>
                  </a:lnTo>
                  <a:cubicBezTo>
                    <a:pt x="2288" y="57"/>
                    <a:pt x="2345" y="80"/>
                    <a:pt x="2389" y="124"/>
                  </a:cubicBezTo>
                  <a:cubicBezTo>
                    <a:pt x="2399" y="134"/>
                    <a:pt x="2419" y="134"/>
                    <a:pt x="2429" y="124"/>
                  </a:cubicBezTo>
                  <a:cubicBezTo>
                    <a:pt x="2434" y="119"/>
                    <a:pt x="2437" y="112"/>
                    <a:pt x="2437" y="104"/>
                  </a:cubicBezTo>
                  <a:cubicBezTo>
                    <a:pt x="2437" y="96"/>
                    <a:pt x="2434" y="89"/>
                    <a:pt x="2429" y="84"/>
                  </a:cubicBezTo>
                  <a:lnTo>
                    <a:pt x="2426" y="80"/>
                  </a:lnTo>
                  <a:cubicBezTo>
                    <a:pt x="2372" y="29"/>
                    <a:pt x="2301" y="0"/>
                    <a:pt x="2226" y="0"/>
                  </a:cubicBezTo>
                  <a:cubicBezTo>
                    <a:pt x="2069" y="0"/>
                    <a:pt x="1940" y="129"/>
                    <a:pt x="1940" y="287"/>
                  </a:cubicBezTo>
                  <a:cubicBezTo>
                    <a:pt x="1940" y="445"/>
                    <a:pt x="2069" y="573"/>
                    <a:pt x="2226" y="573"/>
                  </a:cubicBezTo>
                  <a:cubicBezTo>
                    <a:pt x="2310" y="573"/>
                    <a:pt x="2385" y="538"/>
                    <a:pt x="2437" y="480"/>
                  </a:cubicBezTo>
                  <a:lnTo>
                    <a:pt x="2397" y="440"/>
                  </a:lnTo>
                  <a:cubicBezTo>
                    <a:pt x="2355" y="487"/>
                    <a:pt x="2294" y="516"/>
                    <a:pt x="2226" y="516"/>
                  </a:cubicBezTo>
                  <a:cubicBezTo>
                    <a:pt x="2100" y="516"/>
                    <a:pt x="1996" y="413"/>
                    <a:pt x="1996" y="286"/>
                  </a:cubicBezTo>
                  <a:cubicBezTo>
                    <a:pt x="1996" y="160"/>
                    <a:pt x="2100" y="57"/>
                    <a:pt x="2226" y="57"/>
                  </a:cubicBezTo>
                  <a:close/>
                  <a:moveTo>
                    <a:pt x="285" y="57"/>
                  </a:moveTo>
                  <a:lnTo>
                    <a:pt x="285" y="57"/>
                  </a:lnTo>
                  <a:cubicBezTo>
                    <a:pt x="347" y="57"/>
                    <a:pt x="404" y="80"/>
                    <a:pt x="448" y="124"/>
                  </a:cubicBezTo>
                  <a:cubicBezTo>
                    <a:pt x="459" y="134"/>
                    <a:pt x="478" y="134"/>
                    <a:pt x="488" y="124"/>
                  </a:cubicBezTo>
                  <a:cubicBezTo>
                    <a:pt x="494" y="119"/>
                    <a:pt x="497" y="112"/>
                    <a:pt x="497" y="104"/>
                  </a:cubicBezTo>
                  <a:cubicBezTo>
                    <a:pt x="497" y="96"/>
                    <a:pt x="494" y="89"/>
                    <a:pt x="488" y="84"/>
                  </a:cubicBezTo>
                  <a:lnTo>
                    <a:pt x="485" y="80"/>
                  </a:lnTo>
                  <a:cubicBezTo>
                    <a:pt x="431" y="29"/>
                    <a:pt x="361" y="0"/>
                    <a:pt x="286" y="0"/>
                  </a:cubicBezTo>
                  <a:cubicBezTo>
                    <a:pt x="128" y="0"/>
                    <a:pt x="0" y="129"/>
                    <a:pt x="0" y="287"/>
                  </a:cubicBezTo>
                  <a:cubicBezTo>
                    <a:pt x="0" y="445"/>
                    <a:pt x="128" y="573"/>
                    <a:pt x="286" y="573"/>
                  </a:cubicBezTo>
                  <a:cubicBezTo>
                    <a:pt x="369" y="573"/>
                    <a:pt x="444" y="538"/>
                    <a:pt x="497" y="480"/>
                  </a:cubicBezTo>
                  <a:lnTo>
                    <a:pt x="457" y="440"/>
                  </a:lnTo>
                  <a:cubicBezTo>
                    <a:pt x="415" y="487"/>
                    <a:pt x="353" y="516"/>
                    <a:pt x="286" y="516"/>
                  </a:cubicBezTo>
                  <a:cubicBezTo>
                    <a:pt x="159" y="516"/>
                    <a:pt x="56" y="413"/>
                    <a:pt x="56" y="286"/>
                  </a:cubicBezTo>
                  <a:cubicBezTo>
                    <a:pt x="55" y="160"/>
                    <a:pt x="159" y="57"/>
                    <a:pt x="285" y="57"/>
                  </a:cubicBezTo>
                  <a:close/>
                  <a:moveTo>
                    <a:pt x="3341" y="290"/>
                  </a:moveTo>
                  <a:lnTo>
                    <a:pt x="3341" y="290"/>
                  </a:lnTo>
                  <a:cubicBezTo>
                    <a:pt x="3326" y="282"/>
                    <a:pt x="3233" y="234"/>
                    <a:pt x="3219" y="227"/>
                  </a:cubicBezTo>
                  <a:cubicBezTo>
                    <a:pt x="3170" y="201"/>
                    <a:pt x="3152" y="179"/>
                    <a:pt x="3152" y="142"/>
                  </a:cubicBezTo>
                  <a:cubicBezTo>
                    <a:pt x="3152" y="90"/>
                    <a:pt x="3195" y="56"/>
                    <a:pt x="3262" y="56"/>
                  </a:cubicBezTo>
                  <a:cubicBezTo>
                    <a:pt x="3301" y="56"/>
                    <a:pt x="3339" y="73"/>
                    <a:pt x="3361" y="86"/>
                  </a:cubicBezTo>
                  <a:cubicBezTo>
                    <a:pt x="3365" y="88"/>
                    <a:pt x="3370" y="89"/>
                    <a:pt x="3374" y="89"/>
                  </a:cubicBezTo>
                  <a:cubicBezTo>
                    <a:pt x="3390" y="89"/>
                    <a:pt x="3403" y="77"/>
                    <a:pt x="3403" y="61"/>
                  </a:cubicBezTo>
                  <a:cubicBezTo>
                    <a:pt x="3403" y="51"/>
                    <a:pt x="3397" y="42"/>
                    <a:pt x="3388" y="37"/>
                  </a:cubicBezTo>
                  <a:cubicBezTo>
                    <a:pt x="3361" y="21"/>
                    <a:pt x="3313" y="0"/>
                    <a:pt x="3262" y="0"/>
                  </a:cubicBezTo>
                  <a:cubicBezTo>
                    <a:pt x="3165" y="0"/>
                    <a:pt x="3097" y="58"/>
                    <a:pt x="3097" y="142"/>
                  </a:cubicBezTo>
                  <a:cubicBezTo>
                    <a:pt x="3097" y="217"/>
                    <a:pt x="3146" y="252"/>
                    <a:pt x="3194" y="277"/>
                  </a:cubicBezTo>
                  <a:cubicBezTo>
                    <a:pt x="3208" y="284"/>
                    <a:pt x="3302" y="333"/>
                    <a:pt x="3317" y="340"/>
                  </a:cubicBezTo>
                  <a:cubicBezTo>
                    <a:pt x="3354" y="360"/>
                    <a:pt x="3375" y="390"/>
                    <a:pt x="3375" y="423"/>
                  </a:cubicBezTo>
                  <a:cubicBezTo>
                    <a:pt x="3375" y="468"/>
                    <a:pt x="3337" y="516"/>
                    <a:pt x="3266" y="516"/>
                  </a:cubicBezTo>
                  <a:cubicBezTo>
                    <a:pt x="3196" y="516"/>
                    <a:pt x="3143" y="470"/>
                    <a:pt x="3129" y="456"/>
                  </a:cubicBezTo>
                  <a:lnTo>
                    <a:pt x="3124" y="451"/>
                  </a:lnTo>
                  <a:lnTo>
                    <a:pt x="3082" y="489"/>
                  </a:lnTo>
                  <a:lnTo>
                    <a:pt x="3087" y="494"/>
                  </a:lnTo>
                  <a:cubicBezTo>
                    <a:pt x="3106" y="512"/>
                    <a:pt x="3173" y="572"/>
                    <a:pt x="3266" y="572"/>
                  </a:cubicBezTo>
                  <a:cubicBezTo>
                    <a:pt x="3369" y="572"/>
                    <a:pt x="3431" y="496"/>
                    <a:pt x="3431" y="422"/>
                  </a:cubicBezTo>
                  <a:cubicBezTo>
                    <a:pt x="3431" y="368"/>
                    <a:pt x="3398" y="320"/>
                    <a:pt x="3341" y="290"/>
                  </a:cubicBezTo>
                  <a:close/>
                  <a:moveTo>
                    <a:pt x="872" y="0"/>
                  </a:moveTo>
                  <a:lnTo>
                    <a:pt x="872" y="0"/>
                  </a:lnTo>
                  <a:cubicBezTo>
                    <a:pt x="715" y="0"/>
                    <a:pt x="586" y="129"/>
                    <a:pt x="586" y="287"/>
                  </a:cubicBezTo>
                  <a:cubicBezTo>
                    <a:pt x="586" y="445"/>
                    <a:pt x="715" y="573"/>
                    <a:pt x="872" y="573"/>
                  </a:cubicBezTo>
                  <a:cubicBezTo>
                    <a:pt x="1030" y="573"/>
                    <a:pt x="1159" y="445"/>
                    <a:pt x="1159" y="287"/>
                  </a:cubicBezTo>
                  <a:cubicBezTo>
                    <a:pt x="1159" y="129"/>
                    <a:pt x="1030" y="0"/>
                    <a:pt x="872" y="0"/>
                  </a:cubicBezTo>
                  <a:close/>
                  <a:moveTo>
                    <a:pt x="872" y="516"/>
                  </a:moveTo>
                  <a:lnTo>
                    <a:pt x="872" y="516"/>
                  </a:lnTo>
                  <a:cubicBezTo>
                    <a:pt x="746" y="516"/>
                    <a:pt x="642" y="413"/>
                    <a:pt x="642" y="286"/>
                  </a:cubicBezTo>
                  <a:cubicBezTo>
                    <a:pt x="642" y="159"/>
                    <a:pt x="746" y="56"/>
                    <a:pt x="872" y="56"/>
                  </a:cubicBezTo>
                  <a:cubicBezTo>
                    <a:pt x="999" y="56"/>
                    <a:pt x="1103" y="159"/>
                    <a:pt x="1103" y="286"/>
                  </a:cubicBezTo>
                  <a:cubicBezTo>
                    <a:pt x="1102" y="413"/>
                    <a:pt x="999" y="516"/>
                    <a:pt x="872" y="516"/>
                  </a:cubicBezTo>
                  <a:close/>
                </a:path>
              </a:pathLst>
            </a:custGeom>
            <a:solidFill>
              <a:srgbClr val="112F6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6">
              <a:extLst>
                <a:ext uri="{FF2B5EF4-FFF2-40B4-BE49-F238E27FC236}">
                  <a16:creationId xmlns:a16="http://schemas.microsoft.com/office/drawing/2014/main" id="{EC591140-F410-4844-8D5C-55D8195DA4B1}"/>
                </a:ext>
              </a:extLst>
            </p:cNvPr>
            <p:cNvSpPr>
              <a:spLocks noEditPoints="1"/>
            </p:cNvSpPr>
            <p:nvPr userDrawn="1"/>
          </p:nvSpPr>
          <p:spPr bwMode="auto">
            <a:xfrm>
              <a:off x="1114" y="4035"/>
              <a:ext cx="763" cy="116"/>
            </a:xfrm>
            <a:custGeom>
              <a:avLst/>
              <a:gdLst>
                <a:gd name="T0" fmla="*/ 3647 w 3842"/>
                <a:gd name="T1" fmla="*/ 576 h 576"/>
                <a:gd name="T2" fmla="*/ 3634 w 3842"/>
                <a:gd name="T3" fmla="*/ 216 h 576"/>
                <a:gd name="T4" fmla="*/ 3742 w 3842"/>
                <a:gd name="T5" fmla="*/ 105 h 576"/>
                <a:gd name="T6" fmla="*/ 3789 w 3842"/>
                <a:gd name="T7" fmla="*/ 28 h 576"/>
                <a:gd name="T8" fmla="*/ 3606 w 3842"/>
                <a:gd name="T9" fmla="*/ 307 h 576"/>
                <a:gd name="T10" fmla="*/ 3656 w 3842"/>
                <a:gd name="T11" fmla="*/ 487 h 576"/>
                <a:gd name="T12" fmla="*/ 2997 w 3842"/>
                <a:gd name="T13" fmla="*/ 491 h 576"/>
                <a:gd name="T14" fmla="*/ 3376 w 3842"/>
                <a:gd name="T15" fmla="*/ 415 h 576"/>
                <a:gd name="T16" fmla="*/ 3116 w 3842"/>
                <a:gd name="T17" fmla="*/ 149 h 576"/>
                <a:gd name="T18" fmla="*/ 3314 w 3842"/>
                <a:gd name="T19" fmla="*/ 116 h 576"/>
                <a:gd name="T20" fmla="*/ 3197 w 3842"/>
                <a:gd name="T21" fmla="*/ 0 h 576"/>
                <a:gd name="T22" fmla="*/ 3217 w 3842"/>
                <a:gd name="T23" fmla="*/ 343 h 576"/>
                <a:gd name="T24" fmla="*/ 3065 w 3842"/>
                <a:gd name="T25" fmla="*/ 428 h 576"/>
                <a:gd name="T26" fmla="*/ 1117 w 3842"/>
                <a:gd name="T27" fmla="*/ 491 h 576"/>
                <a:gd name="T28" fmla="*/ 1381 w 3842"/>
                <a:gd name="T29" fmla="*/ 261 h 576"/>
                <a:gd name="T30" fmla="*/ 1321 w 3842"/>
                <a:gd name="T31" fmla="*/ 87 h 576"/>
                <a:gd name="T32" fmla="*/ 1476 w 3842"/>
                <a:gd name="T33" fmla="*/ 72 h 576"/>
                <a:gd name="T34" fmla="*/ 1140 w 3842"/>
                <a:gd name="T35" fmla="*/ 153 h 576"/>
                <a:gd name="T36" fmla="*/ 1400 w 3842"/>
                <a:gd name="T37" fmla="*/ 417 h 576"/>
                <a:gd name="T38" fmla="*/ 1117 w 3842"/>
                <a:gd name="T39" fmla="*/ 491 h 576"/>
                <a:gd name="T40" fmla="*/ 1903 w 3842"/>
                <a:gd name="T41" fmla="*/ 43 h 576"/>
                <a:gd name="T42" fmla="*/ 1994 w 3842"/>
                <a:gd name="T43" fmla="*/ 531 h 576"/>
                <a:gd name="T44" fmla="*/ 2328 w 3842"/>
                <a:gd name="T45" fmla="*/ 576 h 576"/>
                <a:gd name="T46" fmla="*/ 2282 w 3842"/>
                <a:gd name="T47" fmla="*/ 3 h 576"/>
                <a:gd name="T48" fmla="*/ 1949 w 3842"/>
                <a:gd name="T49" fmla="*/ 0 h 576"/>
                <a:gd name="T50" fmla="*/ 426 w 3842"/>
                <a:gd name="T51" fmla="*/ 402 h 576"/>
                <a:gd name="T52" fmla="*/ 0 w 3842"/>
                <a:gd name="T53" fmla="*/ 47 h 576"/>
                <a:gd name="T54" fmla="*/ 399 w 3842"/>
                <a:gd name="T55" fmla="*/ 147 h 576"/>
                <a:gd name="T56" fmla="*/ 91 w 3842"/>
                <a:gd name="T57" fmla="*/ 230 h 576"/>
                <a:gd name="T58" fmla="*/ 229 w 3842"/>
                <a:gd name="T59" fmla="*/ 92 h 576"/>
                <a:gd name="T60" fmla="*/ 235 w 3842"/>
                <a:gd name="T61" fmla="*/ 484 h 576"/>
                <a:gd name="T62" fmla="*/ 235 w 3842"/>
                <a:gd name="T63" fmla="*/ 314 h 576"/>
                <a:gd name="T64" fmla="*/ 235 w 3842"/>
                <a:gd name="T65" fmla="*/ 484 h 576"/>
                <a:gd name="T66" fmla="*/ 2906 w 3842"/>
                <a:gd name="T67" fmla="*/ 48 h 576"/>
                <a:gd name="T68" fmla="*/ 2532 w 3842"/>
                <a:gd name="T69" fmla="*/ 48 h 576"/>
                <a:gd name="T70" fmla="*/ 2903 w 3842"/>
                <a:gd name="T71" fmla="*/ 573 h 576"/>
                <a:gd name="T72" fmla="*/ 2624 w 3842"/>
                <a:gd name="T73" fmla="*/ 318 h 576"/>
                <a:gd name="T74" fmla="*/ 2834 w 3842"/>
                <a:gd name="T75" fmla="*/ 229 h 576"/>
                <a:gd name="T76" fmla="*/ 2858 w 3842"/>
                <a:gd name="T77" fmla="*/ 92 h 576"/>
                <a:gd name="T78" fmla="*/ 634 w 3842"/>
                <a:gd name="T79" fmla="*/ 44 h 576"/>
                <a:gd name="T80" fmla="*/ 542 w 3842"/>
                <a:gd name="T81" fmla="*/ 343 h 576"/>
                <a:gd name="T82" fmla="*/ 1010 w 3842"/>
                <a:gd name="T83" fmla="*/ 2 h 576"/>
                <a:gd name="T84" fmla="*/ 776 w 3842"/>
                <a:gd name="T85" fmla="*/ 488 h 576"/>
                <a:gd name="T86" fmla="*/ 1676 w 3842"/>
                <a:gd name="T87" fmla="*/ 0 h 576"/>
                <a:gd name="T88" fmla="*/ 1630 w 3842"/>
                <a:gd name="T89" fmla="*/ 572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842" h="576">
                  <a:moveTo>
                    <a:pt x="3464" y="491"/>
                  </a:moveTo>
                  <a:lnTo>
                    <a:pt x="3464" y="491"/>
                  </a:lnTo>
                  <a:cubicBezTo>
                    <a:pt x="3475" y="506"/>
                    <a:pt x="3529" y="576"/>
                    <a:pt x="3647" y="576"/>
                  </a:cubicBezTo>
                  <a:cubicBezTo>
                    <a:pt x="3763" y="576"/>
                    <a:pt x="3842" y="509"/>
                    <a:pt x="3842" y="415"/>
                  </a:cubicBezTo>
                  <a:cubicBezTo>
                    <a:pt x="3842" y="354"/>
                    <a:pt x="3818" y="305"/>
                    <a:pt x="3727" y="261"/>
                  </a:cubicBezTo>
                  <a:cubicBezTo>
                    <a:pt x="3703" y="249"/>
                    <a:pt x="3634" y="216"/>
                    <a:pt x="3634" y="216"/>
                  </a:cubicBezTo>
                  <a:cubicBezTo>
                    <a:pt x="3599" y="199"/>
                    <a:pt x="3583" y="178"/>
                    <a:pt x="3583" y="149"/>
                  </a:cubicBezTo>
                  <a:cubicBezTo>
                    <a:pt x="3583" y="120"/>
                    <a:pt x="3607" y="87"/>
                    <a:pt x="3667" y="87"/>
                  </a:cubicBezTo>
                  <a:cubicBezTo>
                    <a:pt x="3701" y="87"/>
                    <a:pt x="3727" y="98"/>
                    <a:pt x="3742" y="105"/>
                  </a:cubicBezTo>
                  <a:cubicBezTo>
                    <a:pt x="3748" y="108"/>
                    <a:pt x="3764" y="116"/>
                    <a:pt x="3780" y="116"/>
                  </a:cubicBezTo>
                  <a:cubicBezTo>
                    <a:pt x="3800" y="116"/>
                    <a:pt x="3822" y="102"/>
                    <a:pt x="3822" y="72"/>
                  </a:cubicBezTo>
                  <a:cubicBezTo>
                    <a:pt x="3822" y="48"/>
                    <a:pt x="3804" y="35"/>
                    <a:pt x="3789" y="28"/>
                  </a:cubicBezTo>
                  <a:cubicBezTo>
                    <a:pt x="3764" y="16"/>
                    <a:pt x="3726" y="0"/>
                    <a:pt x="3662" y="0"/>
                  </a:cubicBezTo>
                  <a:cubicBezTo>
                    <a:pt x="3561" y="0"/>
                    <a:pt x="3486" y="63"/>
                    <a:pt x="3486" y="153"/>
                  </a:cubicBezTo>
                  <a:cubicBezTo>
                    <a:pt x="3486" y="234"/>
                    <a:pt x="3540" y="275"/>
                    <a:pt x="3606" y="307"/>
                  </a:cubicBezTo>
                  <a:cubicBezTo>
                    <a:pt x="3619" y="312"/>
                    <a:pt x="3668" y="336"/>
                    <a:pt x="3681" y="343"/>
                  </a:cubicBezTo>
                  <a:cubicBezTo>
                    <a:pt x="3724" y="363"/>
                    <a:pt x="3746" y="382"/>
                    <a:pt x="3746" y="417"/>
                  </a:cubicBezTo>
                  <a:cubicBezTo>
                    <a:pt x="3746" y="455"/>
                    <a:pt x="3710" y="487"/>
                    <a:pt x="3656" y="487"/>
                  </a:cubicBezTo>
                  <a:cubicBezTo>
                    <a:pt x="3579" y="487"/>
                    <a:pt x="3538" y="436"/>
                    <a:pt x="3531" y="428"/>
                  </a:cubicBezTo>
                  <a:lnTo>
                    <a:pt x="3464" y="491"/>
                  </a:lnTo>
                  <a:close/>
                  <a:moveTo>
                    <a:pt x="2997" y="491"/>
                  </a:moveTo>
                  <a:lnTo>
                    <a:pt x="2997" y="491"/>
                  </a:lnTo>
                  <a:cubicBezTo>
                    <a:pt x="3009" y="506"/>
                    <a:pt x="3063" y="576"/>
                    <a:pt x="3182" y="576"/>
                  </a:cubicBezTo>
                  <a:cubicBezTo>
                    <a:pt x="3297" y="576"/>
                    <a:pt x="3376" y="509"/>
                    <a:pt x="3376" y="415"/>
                  </a:cubicBezTo>
                  <a:cubicBezTo>
                    <a:pt x="3376" y="354"/>
                    <a:pt x="3352" y="305"/>
                    <a:pt x="3261" y="261"/>
                  </a:cubicBezTo>
                  <a:cubicBezTo>
                    <a:pt x="3237" y="249"/>
                    <a:pt x="3169" y="216"/>
                    <a:pt x="3169" y="216"/>
                  </a:cubicBezTo>
                  <a:cubicBezTo>
                    <a:pt x="3133" y="199"/>
                    <a:pt x="3116" y="178"/>
                    <a:pt x="3116" y="149"/>
                  </a:cubicBezTo>
                  <a:cubicBezTo>
                    <a:pt x="3116" y="120"/>
                    <a:pt x="3141" y="87"/>
                    <a:pt x="3201" y="87"/>
                  </a:cubicBezTo>
                  <a:cubicBezTo>
                    <a:pt x="3235" y="87"/>
                    <a:pt x="3261" y="98"/>
                    <a:pt x="3275" y="105"/>
                  </a:cubicBezTo>
                  <a:cubicBezTo>
                    <a:pt x="3283" y="108"/>
                    <a:pt x="3299" y="116"/>
                    <a:pt x="3314" y="116"/>
                  </a:cubicBezTo>
                  <a:cubicBezTo>
                    <a:pt x="3334" y="116"/>
                    <a:pt x="3356" y="102"/>
                    <a:pt x="3356" y="72"/>
                  </a:cubicBezTo>
                  <a:cubicBezTo>
                    <a:pt x="3356" y="48"/>
                    <a:pt x="3339" y="35"/>
                    <a:pt x="3323" y="28"/>
                  </a:cubicBezTo>
                  <a:cubicBezTo>
                    <a:pt x="3299" y="16"/>
                    <a:pt x="3260" y="0"/>
                    <a:pt x="3197" y="0"/>
                  </a:cubicBezTo>
                  <a:cubicBezTo>
                    <a:pt x="3095" y="0"/>
                    <a:pt x="3020" y="63"/>
                    <a:pt x="3020" y="153"/>
                  </a:cubicBezTo>
                  <a:cubicBezTo>
                    <a:pt x="3020" y="234"/>
                    <a:pt x="3075" y="275"/>
                    <a:pt x="3141" y="307"/>
                  </a:cubicBezTo>
                  <a:cubicBezTo>
                    <a:pt x="3154" y="312"/>
                    <a:pt x="3203" y="336"/>
                    <a:pt x="3217" y="343"/>
                  </a:cubicBezTo>
                  <a:cubicBezTo>
                    <a:pt x="3258" y="363"/>
                    <a:pt x="3280" y="382"/>
                    <a:pt x="3280" y="417"/>
                  </a:cubicBezTo>
                  <a:cubicBezTo>
                    <a:pt x="3280" y="455"/>
                    <a:pt x="3244" y="487"/>
                    <a:pt x="3191" y="487"/>
                  </a:cubicBezTo>
                  <a:cubicBezTo>
                    <a:pt x="3113" y="487"/>
                    <a:pt x="3072" y="436"/>
                    <a:pt x="3065" y="428"/>
                  </a:cubicBezTo>
                  <a:lnTo>
                    <a:pt x="2997" y="491"/>
                  </a:lnTo>
                  <a:close/>
                  <a:moveTo>
                    <a:pt x="1117" y="491"/>
                  </a:moveTo>
                  <a:lnTo>
                    <a:pt x="1117" y="491"/>
                  </a:lnTo>
                  <a:cubicBezTo>
                    <a:pt x="1129" y="506"/>
                    <a:pt x="1182" y="576"/>
                    <a:pt x="1301" y="576"/>
                  </a:cubicBezTo>
                  <a:cubicBezTo>
                    <a:pt x="1417" y="576"/>
                    <a:pt x="1496" y="509"/>
                    <a:pt x="1496" y="415"/>
                  </a:cubicBezTo>
                  <a:cubicBezTo>
                    <a:pt x="1496" y="354"/>
                    <a:pt x="1472" y="305"/>
                    <a:pt x="1381" y="261"/>
                  </a:cubicBezTo>
                  <a:cubicBezTo>
                    <a:pt x="1356" y="249"/>
                    <a:pt x="1288" y="216"/>
                    <a:pt x="1288" y="216"/>
                  </a:cubicBezTo>
                  <a:cubicBezTo>
                    <a:pt x="1252" y="199"/>
                    <a:pt x="1236" y="178"/>
                    <a:pt x="1236" y="149"/>
                  </a:cubicBezTo>
                  <a:cubicBezTo>
                    <a:pt x="1236" y="120"/>
                    <a:pt x="1261" y="87"/>
                    <a:pt x="1321" y="87"/>
                  </a:cubicBezTo>
                  <a:cubicBezTo>
                    <a:pt x="1355" y="87"/>
                    <a:pt x="1381" y="98"/>
                    <a:pt x="1395" y="105"/>
                  </a:cubicBezTo>
                  <a:cubicBezTo>
                    <a:pt x="1402" y="108"/>
                    <a:pt x="1418" y="116"/>
                    <a:pt x="1434" y="116"/>
                  </a:cubicBezTo>
                  <a:cubicBezTo>
                    <a:pt x="1454" y="116"/>
                    <a:pt x="1476" y="102"/>
                    <a:pt x="1476" y="72"/>
                  </a:cubicBezTo>
                  <a:cubicBezTo>
                    <a:pt x="1476" y="48"/>
                    <a:pt x="1458" y="35"/>
                    <a:pt x="1443" y="28"/>
                  </a:cubicBezTo>
                  <a:cubicBezTo>
                    <a:pt x="1418" y="16"/>
                    <a:pt x="1380" y="0"/>
                    <a:pt x="1316" y="0"/>
                  </a:cubicBezTo>
                  <a:cubicBezTo>
                    <a:pt x="1215" y="0"/>
                    <a:pt x="1140" y="63"/>
                    <a:pt x="1140" y="153"/>
                  </a:cubicBezTo>
                  <a:cubicBezTo>
                    <a:pt x="1140" y="234"/>
                    <a:pt x="1195" y="275"/>
                    <a:pt x="1261" y="307"/>
                  </a:cubicBezTo>
                  <a:cubicBezTo>
                    <a:pt x="1273" y="312"/>
                    <a:pt x="1322" y="336"/>
                    <a:pt x="1336" y="343"/>
                  </a:cubicBezTo>
                  <a:cubicBezTo>
                    <a:pt x="1378" y="363"/>
                    <a:pt x="1400" y="382"/>
                    <a:pt x="1400" y="417"/>
                  </a:cubicBezTo>
                  <a:cubicBezTo>
                    <a:pt x="1400" y="455"/>
                    <a:pt x="1364" y="487"/>
                    <a:pt x="1310" y="487"/>
                  </a:cubicBezTo>
                  <a:cubicBezTo>
                    <a:pt x="1233" y="487"/>
                    <a:pt x="1192" y="436"/>
                    <a:pt x="1185" y="428"/>
                  </a:cubicBezTo>
                  <a:lnTo>
                    <a:pt x="1117" y="491"/>
                  </a:lnTo>
                  <a:close/>
                  <a:moveTo>
                    <a:pt x="1949" y="0"/>
                  </a:moveTo>
                  <a:lnTo>
                    <a:pt x="1949" y="0"/>
                  </a:lnTo>
                  <a:cubicBezTo>
                    <a:pt x="1921" y="0"/>
                    <a:pt x="1903" y="19"/>
                    <a:pt x="1903" y="43"/>
                  </a:cubicBezTo>
                  <a:lnTo>
                    <a:pt x="1903" y="531"/>
                  </a:lnTo>
                  <a:cubicBezTo>
                    <a:pt x="1903" y="555"/>
                    <a:pt x="1924" y="575"/>
                    <a:pt x="1949" y="575"/>
                  </a:cubicBezTo>
                  <a:cubicBezTo>
                    <a:pt x="1972" y="575"/>
                    <a:pt x="1994" y="555"/>
                    <a:pt x="1994" y="531"/>
                  </a:cubicBezTo>
                  <a:lnTo>
                    <a:pt x="1994" y="179"/>
                  </a:lnTo>
                  <a:cubicBezTo>
                    <a:pt x="1994" y="179"/>
                    <a:pt x="2218" y="465"/>
                    <a:pt x="2276" y="541"/>
                  </a:cubicBezTo>
                  <a:cubicBezTo>
                    <a:pt x="2291" y="559"/>
                    <a:pt x="2302" y="576"/>
                    <a:pt x="2328" y="576"/>
                  </a:cubicBezTo>
                  <a:cubicBezTo>
                    <a:pt x="2355" y="576"/>
                    <a:pt x="2373" y="556"/>
                    <a:pt x="2373" y="532"/>
                  </a:cubicBezTo>
                  <a:lnTo>
                    <a:pt x="2373" y="3"/>
                  </a:lnTo>
                  <a:lnTo>
                    <a:pt x="2282" y="3"/>
                  </a:lnTo>
                  <a:lnTo>
                    <a:pt x="2282" y="398"/>
                  </a:lnTo>
                  <a:cubicBezTo>
                    <a:pt x="2282" y="398"/>
                    <a:pt x="2033" y="78"/>
                    <a:pt x="1998" y="34"/>
                  </a:cubicBezTo>
                  <a:cubicBezTo>
                    <a:pt x="1982" y="13"/>
                    <a:pt x="1970" y="0"/>
                    <a:pt x="1949" y="0"/>
                  </a:cubicBezTo>
                  <a:close/>
                  <a:moveTo>
                    <a:pt x="342" y="264"/>
                  </a:moveTo>
                  <a:lnTo>
                    <a:pt x="342" y="264"/>
                  </a:lnTo>
                  <a:cubicBezTo>
                    <a:pt x="358" y="272"/>
                    <a:pt x="426" y="301"/>
                    <a:pt x="426" y="402"/>
                  </a:cubicBezTo>
                  <a:cubicBezTo>
                    <a:pt x="426" y="497"/>
                    <a:pt x="355" y="572"/>
                    <a:pt x="252" y="572"/>
                  </a:cubicBezTo>
                  <a:lnTo>
                    <a:pt x="0" y="572"/>
                  </a:lnTo>
                  <a:lnTo>
                    <a:pt x="0" y="47"/>
                  </a:lnTo>
                  <a:cubicBezTo>
                    <a:pt x="0" y="20"/>
                    <a:pt x="18" y="2"/>
                    <a:pt x="44" y="2"/>
                  </a:cubicBezTo>
                  <a:lnTo>
                    <a:pt x="241" y="2"/>
                  </a:lnTo>
                  <a:cubicBezTo>
                    <a:pt x="336" y="2"/>
                    <a:pt x="399" y="59"/>
                    <a:pt x="399" y="147"/>
                  </a:cubicBezTo>
                  <a:cubicBezTo>
                    <a:pt x="399" y="221"/>
                    <a:pt x="357" y="254"/>
                    <a:pt x="342" y="264"/>
                  </a:cubicBezTo>
                  <a:close/>
                  <a:moveTo>
                    <a:pt x="91" y="230"/>
                  </a:moveTo>
                  <a:lnTo>
                    <a:pt x="91" y="230"/>
                  </a:lnTo>
                  <a:lnTo>
                    <a:pt x="229" y="230"/>
                  </a:lnTo>
                  <a:cubicBezTo>
                    <a:pt x="278" y="230"/>
                    <a:pt x="306" y="199"/>
                    <a:pt x="306" y="161"/>
                  </a:cubicBezTo>
                  <a:cubicBezTo>
                    <a:pt x="306" y="123"/>
                    <a:pt x="281" y="92"/>
                    <a:pt x="229" y="92"/>
                  </a:cubicBezTo>
                  <a:lnTo>
                    <a:pt x="91" y="92"/>
                  </a:lnTo>
                  <a:lnTo>
                    <a:pt x="91" y="230"/>
                  </a:lnTo>
                  <a:close/>
                  <a:moveTo>
                    <a:pt x="235" y="484"/>
                  </a:moveTo>
                  <a:lnTo>
                    <a:pt x="235" y="484"/>
                  </a:lnTo>
                  <a:cubicBezTo>
                    <a:pt x="300" y="484"/>
                    <a:pt x="333" y="446"/>
                    <a:pt x="333" y="400"/>
                  </a:cubicBezTo>
                  <a:cubicBezTo>
                    <a:pt x="333" y="352"/>
                    <a:pt x="301" y="314"/>
                    <a:pt x="235" y="314"/>
                  </a:cubicBezTo>
                  <a:lnTo>
                    <a:pt x="91" y="314"/>
                  </a:lnTo>
                  <a:lnTo>
                    <a:pt x="91" y="484"/>
                  </a:lnTo>
                  <a:lnTo>
                    <a:pt x="235" y="484"/>
                  </a:lnTo>
                  <a:close/>
                  <a:moveTo>
                    <a:pt x="2858" y="92"/>
                  </a:moveTo>
                  <a:lnTo>
                    <a:pt x="2858" y="92"/>
                  </a:lnTo>
                  <a:cubicBezTo>
                    <a:pt x="2888" y="92"/>
                    <a:pt x="2906" y="73"/>
                    <a:pt x="2906" y="48"/>
                  </a:cubicBezTo>
                  <a:cubicBezTo>
                    <a:pt x="2906" y="23"/>
                    <a:pt x="2887" y="3"/>
                    <a:pt x="2858" y="3"/>
                  </a:cubicBezTo>
                  <a:lnTo>
                    <a:pt x="2576" y="3"/>
                  </a:lnTo>
                  <a:cubicBezTo>
                    <a:pt x="2551" y="3"/>
                    <a:pt x="2532" y="22"/>
                    <a:pt x="2532" y="48"/>
                  </a:cubicBezTo>
                  <a:lnTo>
                    <a:pt x="2532" y="529"/>
                  </a:lnTo>
                  <a:cubicBezTo>
                    <a:pt x="2532" y="554"/>
                    <a:pt x="2551" y="573"/>
                    <a:pt x="2576" y="573"/>
                  </a:cubicBezTo>
                  <a:lnTo>
                    <a:pt x="2903" y="573"/>
                  </a:lnTo>
                  <a:lnTo>
                    <a:pt x="2903" y="484"/>
                  </a:lnTo>
                  <a:lnTo>
                    <a:pt x="2624" y="484"/>
                  </a:lnTo>
                  <a:lnTo>
                    <a:pt x="2624" y="318"/>
                  </a:lnTo>
                  <a:lnTo>
                    <a:pt x="2834" y="318"/>
                  </a:lnTo>
                  <a:cubicBezTo>
                    <a:pt x="2866" y="318"/>
                    <a:pt x="2884" y="299"/>
                    <a:pt x="2884" y="274"/>
                  </a:cubicBezTo>
                  <a:cubicBezTo>
                    <a:pt x="2884" y="248"/>
                    <a:pt x="2867" y="229"/>
                    <a:pt x="2834" y="229"/>
                  </a:cubicBezTo>
                  <a:lnTo>
                    <a:pt x="2624" y="229"/>
                  </a:lnTo>
                  <a:lnTo>
                    <a:pt x="2624" y="92"/>
                  </a:lnTo>
                  <a:lnTo>
                    <a:pt x="2858" y="92"/>
                  </a:lnTo>
                  <a:close/>
                  <a:moveTo>
                    <a:pt x="634" y="346"/>
                  </a:moveTo>
                  <a:lnTo>
                    <a:pt x="634" y="346"/>
                  </a:lnTo>
                  <a:lnTo>
                    <a:pt x="634" y="44"/>
                  </a:lnTo>
                  <a:cubicBezTo>
                    <a:pt x="634" y="19"/>
                    <a:pt x="616" y="0"/>
                    <a:pt x="588" y="0"/>
                  </a:cubicBezTo>
                  <a:cubicBezTo>
                    <a:pt x="560" y="0"/>
                    <a:pt x="542" y="19"/>
                    <a:pt x="542" y="44"/>
                  </a:cubicBezTo>
                  <a:lnTo>
                    <a:pt x="542" y="343"/>
                  </a:lnTo>
                  <a:cubicBezTo>
                    <a:pt x="542" y="471"/>
                    <a:pt x="632" y="575"/>
                    <a:pt x="776" y="575"/>
                  </a:cubicBezTo>
                  <a:cubicBezTo>
                    <a:pt x="920" y="575"/>
                    <a:pt x="1010" y="471"/>
                    <a:pt x="1010" y="343"/>
                  </a:cubicBezTo>
                  <a:lnTo>
                    <a:pt x="1010" y="2"/>
                  </a:lnTo>
                  <a:lnTo>
                    <a:pt x="918" y="2"/>
                  </a:lnTo>
                  <a:lnTo>
                    <a:pt x="918" y="345"/>
                  </a:lnTo>
                  <a:cubicBezTo>
                    <a:pt x="918" y="421"/>
                    <a:pt x="867" y="488"/>
                    <a:pt x="776" y="488"/>
                  </a:cubicBezTo>
                  <a:cubicBezTo>
                    <a:pt x="684" y="489"/>
                    <a:pt x="634" y="422"/>
                    <a:pt x="634" y="346"/>
                  </a:cubicBezTo>
                  <a:close/>
                  <a:moveTo>
                    <a:pt x="1676" y="0"/>
                  </a:moveTo>
                  <a:lnTo>
                    <a:pt x="1676" y="0"/>
                  </a:lnTo>
                  <a:cubicBezTo>
                    <a:pt x="1704" y="0"/>
                    <a:pt x="1722" y="19"/>
                    <a:pt x="1722" y="44"/>
                  </a:cubicBezTo>
                  <a:lnTo>
                    <a:pt x="1722" y="572"/>
                  </a:lnTo>
                  <a:lnTo>
                    <a:pt x="1630" y="572"/>
                  </a:lnTo>
                  <a:lnTo>
                    <a:pt x="1630" y="44"/>
                  </a:lnTo>
                  <a:cubicBezTo>
                    <a:pt x="1630" y="19"/>
                    <a:pt x="1647" y="0"/>
                    <a:pt x="1676" y="0"/>
                  </a:cubicBezTo>
                  <a:close/>
                </a:path>
              </a:pathLst>
            </a:custGeom>
            <a:solidFill>
              <a:srgbClr val="0D62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74660264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plit 2">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7505382-F8BD-461B-BB7E-B940074A4D28}"/>
              </a:ext>
            </a:extLst>
          </p:cNvPr>
          <p:cNvSpPr/>
          <p:nvPr userDrawn="1"/>
        </p:nvSpPr>
        <p:spPr>
          <a:xfrm>
            <a:off x="7802880" y="-9144"/>
            <a:ext cx="4389120" cy="687628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F8194D4-3A07-4F1A-882C-C717883D954E}"/>
              </a:ext>
            </a:extLst>
          </p:cNvPr>
          <p:cNvSpPr>
            <a:spLocks noGrp="1"/>
          </p:cNvSpPr>
          <p:nvPr>
            <p:ph type="title" hasCustomPrompt="1"/>
          </p:nvPr>
        </p:nvSpPr>
        <p:spPr>
          <a:xfrm>
            <a:off x="429489" y="685800"/>
            <a:ext cx="7132320" cy="2286000"/>
          </a:xfrm>
        </p:spPr>
        <p:txBody>
          <a:bodyPr/>
          <a:lstStyle>
            <a:lvl1pPr>
              <a:defRPr>
                <a:solidFill>
                  <a:schemeClr val="accent1"/>
                </a:solidFill>
              </a:defRPr>
            </a:lvl1pPr>
          </a:lstStyle>
          <a:p>
            <a:r>
              <a:rPr lang="en-US"/>
              <a:t>Slide title, 32pt </a:t>
            </a:r>
            <a:r>
              <a:rPr lang="en-GB"/>
              <a:t>Regular</a:t>
            </a:r>
            <a:endParaRPr lang="en-US"/>
          </a:p>
        </p:txBody>
      </p:sp>
      <p:sp>
        <p:nvSpPr>
          <p:cNvPr id="6" name="Footer Placeholder 5">
            <a:extLst>
              <a:ext uri="{FF2B5EF4-FFF2-40B4-BE49-F238E27FC236}">
                <a16:creationId xmlns:a16="http://schemas.microsoft.com/office/drawing/2014/main" id="{6666C29D-03F7-467C-85B3-28F7651F8315}"/>
              </a:ext>
            </a:extLst>
          </p:cNvPr>
          <p:cNvSpPr>
            <a:spLocks noGrp="1"/>
          </p:cNvSpPr>
          <p:nvPr>
            <p:ph type="ftr" sz="quarter" idx="11"/>
          </p:nvPr>
        </p:nvSpPr>
        <p:spPr/>
        <p:txBody>
          <a:bodyPr/>
          <a:lstStyle>
            <a:lvl1pPr>
              <a:defRPr>
                <a:solidFill>
                  <a:schemeClr val="tx1"/>
                </a:solidFill>
              </a:defRPr>
            </a:lvl1pPr>
          </a:lstStyle>
          <a:p>
            <a:r>
              <a:rPr lang="en-US"/>
              <a:t>Copyright © 2021 Comcast Business. All rights reserved.</a:t>
            </a:r>
          </a:p>
        </p:txBody>
      </p:sp>
      <p:sp>
        <p:nvSpPr>
          <p:cNvPr id="7" name="Slide Number Placeholder 6">
            <a:extLst>
              <a:ext uri="{FF2B5EF4-FFF2-40B4-BE49-F238E27FC236}">
                <a16:creationId xmlns:a16="http://schemas.microsoft.com/office/drawing/2014/main" id="{51B86CBB-8A54-4818-8CC6-A9598ED3AFFA}"/>
              </a:ext>
            </a:extLst>
          </p:cNvPr>
          <p:cNvSpPr>
            <a:spLocks noGrp="1"/>
          </p:cNvSpPr>
          <p:nvPr>
            <p:ph type="sldNum" sz="quarter" idx="12"/>
          </p:nvPr>
        </p:nvSpPr>
        <p:spPr/>
        <p:txBody>
          <a:bodyPr/>
          <a:lstStyle>
            <a:lvl1pPr>
              <a:defRPr>
                <a:solidFill>
                  <a:schemeClr val="bg1"/>
                </a:solidFill>
              </a:defRPr>
            </a:lvl1pPr>
          </a:lstStyle>
          <a:p>
            <a:fld id="{A07A7439-3E0E-4A6B-9524-3A8EBA819993}" type="slidenum">
              <a:rPr lang="en-US" smtClean="0"/>
              <a:pPr/>
              <a:t>‹#›</a:t>
            </a:fld>
            <a:endParaRPr lang="en-US"/>
          </a:p>
        </p:txBody>
      </p:sp>
      <p:sp>
        <p:nvSpPr>
          <p:cNvPr id="8" name="Text Placeholder 8">
            <a:extLst>
              <a:ext uri="{FF2B5EF4-FFF2-40B4-BE49-F238E27FC236}">
                <a16:creationId xmlns:a16="http://schemas.microsoft.com/office/drawing/2014/main" id="{349B0992-35C7-46C1-990D-C73E0A449734}"/>
              </a:ext>
            </a:extLst>
          </p:cNvPr>
          <p:cNvSpPr>
            <a:spLocks noGrp="1"/>
          </p:cNvSpPr>
          <p:nvPr>
            <p:ph type="body" sz="quarter" idx="13" hasCustomPrompt="1"/>
          </p:nvPr>
        </p:nvSpPr>
        <p:spPr>
          <a:xfrm>
            <a:off x="457200" y="411480"/>
            <a:ext cx="6400800" cy="182880"/>
          </a:xfrm>
        </p:spPr>
        <p:txBody>
          <a:bodyPr/>
          <a:lstStyle>
            <a:lvl1pPr marL="0" indent="0">
              <a:buNone/>
              <a:defRPr sz="1200">
                <a:solidFill>
                  <a:schemeClr val="accent1"/>
                </a:solidFill>
              </a:defRPr>
            </a:lvl1pPr>
            <a:lvl2pPr marL="228600" indent="0">
              <a:buNone/>
              <a:defRPr/>
            </a:lvl2pPr>
          </a:lstStyle>
          <a:p>
            <a:pPr lvl="0"/>
            <a:r>
              <a:rPr lang="en-US"/>
              <a:t>Optional subtitle, 12pt Regular</a:t>
            </a:r>
          </a:p>
        </p:txBody>
      </p:sp>
      <p:sp>
        <p:nvSpPr>
          <p:cNvPr id="4" name="Content Placeholder 3">
            <a:extLst>
              <a:ext uri="{FF2B5EF4-FFF2-40B4-BE49-F238E27FC236}">
                <a16:creationId xmlns:a16="http://schemas.microsoft.com/office/drawing/2014/main" id="{1582D711-78AA-40DF-9ED8-0A7123D2D990}"/>
              </a:ext>
            </a:extLst>
          </p:cNvPr>
          <p:cNvSpPr>
            <a:spLocks noGrp="1"/>
          </p:cNvSpPr>
          <p:nvPr>
            <p:ph sz="half" idx="2" hasCustomPrompt="1"/>
          </p:nvPr>
        </p:nvSpPr>
        <p:spPr>
          <a:xfrm>
            <a:off x="8173039" y="2560320"/>
            <a:ext cx="3561762" cy="3749040"/>
          </a:xfrm>
        </p:spPr>
        <p:txBody>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First level, 20pt Regular</a:t>
            </a:r>
          </a:p>
          <a:p>
            <a:pPr lvl="1"/>
            <a:r>
              <a:rPr lang="en-US"/>
              <a:t>Second level, 18pt</a:t>
            </a:r>
          </a:p>
          <a:p>
            <a:pPr lvl="2"/>
            <a:r>
              <a:rPr lang="en-US"/>
              <a:t>Third level, 16pt</a:t>
            </a:r>
          </a:p>
          <a:p>
            <a:pPr lvl="3"/>
            <a:r>
              <a:rPr lang="en-US"/>
              <a:t>Fourth level, 14pt</a:t>
            </a:r>
          </a:p>
          <a:p>
            <a:pPr lvl="4"/>
            <a:r>
              <a:rPr lang="en-US"/>
              <a:t>Fifth level, 12pt Bold, use for captions</a:t>
            </a:r>
          </a:p>
        </p:txBody>
      </p:sp>
      <p:grpSp>
        <p:nvGrpSpPr>
          <p:cNvPr id="9" name="Group 4">
            <a:extLst>
              <a:ext uri="{FF2B5EF4-FFF2-40B4-BE49-F238E27FC236}">
                <a16:creationId xmlns:a16="http://schemas.microsoft.com/office/drawing/2014/main" id="{CF7742F3-160D-413D-B2C4-BEC92F5E13D3}"/>
              </a:ext>
            </a:extLst>
          </p:cNvPr>
          <p:cNvGrpSpPr>
            <a:grpSpLocks noChangeAspect="1"/>
          </p:cNvGrpSpPr>
          <p:nvPr userDrawn="1"/>
        </p:nvGrpSpPr>
        <p:grpSpPr bwMode="auto">
          <a:xfrm>
            <a:off x="8686800" y="6431507"/>
            <a:ext cx="2522538" cy="184150"/>
            <a:chOff x="288" y="4035"/>
            <a:chExt cx="1589" cy="116"/>
          </a:xfrm>
          <a:solidFill>
            <a:srgbClr val="FFFFFF"/>
          </a:solidFill>
        </p:grpSpPr>
        <p:sp>
          <p:nvSpPr>
            <p:cNvPr id="10" name="Freeform 5">
              <a:extLst>
                <a:ext uri="{FF2B5EF4-FFF2-40B4-BE49-F238E27FC236}">
                  <a16:creationId xmlns:a16="http://schemas.microsoft.com/office/drawing/2014/main" id="{F0AC41A6-5BD9-485B-B33C-3366D865A759}"/>
                </a:ext>
              </a:extLst>
            </p:cNvPr>
            <p:cNvSpPr>
              <a:spLocks noEditPoints="1"/>
            </p:cNvSpPr>
            <p:nvPr userDrawn="1"/>
          </p:nvSpPr>
          <p:spPr bwMode="auto">
            <a:xfrm>
              <a:off x="288" y="4035"/>
              <a:ext cx="769" cy="116"/>
            </a:xfrm>
            <a:custGeom>
              <a:avLst/>
              <a:gdLst>
                <a:gd name="T0" fmla="*/ 3874 w 3874"/>
                <a:gd name="T1" fmla="*/ 31 h 573"/>
                <a:gd name="T2" fmla="*/ 3527 w 3874"/>
                <a:gd name="T3" fmla="*/ 3 h 573"/>
                <a:gd name="T4" fmla="*/ 3527 w 3874"/>
                <a:gd name="T5" fmla="*/ 59 h 573"/>
                <a:gd name="T6" fmla="*/ 3661 w 3874"/>
                <a:gd name="T7" fmla="*/ 569 h 573"/>
                <a:gd name="T8" fmla="*/ 3713 w 3874"/>
                <a:gd name="T9" fmla="*/ 59 h 573"/>
                <a:gd name="T10" fmla="*/ 3874 w 3874"/>
                <a:gd name="T11" fmla="*/ 31 h 573"/>
                <a:gd name="T12" fmla="*/ 2759 w 3874"/>
                <a:gd name="T13" fmla="*/ 0 h 573"/>
                <a:gd name="T14" fmla="*/ 2523 w 3874"/>
                <a:gd name="T15" fmla="*/ 538 h 573"/>
                <a:gd name="T16" fmla="*/ 2547 w 3874"/>
                <a:gd name="T17" fmla="*/ 573 h 573"/>
                <a:gd name="T18" fmla="*/ 2651 w 3874"/>
                <a:gd name="T19" fmla="*/ 359 h 573"/>
                <a:gd name="T20" fmla="*/ 2954 w 3874"/>
                <a:gd name="T21" fmla="*/ 569 h 573"/>
                <a:gd name="T22" fmla="*/ 2784 w 3874"/>
                <a:gd name="T23" fmla="*/ 16 h 573"/>
                <a:gd name="T24" fmla="*/ 2675 w 3874"/>
                <a:gd name="T25" fmla="*/ 302 h 573"/>
                <a:gd name="T26" fmla="*/ 2760 w 3874"/>
                <a:gd name="T27" fmla="*/ 93 h 573"/>
                <a:gd name="T28" fmla="*/ 2675 w 3874"/>
                <a:gd name="T29" fmla="*/ 302 h 573"/>
                <a:gd name="T30" fmla="*/ 1742 w 3874"/>
                <a:gd name="T31" fmla="*/ 0 h 573"/>
                <a:gd name="T32" fmla="*/ 1549 w 3874"/>
                <a:gd name="T33" fmla="*/ 430 h 573"/>
                <a:gd name="T34" fmla="*/ 1357 w 3874"/>
                <a:gd name="T35" fmla="*/ 0 h 573"/>
                <a:gd name="T36" fmla="*/ 1237 w 3874"/>
                <a:gd name="T37" fmla="*/ 543 h 573"/>
                <a:gd name="T38" fmla="*/ 1261 w 3874"/>
                <a:gd name="T39" fmla="*/ 573 h 573"/>
                <a:gd name="T40" fmla="*/ 1366 w 3874"/>
                <a:gd name="T41" fmla="*/ 116 h 573"/>
                <a:gd name="T42" fmla="*/ 1549 w 3874"/>
                <a:gd name="T43" fmla="*/ 523 h 573"/>
                <a:gd name="T44" fmla="*/ 1732 w 3874"/>
                <a:gd name="T45" fmla="*/ 116 h 573"/>
                <a:gd name="T46" fmla="*/ 1868 w 3874"/>
                <a:gd name="T47" fmla="*/ 570 h 573"/>
                <a:gd name="T48" fmla="*/ 1742 w 3874"/>
                <a:gd name="T49" fmla="*/ 0 h 573"/>
                <a:gd name="T50" fmla="*/ 2226 w 3874"/>
                <a:gd name="T51" fmla="*/ 57 h 573"/>
                <a:gd name="T52" fmla="*/ 2429 w 3874"/>
                <a:gd name="T53" fmla="*/ 124 h 573"/>
                <a:gd name="T54" fmla="*/ 2429 w 3874"/>
                <a:gd name="T55" fmla="*/ 84 h 573"/>
                <a:gd name="T56" fmla="*/ 2226 w 3874"/>
                <a:gd name="T57" fmla="*/ 0 h 573"/>
                <a:gd name="T58" fmla="*/ 2226 w 3874"/>
                <a:gd name="T59" fmla="*/ 573 h 573"/>
                <a:gd name="T60" fmla="*/ 2397 w 3874"/>
                <a:gd name="T61" fmla="*/ 440 h 573"/>
                <a:gd name="T62" fmla="*/ 1996 w 3874"/>
                <a:gd name="T63" fmla="*/ 286 h 573"/>
                <a:gd name="T64" fmla="*/ 285 w 3874"/>
                <a:gd name="T65" fmla="*/ 57 h 573"/>
                <a:gd name="T66" fmla="*/ 448 w 3874"/>
                <a:gd name="T67" fmla="*/ 124 h 573"/>
                <a:gd name="T68" fmla="*/ 497 w 3874"/>
                <a:gd name="T69" fmla="*/ 104 h 573"/>
                <a:gd name="T70" fmla="*/ 485 w 3874"/>
                <a:gd name="T71" fmla="*/ 80 h 573"/>
                <a:gd name="T72" fmla="*/ 0 w 3874"/>
                <a:gd name="T73" fmla="*/ 287 h 573"/>
                <a:gd name="T74" fmla="*/ 497 w 3874"/>
                <a:gd name="T75" fmla="*/ 480 h 573"/>
                <a:gd name="T76" fmla="*/ 286 w 3874"/>
                <a:gd name="T77" fmla="*/ 516 h 573"/>
                <a:gd name="T78" fmla="*/ 285 w 3874"/>
                <a:gd name="T79" fmla="*/ 57 h 573"/>
                <a:gd name="T80" fmla="*/ 3341 w 3874"/>
                <a:gd name="T81" fmla="*/ 290 h 573"/>
                <a:gd name="T82" fmla="*/ 3152 w 3874"/>
                <a:gd name="T83" fmla="*/ 142 h 573"/>
                <a:gd name="T84" fmla="*/ 3361 w 3874"/>
                <a:gd name="T85" fmla="*/ 86 h 573"/>
                <a:gd name="T86" fmla="*/ 3403 w 3874"/>
                <a:gd name="T87" fmla="*/ 61 h 573"/>
                <a:gd name="T88" fmla="*/ 3262 w 3874"/>
                <a:gd name="T89" fmla="*/ 0 h 573"/>
                <a:gd name="T90" fmla="*/ 3194 w 3874"/>
                <a:gd name="T91" fmla="*/ 277 h 573"/>
                <a:gd name="T92" fmla="*/ 3375 w 3874"/>
                <a:gd name="T93" fmla="*/ 423 h 573"/>
                <a:gd name="T94" fmla="*/ 3129 w 3874"/>
                <a:gd name="T95" fmla="*/ 456 h 573"/>
                <a:gd name="T96" fmla="*/ 3082 w 3874"/>
                <a:gd name="T97" fmla="*/ 489 h 573"/>
                <a:gd name="T98" fmla="*/ 3266 w 3874"/>
                <a:gd name="T99" fmla="*/ 572 h 573"/>
                <a:gd name="T100" fmla="*/ 3341 w 3874"/>
                <a:gd name="T101" fmla="*/ 290 h 573"/>
                <a:gd name="T102" fmla="*/ 872 w 3874"/>
                <a:gd name="T103" fmla="*/ 0 h 573"/>
                <a:gd name="T104" fmla="*/ 872 w 3874"/>
                <a:gd name="T105" fmla="*/ 573 h 573"/>
                <a:gd name="T106" fmla="*/ 872 w 3874"/>
                <a:gd name="T107" fmla="*/ 0 h 573"/>
                <a:gd name="T108" fmla="*/ 872 w 3874"/>
                <a:gd name="T109" fmla="*/ 516 h 573"/>
                <a:gd name="T110" fmla="*/ 872 w 3874"/>
                <a:gd name="T111" fmla="*/ 56 h 573"/>
                <a:gd name="T112" fmla="*/ 872 w 3874"/>
                <a:gd name="T113" fmla="*/ 516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874" h="573">
                  <a:moveTo>
                    <a:pt x="3874" y="31"/>
                  </a:moveTo>
                  <a:lnTo>
                    <a:pt x="3874" y="31"/>
                  </a:lnTo>
                  <a:cubicBezTo>
                    <a:pt x="3874" y="16"/>
                    <a:pt x="3861" y="3"/>
                    <a:pt x="3846" y="3"/>
                  </a:cubicBezTo>
                  <a:lnTo>
                    <a:pt x="3527" y="3"/>
                  </a:lnTo>
                  <a:cubicBezTo>
                    <a:pt x="3512" y="3"/>
                    <a:pt x="3499" y="15"/>
                    <a:pt x="3499" y="31"/>
                  </a:cubicBezTo>
                  <a:cubicBezTo>
                    <a:pt x="3499" y="47"/>
                    <a:pt x="3511" y="59"/>
                    <a:pt x="3527" y="59"/>
                  </a:cubicBezTo>
                  <a:lnTo>
                    <a:pt x="3661" y="59"/>
                  </a:lnTo>
                  <a:lnTo>
                    <a:pt x="3661" y="569"/>
                  </a:lnTo>
                  <a:lnTo>
                    <a:pt x="3713" y="569"/>
                  </a:lnTo>
                  <a:lnTo>
                    <a:pt x="3713" y="59"/>
                  </a:lnTo>
                  <a:lnTo>
                    <a:pt x="3846" y="59"/>
                  </a:lnTo>
                  <a:cubicBezTo>
                    <a:pt x="3862" y="60"/>
                    <a:pt x="3874" y="47"/>
                    <a:pt x="3874" y="31"/>
                  </a:cubicBezTo>
                  <a:close/>
                  <a:moveTo>
                    <a:pt x="2759" y="0"/>
                  </a:moveTo>
                  <a:lnTo>
                    <a:pt x="2759" y="0"/>
                  </a:lnTo>
                  <a:cubicBezTo>
                    <a:pt x="2748" y="0"/>
                    <a:pt x="2741" y="7"/>
                    <a:pt x="2735" y="16"/>
                  </a:cubicBezTo>
                  <a:cubicBezTo>
                    <a:pt x="2731" y="26"/>
                    <a:pt x="2523" y="538"/>
                    <a:pt x="2523" y="538"/>
                  </a:cubicBezTo>
                  <a:cubicBezTo>
                    <a:pt x="2522" y="541"/>
                    <a:pt x="2521" y="544"/>
                    <a:pt x="2521" y="547"/>
                  </a:cubicBezTo>
                  <a:cubicBezTo>
                    <a:pt x="2521" y="562"/>
                    <a:pt x="2532" y="573"/>
                    <a:pt x="2547" y="573"/>
                  </a:cubicBezTo>
                  <a:cubicBezTo>
                    <a:pt x="2558" y="573"/>
                    <a:pt x="2567" y="566"/>
                    <a:pt x="2570" y="556"/>
                  </a:cubicBezTo>
                  <a:lnTo>
                    <a:pt x="2651" y="359"/>
                  </a:lnTo>
                  <a:lnTo>
                    <a:pt x="2868" y="359"/>
                  </a:lnTo>
                  <a:lnTo>
                    <a:pt x="2954" y="569"/>
                  </a:lnTo>
                  <a:lnTo>
                    <a:pt x="3009" y="569"/>
                  </a:lnTo>
                  <a:cubicBezTo>
                    <a:pt x="3009" y="569"/>
                    <a:pt x="2788" y="25"/>
                    <a:pt x="2784" y="16"/>
                  </a:cubicBezTo>
                  <a:cubicBezTo>
                    <a:pt x="2779" y="7"/>
                    <a:pt x="2770" y="0"/>
                    <a:pt x="2759" y="0"/>
                  </a:cubicBezTo>
                  <a:close/>
                  <a:moveTo>
                    <a:pt x="2675" y="302"/>
                  </a:moveTo>
                  <a:lnTo>
                    <a:pt x="2675" y="302"/>
                  </a:lnTo>
                  <a:lnTo>
                    <a:pt x="2760" y="93"/>
                  </a:lnTo>
                  <a:lnTo>
                    <a:pt x="2845" y="302"/>
                  </a:lnTo>
                  <a:lnTo>
                    <a:pt x="2675" y="302"/>
                  </a:lnTo>
                  <a:close/>
                  <a:moveTo>
                    <a:pt x="1742" y="0"/>
                  </a:moveTo>
                  <a:lnTo>
                    <a:pt x="1742" y="0"/>
                  </a:lnTo>
                  <a:cubicBezTo>
                    <a:pt x="1731" y="0"/>
                    <a:pt x="1723" y="7"/>
                    <a:pt x="1718" y="16"/>
                  </a:cubicBezTo>
                  <a:cubicBezTo>
                    <a:pt x="1714" y="25"/>
                    <a:pt x="1549" y="430"/>
                    <a:pt x="1549" y="430"/>
                  </a:cubicBezTo>
                  <a:cubicBezTo>
                    <a:pt x="1549" y="430"/>
                    <a:pt x="1385" y="24"/>
                    <a:pt x="1381" y="16"/>
                  </a:cubicBezTo>
                  <a:cubicBezTo>
                    <a:pt x="1376" y="7"/>
                    <a:pt x="1368" y="0"/>
                    <a:pt x="1357" y="0"/>
                  </a:cubicBezTo>
                  <a:cubicBezTo>
                    <a:pt x="1345" y="0"/>
                    <a:pt x="1335" y="9"/>
                    <a:pt x="1332" y="21"/>
                  </a:cubicBezTo>
                  <a:cubicBezTo>
                    <a:pt x="1329" y="33"/>
                    <a:pt x="1237" y="543"/>
                    <a:pt x="1237" y="543"/>
                  </a:cubicBezTo>
                  <a:cubicBezTo>
                    <a:pt x="1237" y="545"/>
                    <a:pt x="1236" y="546"/>
                    <a:pt x="1236" y="548"/>
                  </a:cubicBezTo>
                  <a:cubicBezTo>
                    <a:pt x="1236" y="562"/>
                    <a:pt x="1247" y="573"/>
                    <a:pt x="1261" y="573"/>
                  </a:cubicBezTo>
                  <a:cubicBezTo>
                    <a:pt x="1273" y="573"/>
                    <a:pt x="1284" y="564"/>
                    <a:pt x="1286" y="553"/>
                  </a:cubicBezTo>
                  <a:lnTo>
                    <a:pt x="1366" y="116"/>
                  </a:lnTo>
                  <a:cubicBezTo>
                    <a:pt x="1366" y="116"/>
                    <a:pt x="1521" y="498"/>
                    <a:pt x="1526" y="507"/>
                  </a:cubicBezTo>
                  <a:cubicBezTo>
                    <a:pt x="1530" y="516"/>
                    <a:pt x="1538" y="523"/>
                    <a:pt x="1549" y="523"/>
                  </a:cubicBezTo>
                  <a:cubicBezTo>
                    <a:pt x="1560" y="523"/>
                    <a:pt x="1569" y="516"/>
                    <a:pt x="1573" y="507"/>
                  </a:cubicBezTo>
                  <a:cubicBezTo>
                    <a:pt x="1578" y="498"/>
                    <a:pt x="1732" y="116"/>
                    <a:pt x="1732" y="116"/>
                  </a:cubicBezTo>
                  <a:lnTo>
                    <a:pt x="1816" y="570"/>
                  </a:lnTo>
                  <a:lnTo>
                    <a:pt x="1868" y="570"/>
                  </a:lnTo>
                  <a:cubicBezTo>
                    <a:pt x="1868" y="570"/>
                    <a:pt x="1770" y="33"/>
                    <a:pt x="1767" y="21"/>
                  </a:cubicBezTo>
                  <a:cubicBezTo>
                    <a:pt x="1763" y="9"/>
                    <a:pt x="1754" y="0"/>
                    <a:pt x="1742" y="0"/>
                  </a:cubicBezTo>
                  <a:close/>
                  <a:moveTo>
                    <a:pt x="2226" y="57"/>
                  </a:moveTo>
                  <a:lnTo>
                    <a:pt x="2226" y="57"/>
                  </a:lnTo>
                  <a:cubicBezTo>
                    <a:pt x="2288" y="57"/>
                    <a:pt x="2345" y="80"/>
                    <a:pt x="2389" y="124"/>
                  </a:cubicBezTo>
                  <a:cubicBezTo>
                    <a:pt x="2399" y="134"/>
                    <a:pt x="2419" y="134"/>
                    <a:pt x="2429" y="124"/>
                  </a:cubicBezTo>
                  <a:cubicBezTo>
                    <a:pt x="2434" y="119"/>
                    <a:pt x="2437" y="112"/>
                    <a:pt x="2437" y="104"/>
                  </a:cubicBezTo>
                  <a:cubicBezTo>
                    <a:pt x="2437" y="96"/>
                    <a:pt x="2434" y="89"/>
                    <a:pt x="2429" y="84"/>
                  </a:cubicBezTo>
                  <a:lnTo>
                    <a:pt x="2426" y="80"/>
                  </a:lnTo>
                  <a:cubicBezTo>
                    <a:pt x="2372" y="29"/>
                    <a:pt x="2301" y="0"/>
                    <a:pt x="2226" y="0"/>
                  </a:cubicBezTo>
                  <a:cubicBezTo>
                    <a:pt x="2069" y="0"/>
                    <a:pt x="1940" y="129"/>
                    <a:pt x="1940" y="287"/>
                  </a:cubicBezTo>
                  <a:cubicBezTo>
                    <a:pt x="1940" y="445"/>
                    <a:pt x="2069" y="573"/>
                    <a:pt x="2226" y="573"/>
                  </a:cubicBezTo>
                  <a:cubicBezTo>
                    <a:pt x="2310" y="573"/>
                    <a:pt x="2385" y="538"/>
                    <a:pt x="2437" y="480"/>
                  </a:cubicBezTo>
                  <a:lnTo>
                    <a:pt x="2397" y="440"/>
                  </a:lnTo>
                  <a:cubicBezTo>
                    <a:pt x="2355" y="487"/>
                    <a:pt x="2294" y="516"/>
                    <a:pt x="2226" y="516"/>
                  </a:cubicBezTo>
                  <a:cubicBezTo>
                    <a:pt x="2100" y="516"/>
                    <a:pt x="1996" y="413"/>
                    <a:pt x="1996" y="286"/>
                  </a:cubicBezTo>
                  <a:cubicBezTo>
                    <a:pt x="1996" y="160"/>
                    <a:pt x="2100" y="57"/>
                    <a:pt x="2226" y="57"/>
                  </a:cubicBezTo>
                  <a:close/>
                  <a:moveTo>
                    <a:pt x="285" y="57"/>
                  </a:moveTo>
                  <a:lnTo>
                    <a:pt x="285" y="57"/>
                  </a:lnTo>
                  <a:cubicBezTo>
                    <a:pt x="347" y="57"/>
                    <a:pt x="404" y="80"/>
                    <a:pt x="448" y="124"/>
                  </a:cubicBezTo>
                  <a:cubicBezTo>
                    <a:pt x="459" y="134"/>
                    <a:pt x="478" y="134"/>
                    <a:pt x="488" y="124"/>
                  </a:cubicBezTo>
                  <a:cubicBezTo>
                    <a:pt x="494" y="119"/>
                    <a:pt x="497" y="112"/>
                    <a:pt x="497" y="104"/>
                  </a:cubicBezTo>
                  <a:cubicBezTo>
                    <a:pt x="497" y="96"/>
                    <a:pt x="494" y="89"/>
                    <a:pt x="488" y="84"/>
                  </a:cubicBezTo>
                  <a:lnTo>
                    <a:pt x="485" y="80"/>
                  </a:lnTo>
                  <a:cubicBezTo>
                    <a:pt x="431" y="29"/>
                    <a:pt x="361" y="0"/>
                    <a:pt x="286" y="0"/>
                  </a:cubicBezTo>
                  <a:cubicBezTo>
                    <a:pt x="128" y="0"/>
                    <a:pt x="0" y="129"/>
                    <a:pt x="0" y="287"/>
                  </a:cubicBezTo>
                  <a:cubicBezTo>
                    <a:pt x="0" y="445"/>
                    <a:pt x="128" y="573"/>
                    <a:pt x="286" y="573"/>
                  </a:cubicBezTo>
                  <a:cubicBezTo>
                    <a:pt x="369" y="573"/>
                    <a:pt x="444" y="538"/>
                    <a:pt x="497" y="480"/>
                  </a:cubicBezTo>
                  <a:lnTo>
                    <a:pt x="457" y="440"/>
                  </a:lnTo>
                  <a:cubicBezTo>
                    <a:pt x="415" y="487"/>
                    <a:pt x="353" y="516"/>
                    <a:pt x="286" y="516"/>
                  </a:cubicBezTo>
                  <a:cubicBezTo>
                    <a:pt x="159" y="516"/>
                    <a:pt x="56" y="413"/>
                    <a:pt x="56" y="286"/>
                  </a:cubicBezTo>
                  <a:cubicBezTo>
                    <a:pt x="55" y="160"/>
                    <a:pt x="159" y="57"/>
                    <a:pt x="285" y="57"/>
                  </a:cubicBezTo>
                  <a:close/>
                  <a:moveTo>
                    <a:pt x="3341" y="290"/>
                  </a:moveTo>
                  <a:lnTo>
                    <a:pt x="3341" y="290"/>
                  </a:lnTo>
                  <a:cubicBezTo>
                    <a:pt x="3326" y="282"/>
                    <a:pt x="3233" y="234"/>
                    <a:pt x="3219" y="227"/>
                  </a:cubicBezTo>
                  <a:cubicBezTo>
                    <a:pt x="3170" y="201"/>
                    <a:pt x="3152" y="179"/>
                    <a:pt x="3152" y="142"/>
                  </a:cubicBezTo>
                  <a:cubicBezTo>
                    <a:pt x="3152" y="90"/>
                    <a:pt x="3195" y="56"/>
                    <a:pt x="3262" y="56"/>
                  </a:cubicBezTo>
                  <a:cubicBezTo>
                    <a:pt x="3301" y="56"/>
                    <a:pt x="3339" y="73"/>
                    <a:pt x="3361" y="86"/>
                  </a:cubicBezTo>
                  <a:cubicBezTo>
                    <a:pt x="3365" y="88"/>
                    <a:pt x="3370" y="89"/>
                    <a:pt x="3374" y="89"/>
                  </a:cubicBezTo>
                  <a:cubicBezTo>
                    <a:pt x="3390" y="89"/>
                    <a:pt x="3403" y="77"/>
                    <a:pt x="3403" y="61"/>
                  </a:cubicBezTo>
                  <a:cubicBezTo>
                    <a:pt x="3403" y="51"/>
                    <a:pt x="3397" y="42"/>
                    <a:pt x="3388" y="37"/>
                  </a:cubicBezTo>
                  <a:cubicBezTo>
                    <a:pt x="3361" y="21"/>
                    <a:pt x="3313" y="0"/>
                    <a:pt x="3262" y="0"/>
                  </a:cubicBezTo>
                  <a:cubicBezTo>
                    <a:pt x="3165" y="0"/>
                    <a:pt x="3097" y="58"/>
                    <a:pt x="3097" y="142"/>
                  </a:cubicBezTo>
                  <a:cubicBezTo>
                    <a:pt x="3097" y="217"/>
                    <a:pt x="3146" y="252"/>
                    <a:pt x="3194" y="277"/>
                  </a:cubicBezTo>
                  <a:cubicBezTo>
                    <a:pt x="3208" y="284"/>
                    <a:pt x="3302" y="333"/>
                    <a:pt x="3317" y="340"/>
                  </a:cubicBezTo>
                  <a:cubicBezTo>
                    <a:pt x="3354" y="360"/>
                    <a:pt x="3375" y="390"/>
                    <a:pt x="3375" y="423"/>
                  </a:cubicBezTo>
                  <a:cubicBezTo>
                    <a:pt x="3375" y="468"/>
                    <a:pt x="3337" y="516"/>
                    <a:pt x="3266" y="516"/>
                  </a:cubicBezTo>
                  <a:cubicBezTo>
                    <a:pt x="3196" y="516"/>
                    <a:pt x="3143" y="470"/>
                    <a:pt x="3129" y="456"/>
                  </a:cubicBezTo>
                  <a:lnTo>
                    <a:pt x="3124" y="451"/>
                  </a:lnTo>
                  <a:lnTo>
                    <a:pt x="3082" y="489"/>
                  </a:lnTo>
                  <a:lnTo>
                    <a:pt x="3087" y="494"/>
                  </a:lnTo>
                  <a:cubicBezTo>
                    <a:pt x="3106" y="512"/>
                    <a:pt x="3173" y="572"/>
                    <a:pt x="3266" y="572"/>
                  </a:cubicBezTo>
                  <a:cubicBezTo>
                    <a:pt x="3369" y="572"/>
                    <a:pt x="3431" y="496"/>
                    <a:pt x="3431" y="422"/>
                  </a:cubicBezTo>
                  <a:cubicBezTo>
                    <a:pt x="3431" y="368"/>
                    <a:pt x="3398" y="320"/>
                    <a:pt x="3341" y="290"/>
                  </a:cubicBezTo>
                  <a:close/>
                  <a:moveTo>
                    <a:pt x="872" y="0"/>
                  </a:moveTo>
                  <a:lnTo>
                    <a:pt x="872" y="0"/>
                  </a:lnTo>
                  <a:cubicBezTo>
                    <a:pt x="715" y="0"/>
                    <a:pt x="586" y="129"/>
                    <a:pt x="586" y="287"/>
                  </a:cubicBezTo>
                  <a:cubicBezTo>
                    <a:pt x="586" y="445"/>
                    <a:pt x="715" y="573"/>
                    <a:pt x="872" y="573"/>
                  </a:cubicBezTo>
                  <a:cubicBezTo>
                    <a:pt x="1030" y="573"/>
                    <a:pt x="1159" y="445"/>
                    <a:pt x="1159" y="287"/>
                  </a:cubicBezTo>
                  <a:cubicBezTo>
                    <a:pt x="1159" y="129"/>
                    <a:pt x="1030" y="0"/>
                    <a:pt x="872" y="0"/>
                  </a:cubicBezTo>
                  <a:close/>
                  <a:moveTo>
                    <a:pt x="872" y="516"/>
                  </a:moveTo>
                  <a:lnTo>
                    <a:pt x="872" y="516"/>
                  </a:lnTo>
                  <a:cubicBezTo>
                    <a:pt x="746" y="516"/>
                    <a:pt x="642" y="413"/>
                    <a:pt x="642" y="286"/>
                  </a:cubicBezTo>
                  <a:cubicBezTo>
                    <a:pt x="642" y="159"/>
                    <a:pt x="746" y="56"/>
                    <a:pt x="872" y="56"/>
                  </a:cubicBezTo>
                  <a:cubicBezTo>
                    <a:pt x="999" y="56"/>
                    <a:pt x="1103" y="159"/>
                    <a:pt x="1103" y="286"/>
                  </a:cubicBezTo>
                  <a:cubicBezTo>
                    <a:pt x="1102" y="413"/>
                    <a:pt x="999" y="516"/>
                    <a:pt x="872" y="51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6">
              <a:extLst>
                <a:ext uri="{FF2B5EF4-FFF2-40B4-BE49-F238E27FC236}">
                  <a16:creationId xmlns:a16="http://schemas.microsoft.com/office/drawing/2014/main" id="{B585FD53-075D-443F-9893-5287600F67C9}"/>
                </a:ext>
              </a:extLst>
            </p:cNvPr>
            <p:cNvSpPr>
              <a:spLocks noEditPoints="1"/>
            </p:cNvSpPr>
            <p:nvPr userDrawn="1"/>
          </p:nvSpPr>
          <p:spPr bwMode="auto">
            <a:xfrm>
              <a:off x="1114" y="4035"/>
              <a:ext cx="763" cy="116"/>
            </a:xfrm>
            <a:custGeom>
              <a:avLst/>
              <a:gdLst>
                <a:gd name="T0" fmla="*/ 3647 w 3842"/>
                <a:gd name="T1" fmla="*/ 576 h 576"/>
                <a:gd name="T2" fmla="*/ 3634 w 3842"/>
                <a:gd name="T3" fmla="*/ 216 h 576"/>
                <a:gd name="T4" fmla="*/ 3742 w 3842"/>
                <a:gd name="T5" fmla="*/ 105 h 576"/>
                <a:gd name="T6" fmla="*/ 3789 w 3842"/>
                <a:gd name="T7" fmla="*/ 28 h 576"/>
                <a:gd name="T8" fmla="*/ 3606 w 3842"/>
                <a:gd name="T9" fmla="*/ 307 h 576"/>
                <a:gd name="T10" fmla="*/ 3656 w 3842"/>
                <a:gd name="T11" fmla="*/ 487 h 576"/>
                <a:gd name="T12" fmla="*/ 2997 w 3842"/>
                <a:gd name="T13" fmla="*/ 491 h 576"/>
                <a:gd name="T14" fmla="*/ 3376 w 3842"/>
                <a:gd name="T15" fmla="*/ 415 h 576"/>
                <a:gd name="T16" fmla="*/ 3116 w 3842"/>
                <a:gd name="T17" fmla="*/ 149 h 576"/>
                <a:gd name="T18" fmla="*/ 3314 w 3842"/>
                <a:gd name="T19" fmla="*/ 116 h 576"/>
                <a:gd name="T20" fmla="*/ 3197 w 3842"/>
                <a:gd name="T21" fmla="*/ 0 h 576"/>
                <a:gd name="T22" fmla="*/ 3217 w 3842"/>
                <a:gd name="T23" fmla="*/ 343 h 576"/>
                <a:gd name="T24" fmla="*/ 3065 w 3842"/>
                <a:gd name="T25" fmla="*/ 428 h 576"/>
                <a:gd name="T26" fmla="*/ 1117 w 3842"/>
                <a:gd name="T27" fmla="*/ 491 h 576"/>
                <a:gd name="T28" fmla="*/ 1381 w 3842"/>
                <a:gd name="T29" fmla="*/ 261 h 576"/>
                <a:gd name="T30" fmla="*/ 1321 w 3842"/>
                <a:gd name="T31" fmla="*/ 87 h 576"/>
                <a:gd name="T32" fmla="*/ 1476 w 3842"/>
                <a:gd name="T33" fmla="*/ 72 h 576"/>
                <a:gd name="T34" fmla="*/ 1140 w 3842"/>
                <a:gd name="T35" fmla="*/ 153 h 576"/>
                <a:gd name="T36" fmla="*/ 1400 w 3842"/>
                <a:gd name="T37" fmla="*/ 417 h 576"/>
                <a:gd name="T38" fmla="*/ 1117 w 3842"/>
                <a:gd name="T39" fmla="*/ 491 h 576"/>
                <a:gd name="T40" fmla="*/ 1903 w 3842"/>
                <a:gd name="T41" fmla="*/ 43 h 576"/>
                <a:gd name="T42" fmla="*/ 1994 w 3842"/>
                <a:gd name="T43" fmla="*/ 531 h 576"/>
                <a:gd name="T44" fmla="*/ 2328 w 3842"/>
                <a:gd name="T45" fmla="*/ 576 h 576"/>
                <a:gd name="T46" fmla="*/ 2282 w 3842"/>
                <a:gd name="T47" fmla="*/ 3 h 576"/>
                <a:gd name="T48" fmla="*/ 1949 w 3842"/>
                <a:gd name="T49" fmla="*/ 0 h 576"/>
                <a:gd name="T50" fmla="*/ 426 w 3842"/>
                <a:gd name="T51" fmla="*/ 402 h 576"/>
                <a:gd name="T52" fmla="*/ 0 w 3842"/>
                <a:gd name="T53" fmla="*/ 47 h 576"/>
                <a:gd name="T54" fmla="*/ 399 w 3842"/>
                <a:gd name="T55" fmla="*/ 147 h 576"/>
                <a:gd name="T56" fmla="*/ 91 w 3842"/>
                <a:gd name="T57" fmla="*/ 230 h 576"/>
                <a:gd name="T58" fmla="*/ 229 w 3842"/>
                <a:gd name="T59" fmla="*/ 92 h 576"/>
                <a:gd name="T60" fmla="*/ 235 w 3842"/>
                <a:gd name="T61" fmla="*/ 484 h 576"/>
                <a:gd name="T62" fmla="*/ 235 w 3842"/>
                <a:gd name="T63" fmla="*/ 314 h 576"/>
                <a:gd name="T64" fmla="*/ 235 w 3842"/>
                <a:gd name="T65" fmla="*/ 484 h 576"/>
                <a:gd name="T66" fmla="*/ 2906 w 3842"/>
                <a:gd name="T67" fmla="*/ 48 h 576"/>
                <a:gd name="T68" fmla="*/ 2532 w 3842"/>
                <a:gd name="T69" fmla="*/ 48 h 576"/>
                <a:gd name="T70" fmla="*/ 2903 w 3842"/>
                <a:gd name="T71" fmla="*/ 573 h 576"/>
                <a:gd name="T72" fmla="*/ 2624 w 3842"/>
                <a:gd name="T73" fmla="*/ 318 h 576"/>
                <a:gd name="T74" fmla="*/ 2834 w 3842"/>
                <a:gd name="T75" fmla="*/ 229 h 576"/>
                <a:gd name="T76" fmla="*/ 2858 w 3842"/>
                <a:gd name="T77" fmla="*/ 92 h 576"/>
                <a:gd name="T78" fmla="*/ 634 w 3842"/>
                <a:gd name="T79" fmla="*/ 44 h 576"/>
                <a:gd name="T80" fmla="*/ 542 w 3842"/>
                <a:gd name="T81" fmla="*/ 343 h 576"/>
                <a:gd name="T82" fmla="*/ 1010 w 3842"/>
                <a:gd name="T83" fmla="*/ 2 h 576"/>
                <a:gd name="T84" fmla="*/ 776 w 3842"/>
                <a:gd name="T85" fmla="*/ 488 h 576"/>
                <a:gd name="T86" fmla="*/ 1676 w 3842"/>
                <a:gd name="T87" fmla="*/ 0 h 576"/>
                <a:gd name="T88" fmla="*/ 1630 w 3842"/>
                <a:gd name="T89" fmla="*/ 572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842" h="576">
                  <a:moveTo>
                    <a:pt x="3464" y="491"/>
                  </a:moveTo>
                  <a:lnTo>
                    <a:pt x="3464" y="491"/>
                  </a:lnTo>
                  <a:cubicBezTo>
                    <a:pt x="3475" y="506"/>
                    <a:pt x="3529" y="576"/>
                    <a:pt x="3647" y="576"/>
                  </a:cubicBezTo>
                  <a:cubicBezTo>
                    <a:pt x="3763" y="576"/>
                    <a:pt x="3842" y="509"/>
                    <a:pt x="3842" y="415"/>
                  </a:cubicBezTo>
                  <a:cubicBezTo>
                    <a:pt x="3842" y="354"/>
                    <a:pt x="3818" y="305"/>
                    <a:pt x="3727" y="261"/>
                  </a:cubicBezTo>
                  <a:cubicBezTo>
                    <a:pt x="3703" y="249"/>
                    <a:pt x="3634" y="216"/>
                    <a:pt x="3634" y="216"/>
                  </a:cubicBezTo>
                  <a:cubicBezTo>
                    <a:pt x="3599" y="199"/>
                    <a:pt x="3583" y="178"/>
                    <a:pt x="3583" y="149"/>
                  </a:cubicBezTo>
                  <a:cubicBezTo>
                    <a:pt x="3583" y="120"/>
                    <a:pt x="3607" y="87"/>
                    <a:pt x="3667" y="87"/>
                  </a:cubicBezTo>
                  <a:cubicBezTo>
                    <a:pt x="3701" y="87"/>
                    <a:pt x="3727" y="98"/>
                    <a:pt x="3742" y="105"/>
                  </a:cubicBezTo>
                  <a:cubicBezTo>
                    <a:pt x="3748" y="108"/>
                    <a:pt x="3764" y="116"/>
                    <a:pt x="3780" y="116"/>
                  </a:cubicBezTo>
                  <a:cubicBezTo>
                    <a:pt x="3800" y="116"/>
                    <a:pt x="3822" y="102"/>
                    <a:pt x="3822" y="72"/>
                  </a:cubicBezTo>
                  <a:cubicBezTo>
                    <a:pt x="3822" y="48"/>
                    <a:pt x="3804" y="35"/>
                    <a:pt x="3789" y="28"/>
                  </a:cubicBezTo>
                  <a:cubicBezTo>
                    <a:pt x="3764" y="16"/>
                    <a:pt x="3726" y="0"/>
                    <a:pt x="3662" y="0"/>
                  </a:cubicBezTo>
                  <a:cubicBezTo>
                    <a:pt x="3561" y="0"/>
                    <a:pt x="3486" y="63"/>
                    <a:pt x="3486" y="153"/>
                  </a:cubicBezTo>
                  <a:cubicBezTo>
                    <a:pt x="3486" y="234"/>
                    <a:pt x="3540" y="275"/>
                    <a:pt x="3606" y="307"/>
                  </a:cubicBezTo>
                  <a:cubicBezTo>
                    <a:pt x="3619" y="312"/>
                    <a:pt x="3668" y="336"/>
                    <a:pt x="3681" y="343"/>
                  </a:cubicBezTo>
                  <a:cubicBezTo>
                    <a:pt x="3724" y="363"/>
                    <a:pt x="3746" y="382"/>
                    <a:pt x="3746" y="417"/>
                  </a:cubicBezTo>
                  <a:cubicBezTo>
                    <a:pt x="3746" y="455"/>
                    <a:pt x="3710" y="487"/>
                    <a:pt x="3656" y="487"/>
                  </a:cubicBezTo>
                  <a:cubicBezTo>
                    <a:pt x="3579" y="487"/>
                    <a:pt x="3538" y="436"/>
                    <a:pt x="3531" y="428"/>
                  </a:cubicBezTo>
                  <a:lnTo>
                    <a:pt x="3464" y="491"/>
                  </a:lnTo>
                  <a:close/>
                  <a:moveTo>
                    <a:pt x="2997" y="491"/>
                  </a:moveTo>
                  <a:lnTo>
                    <a:pt x="2997" y="491"/>
                  </a:lnTo>
                  <a:cubicBezTo>
                    <a:pt x="3009" y="506"/>
                    <a:pt x="3063" y="576"/>
                    <a:pt x="3182" y="576"/>
                  </a:cubicBezTo>
                  <a:cubicBezTo>
                    <a:pt x="3297" y="576"/>
                    <a:pt x="3376" y="509"/>
                    <a:pt x="3376" y="415"/>
                  </a:cubicBezTo>
                  <a:cubicBezTo>
                    <a:pt x="3376" y="354"/>
                    <a:pt x="3352" y="305"/>
                    <a:pt x="3261" y="261"/>
                  </a:cubicBezTo>
                  <a:cubicBezTo>
                    <a:pt x="3237" y="249"/>
                    <a:pt x="3169" y="216"/>
                    <a:pt x="3169" y="216"/>
                  </a:cubicBezTo>
                  <a:cubicBezTo>
                    <a:pt x="3133" y="199"/>
                    <a:pt x="3116" y="178"/>
                    <a:pt x="3116" y="149"/>
                  </a:cubicBezTo>
                  <a:cubicBezTo>
                    <a:pt x="3116" y="120"/>
                    <a:pt x="3141" y="87"/>
                    <a:pt x="3201" y="87"/>
                  </a:cubicBezTo>
                  <a:cubicBezTo>
                    <a:pt x="3235" y="87"/>
                    <a:pt x="3261" y="98"/>
                    <a:pt x="3275" y="105"/>
                  </a:cubicBezTo>
                  <a:cubicBezTo>
                    <a:pt x="3283" y="108"/>
                    <a:pt x="3299" y="116"/>
                    <a:pt x="3314" y="116"/>
                  </a:cubicBezTo>
                  <a:cubicBezTo>
                    <a:pt x="3334" y="116"/>
                    <a:pt x="3356" y="102"/>
                    <a:pt x="3356" y="72"/>
                  </a:cubicBezTo>
                  <a:cubicBezTo>
                    <a:pt x="3356" y="48"/>
                    <a:pt x="3339" y="35"/>
                    <a:pt x="3323" y="28"/>
                  </a:cubicBezTo>
                  <a:cubicBezTo>
                    <a:pt x="3299" y="16"/>
                    <a:pt x="3260" y="0"/>
                    <a:pt x="3197" y="0"/>
                  </a:cubicBezTo>
                  <a:cubicBezTo>
                    <a:pt x="3095" y="0"/>
                    <a:pt x="3020" y="63"/>
                    <a:pt x="3020" y="153"/>
                  </a:cubicBezTo>
                  <a:cubicBezTo>
                    <a:pt x="3020" y="234"/>
                    <a:pt x="3075" y="275"/>
                    <a:pt x="3141" y="307"/>
                  </a:cubicBezTo>
                  <a:cubicBezTo>
                    <a:pt x="3154" y="312"/>
                    <a:pt x="3203" y="336"/>
                    <a:pt x="3217" y="343"/>
                  </a:cubicBezTo>
                  <a:cubicBezTo>
                    <a:pt x="3258" y="363"/>
                    <a:pt x="3280" y="382"/>
                    <a:pt x="3280" y="417"/>
                  </a:cubicBezTo>
                  <a:cubicBezTo>
                    <a:pt x="3280" y="455"/>
                    <a:pt x="3244" y="487"/>
                    <a:pt x="3191" y="487"/>
                  </a:cubicBezTo>
                  <a:cubicBezTo>
                    <a:pt x="3113" y="487"/>
                    <a:pt x="3072" y="436"/>
                    <a:pt x="3065" y="428"/>
                  </a:cubicBezTo>
                  <a:lnTo>
                    <a:pt x="2997" y="491"/>
                  </a:lnTo>
                  <a:close/>
                  <a:moveTo>
                    <a:pt x="1117" y="491"/>
                  </a:moveTo>
                  <a:lnTo>
                    <a:pt x="1117" y="491"/>
                  </a:lnTo>
                  <a:cubicBezTo>
                    <a:pt x="1129" y="506"/>
                    <a:pt x="1182" y="576"/>
                    <a:pt x="1301" y="576"/>
                  </a:cubicBezTo>
                  <a:cubicBezTo>
                    <a:pt x="1417" y="576"/>
                    <a:pt x="1496" y="509"/>
                    <a:pt x="1496" y="415"/>
                  </a:cubicBezTo>
                  <a:cubicBezTo>
                    <a:pt x="1496" y="354"/>
                    <a:pt x="1472" y="305"/>
                    <a:pt x="1381" y="261"/>
                  </a:cubicBezTo>
                  <a:cubicBezTo>
                    <a:pt x="1356" y="249"/>
                    <a:pt x="1288" y="216"/>
                    <a:pt x="1288" y="216"/>
                  </a:cubicBezTo>
                  <a:cubicBezTo>
                    <a:pt x="1252" y="199"/>
                    <a:pt x="1236" y="178"/>
                    <a:pt x="1236" y="149"/>
                  </a:cubicBezTo>
                  <a:cubicBezTo>
                    <a:pt x="1236" y="120"/>
                    <a:pt x="1261" y="87"/>
                    <a:pt x="1321" y="87"/>
                  </a:cubicBezTo>
                  <a:cubicBezTo>
                    <a:pt x="1355" y="87"/>
                    <a:pt x="1381" y="98"/>
                    <a:pt x="1395" y="105"/>
                  </a:cubicBezTo>
                  <a:cubicBezTo>
                    <a:pt x="1402" y="108"/>
                    <a:pt x="1418" y="116"/>
                    <a:pt x="1434" y="116"/>
                  </a:cubicBezTo>
                  <a:cubicBezTo>
                    <a:pt x="1454" y="116"/>
                    <a:pt x="1476" y="102"/>
                    <a:pt x="1476" y="72"/>
                  </a:cubicBezTo>
                  <a:cubicBezTo>
                    <a:pt x="1476" y="48"/>
                    <a:pt x="1458" y="35"/>
                    <a:pt x="1443" y="28"/>
                  </a:cubicBezTo>
                  <a:cubicBezTo>
                    <a:pt x="1418" y="16"/>
                    <a:pt x="1380" y="0"/>
                    <a:pt x="1316" y="0"/>
                  </a:cubicBezTo>
                  <a:cubicBezTo>
                    <a:pt x="1215" y="0"/>
                    <a:pt x="1140" y="63"/>
                    <a:pt x="1140" y="153"/>
                  </a:cubicBezTo>
                  <a:cubicBezTo>
                    <a:pt x="1140" y="234"/>
                    <a:pt x="1195" y="275"/>
                    <a:pt x="1261" y="307"/>
                  </a:cubicBezTo>
                  <a:cubicBezTo>
                    <a:pt x="1273" y="312"/>
                    <a:pt x="1322" y="336"/>
                    <a:pt x="1336" y="343"/>
                  </a:cubicBezTo>
                  <a:cubicBezTo>
                    <a:pt x="1378" y="363"/>
                    <a:pt x="1400" y="382"/>
                    <a:pt x="1400" y="417"/>
                  </a:cubicBezTo>
                  <a:cubicBezTo>
                    <a:pt x="1400" y="455"/>
                    <a:pt x="1364" y="487"/>
                    <a:pt x="1310" y="487"/>
                  </a:cubicBezTo>
                  <a:cubicBezTo>
                    <a:pt x="1233" y="487"/>
                    <a:pt x="1192" y="436"/>
                    <a:pt x="1185" y="428"/>
                  </a:cubicBezTo>
                  <a:lnTo>
                    <a:pt x="1117" y="491"/>
                  </a:lnTo>
                  <a:close/>
                  <a:moveTo>
                    <a:pt x="1949" y="0"/>
                  </a:moveTo>
                  <a:lnTo>
                    <a:pt x="1949" y="0"/>
                  </a:lnTo>
                  <a:cubicBezTo>
                    <a:pt x="1921" y="0"/>
                    <a:pt x="1903" y="19"/>
                    <a:pt x="1903" y="43"/>
                  </a:cubicBezTo>
                  <a:lnTo>
                    <a:pt x="1903" y="531"/>
                  </a:lnTo>
                  <a:cubicBezTo>
                    <a:pt x="1903" y="555"/>
                    <a:pt x="1924" y="575"/>
                    <a:pt x="1949" y="575"/>
                  </a:cubicBezTo>
                  <a:cubicBezTo>
                    <a:pt x="1972" y="575"/>
                    <a:pt x="1994" y="555"/>
                    <a:pt x="1994" y="531"/>
                  </a:cubicBezTo>
                  <a:lnTo>
                    <a:pt x="1994" y="179"/>
                  </a:lnTo>
                  <a:cubicBezTo>
                    <a:pt x="1994" y="179"/>
                    <a:pt x="2218" y="465"/>
                    <a:pt x="2276" y="541"/>
                  </a:cubicBezTo>
                  <a:cubicBezTo>
                    <a:pt x="2291" y="559"/>
                    <a:pt x="2302" y="576"/>
                    <a:pt x="2328" y="576"/>
                  </a:cubicBezTo>
                  <a:cubicBezTo>
                    <a:pt x="2355" y="576"/>
                    <a:pt x="2373" y="556"/>
                    <a:pt x="2373" y="532"/>
                  </a:cubicBezTo>
                  <a:lnTo>
                    <a:pt x="2373" y="3"/>
                  </a:lnTo>
                  <a:lnTo>
                    <a:pt x="2282" y="3"/>
                  </a:lnTo>
                  <a:lnTo>
                    <a:pt x="2282" y="398"/>
                  </a:lnTo>
                  <a:cubicBezTo>
                    <a:pt x="2282" y="398"/>
                    <a:pt x="2033" y="78"/>
                    <a:pt x="1998" y="34"/>
                  </a:cubicBezTo>
                  <a:cubicBezTo>
                    <a:pt x="1982" y="13"/>
                    <a:pt x="1970" y="0"/>
                    <a:pt x="1949" y="0"/>
                  </a:cubicBezTo>
                  <a:close/>
                  <a:moveTo>
                    <a:pt x="342" y="264"/>
                  </a:moveTo>
                  <a:lnTo>
                    <a:pt x="342" y="264"/>
                  </a:lnTo>
                  <a:cubicBezTo>
                    <a:pt x="358" y="272"/>
                    <a:pt x="426" y="301"/>
                    <a:pt x="426" y="402"/>
                  </a:cubicBezTo>
                  <a:cubicBezTo>
                    <a:pt x="426" y="497"/>
                    <a:pt x="355" y="572"/>
                    <a:pt x="252" y="572"/>
                  </a:cubicBezTo>
                  <a:lnTo>
                    <a:pt x="0" y="572"/>
                  </a:lnTo>
                  <a:lnTo>
                    <a:pt x="0" y="47"/>
                  </a:lnTo>
                  <a:cubicBezTo>
                    <a:pt x="0" y="20"/>
                    <a:pt x="18" y="2"/>
                    <a:pt x="44" y="2"/>
                  </a:cubicBezTo>
                  <a:lnTo>
                    <a:pt x="241" y="2"/>
                  </a:lnTo>
                  <a:cubicBezTo>
                    <a:pt x="336" y="2"/>
                    <a:pt x="399" y="59"/>
                    <a:pt x="399" y="147"/>
                  </a:cubicBezTo>
                  <a:cubicBezTo>
                    <a:pt x="399" y="221"/>
                    <a:pt x="357" y="254"/>
                    <a:pt x="342" y="264"/>
                  </a:cubicBezTo>
                  <a:close/>
                  <a:moveTo>
                    <a:pt x="91" y="230"/>
                  </a:moveTo>
                  <a:lnTo>
                    <a:pt x="91" y="230"/>
                  </a:lnTo>
                  <a:lnTo>
                    <a:pt x="229" y="230"/>
                  </a:lnTo>
                  <a:cubicBezTo>
                    <a:pt x="278" y="230"/>
                    <a:pt x="306" y="199"/>
                    <a:pt x="306" y="161"/>
                  </a:cubicBezTo>
                  <a:cubicBezTo>
                    <a:pt x="306" y="123"/>
                    <a:pt x="281" y="92"/>
                    <a:pt x="229" y="92"/>
                  </a:cubicBezTo>
                  <a:lnTo>
                    <a:pt x="91" y="92"/>
                  </a:lnTo>
                  <a:lnTo>
                    <a:pt x="91" y="230"/>
                  </a:lnTo>
                  <a:close/>
                  <a:moveTo>
                    <a:pt x="235" y="484"/>
                  </a:moveTo>
                  <a:lnTo>
                    <a:pt x="235" y="484"/>
                  </a:lnTo>
                  <a:cubicBezTo>
                    <a:pt x="300" y="484"/>
                    <a:pt x="333" y="446"/>
                    <a:pt x="333" y="400"/>
                  </a:cubicBezTo>
                  <a:cubicBezTo>
                    <a:pt x="333" y="352"/>
                    <a:pt x="301" y="314"/>
                    <a:pt x="235" y="314"/>
                  </a:cubicBezTo>
                  <a:lnTo>
                    <a:pt x="91" y="314"/>
                  </a:lnTo>
                  <a:lnTo>
                    <a:pt x="91" y="484"/>
                  </a:lnTo>
                  <a:lnTo>
                    <a:pt x="235" y="484"/>
                  </a:lnTo>
                  <a:close/>
                  <a:moveTo>
                    <a:pt x="2858" y="92"/>
                  </a:moveTo>
                  <a:lnTo>
                    <a:pt x="2858" y="92"/>
                  </a:lnTo>
                  <a:cubicBezTo>
                    <a:pt x="2888" y="92"/>
                    <a:pt x="2906" y="73"/>
                    <a:pt x="2906" y="48"/>
                  </a:cubicBezTo>
                  <a:cubicBezTo>
                    <a:pt x="2906" y="23"/>
                    <a:pt x="2887" y="3"/>
                    <a:pt x="2858" y="3"/>
                  </a:cubicBezTo>
                  <a:lnTo>
                    <a:pt x="2576" y="3"/>
                  </a:lnTo>
                  <a:cubicBezTo>
                    <a:pt x="2551" y="3"/>
                    <a:pt x="2532" y="22"/>
                    <a:pt x="2532" y="48"/>
                  </a:cubicBezTo>
                  <a:lnTo>
                    <a:pt x="2532" y="529"/>
                  </a:lnTo>
                  <a:cubicBezTo>
                    <a:pt x="2532" y="554"/>
                    <a:pt x="2551" y="573"/>
                    <a:pt x="2576" y="573"/>
                  </a:cubicBezTo>
                  <a:lnTo>
                    <a:pt x="2903" y="573"/>
                  </a:lnTo>
                  <a:lnTo>
                    <a:pt x="2903" y="484"/>
                  </a:lnTo>
                  <a:lnTo>
                    <a:pt x="2624" y="484"/>
                  </a:lnTo>
                  <a:lnTo>
                    <a:pt x="2624" y="318"/>
                  </a:lnTo>
                  <a:lnTo>
                    <a:pt x="2834" y="318"/>
                  </a:lnTo>
                  <a:cubicBezTo>
                    <a:pt x="2866" y="318"/>
                    <a:pt x="2884" y="299"/>
                    <a:pt x="2884" y="274"/>
                  </a:cubicBezTo>
                  <a:cubicBezTo>
                    <a:pt x="2884" y="248"/>
                    <a:pt x="2867" y="229"/>
                    <a:pt x="2834" y="229"/>
                  </a:cubicBezTo>
                  <a:lnTo>
                    <a:pt x="2624" y="229"/>
                  </a:lnTo>
                  <a:lnTo>
                    <a:pt x="2624" y="92"/>
                  </a:lnTo>
                  <a:lnTo>
                    <a:pt x="2858" y="92"/>
                  </a:lnTo>
                  <a:close/>
                  <a:moveTo>
                    <a:pt x="634" y="346"/>
                  </a:moveTo>
                  <a:lnTo>
                    <a:pt x="634" y="346"/>
                  </a:lnTo>
                  <a:lnTo>
                    <a:pt x="634" y="44"/>
                  </a:lnTo>
                  <a:cubicBezTo>
                    <a:pt x="634" y="19"/>
                    <a:pt x="616" y="0"/>
                    <a:pt x="588" y="0"/>
                  </a:cubicBezTo>
                  <a:cubicBezTo>
                    <a:pt x="560" y="0"/>
                    <a:pt x="542" y="19"/>
                    <a:pt x="542" y="44"/>
                  </a:cubicBezTo>
                  <a:lnTo>
                    <a:pt x="542" y="343"/>
                  </a:lnTo>
                  <a:cubicBezTo>
                    <a:pt x="542" y="471"/>
                    <a:pt x="632" y="575"/>
                    <a:pt x="776" y="575"/>
                  </a:cubicBezTo>
                  <a:cubicBezTo>
                    <a:pt x="920" y="575"/>
                    <a:pt x="1010" y="471"/>
                    <a:pt x="1010" y="343"/>
                  </a:cubicBezTo>
                  <a:lnTo>
                    <a:pt x="1010" y="2"/>
                  </a:lnTo>
                  <a:lnTo>
                    <a:pt x="918" y="2"/>
                  </a:lnTo>
                  <a:lnTo>
                    <a:pt x="918" y="345"/>
                  </a:lnTo>
                  <a:cubicBezTo>
                    <a:pt x="918" y="421"/>
                    <a:pt x="867" y="488"/>
                    <a:pt x="776" y="488"/>
                  </a:cubicBezTo>
                  <a:cubicBezTo>
                    <a:pt x="684" y="489"/>
                    <a:pt x="634" y="422"/>
                    <a:pt x="634" y="346"/>
                  </a:cubicBezTo>
                  <a:close/>
                  <a:moveTo>
                    <a:pt x="1676" y="0"/>
                  </a:moveTo>
                  <a:lnTo>
                    <a:pt x="1676" y="0"/>
                  </a:lnTo>
                  <a:cubicBezTo>
                    <a:pt x="1704" y="0"/>
                    <a:pt x="1722" y="19"/>
                    <a:pt x="1722" y="44"/>
                  </a:cubicBezTo>
                  <a:lnTo>
                    <a:pt x="1722" y="572"/>
                  </a:lnTo>
                  <a:lnTo>
                    <a:pt x="1630" y="572"/>
                  </a:lnTo>
                  <a:lnTo>
                    <a:pt x="1630" y="44"/>
                  </a:lnTo>
                  <a:cubicBezTo>
                    <a:pt x="1630" y="19"/>
                    <a:pt x="1647" y="0"/>
                    <a:pt x="167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4248419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mp; Content, Sidebar L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8194D4-3A07-4F1A-882C-C717883D954E}"/>
              </a:ext>
            </a:extLst>
          </p:cNvPr>
          <p:cNvSpPr>
            <a:spLocks noGrp="1"/>
          </p:cNvSpPr>
          <p:nvPr>
            <p:ph type="title" hasCustomPrompt="1"/>
          </p:nvPr>
        </p:nvSpPr>
        <p:spPr>
          <a:xfrm>
            <a:off x="429488" y="685800"/>
            <a:ext cx="11305313" cy="822960"/>
          </a:xfrm>
        </p:spPr>
        <p:txBody>
          <a:bodyPr/>
          <a:lstStyle>
            <a:lvl1pPr>
              <a:defRPr/>
            </a:lvl1pPr>
          </a:lstStyle>
          <a:p>
            <a:r>
              <a:rPr lang="en-US"/>
              <a:t>Slide title, 32pt </a:t>
            </a:r>
            <a:r>
              <a:rPr lang="en-GB"/>
              <a:t>Regular</a:t>
            </a:r>
            <a:endParaRPr lang="en-US"/>
          </a:p>
        </p:txBody>
      </p:sp>
      <p:sp>
        <p:nvSpPr>
          <p:cNvPr id="3" name="Content Placeholder 2">
            <a:extLst>
              <a:ext uri="{FF2B5EF4-FFF2-40B4-BE49-F238E27FC236}">
                <a16:creationId xmlns:a16="http://schemas.microsoft.com/office/drawing/2014/main" id="{4A3FEAB6-B0ED-45C1-BC37-9D92F6B30BE6}"/>
              </a:ext>
            </a:extLst>
          </p:cNvPr>
          <p:cNvSpPr>
            <a:spLocks noGrp="1"/>
          </p:cNvSpPr>
          <p:nvPr>
            <p:ph sz="half" idx="1" hasCustomPrompt="1"/>
          </p:nvPr>
        </p:nvSpPr>
        <p:spPr>
          <a:xfrm>
            <a:off x="445206" y="1700784"/>
            <a:ext cx="2578101" cy="4611116"/>
          </a:xfrm>
        </p:spPr>
        <p:txBody>
          <a:bodyPr/>
          <a:lstStyle>
            <a:lvl1pPr marL="0" indent="0">
              <a:lnSpc>
                <a:spcPct val="100000"/>
              </a:lnSpc>
              <a:buNone/>
              <a:defRPr sz="1400"/>
            </a:lvl1pPr>
          </a:lstStyle>
          <a:p>
            <a:pPr lvl="0"/>
            <a:r>
              <a:rPr lang="en-US"/>
              <a:t>Sidebar text, single level, 14pt Regular</a:t>
            </a:r>
          </a:p>
        </p:txBody>
      </p:sp>
      <p:sp>
        <p:nvSpPr>
          <p:cNvPr id="4" name="Content Placeholder 3">
            <a:extLst>
              <a:ext uri="{FF2B5EF4-FFF2-40B4-BE49-F238E27FC236}">
                <a16:creationId xmlns:a16="http://schemas.microsoft.com/office/drawing/2014/main" id="{1582D711-78AA-40DF-9ED8-0A7123D2D990}"/>
              </a:ext>
            </a:extLst>
          </p:cNvPr>
          <p:cNvSpPr>
            <a:spLocks noGrp="1"/>
          </p:cNvSpPr>
          <p:nvPr>
            <p:ph sz="half" idx="2" hasCustomPrompt="1"/>
          </p:nvPr>
        </p:nvSpPr>
        <p:spPr>
          <a:xfrm>
            <a:off x="3355974" y="1645920"/>
            <a:ext cx="8375775" cy="4663440"/>
          </a:xfrm>
        </p:spPr>
        <p:txBody>
          <a:bodyPr/>
          <a:lstStyle>
            <a:lvl1pPr>
              <a:defRPr/>
            </a:lvl1pPr>
          </a:lstStyle>
          <a:p>
            <a:pPr lvl="0"/>
            <a:r>
              <a:rPr lang="en-US"/>
              <a:t>First level, 20pt Regular</a:t>
            </a:r>
          </a:p>
          <a:p>
            <a:pPr lvl="1"/>
            <a:r>
              <a:rPr lang="en-US"/>
              <a:t>Second level, 18pt</a:t>
            </a:r>
          </a:p>
          <a:p>
            <a:pPr lvl="2"/>
            <a:r>
              <a:rPr lang="en-US"/>
              <a:t>Third level, 16pt</a:t>
            </a:r>
          </a:p>
          <a:p>
            <a:pPr lvl="3"/>
            <a:r>
              <a:rPr lang="en-US"/>
              <a:t>Fourth level, 14pt</a:t>
            </a:r>
          </a:p>
          <a:p>
            <a:pPr lvl="4"/>
            <a:r>
              <a:rPr lang="en-US"/>
              <a:t>Fifth level, 12pt Bold, use for captions</a:t>
            </a:r>
          </a:p>
        </p:txBody>
      </p:sp>
      <p:sp>
        <p:nvSpPr>
          <p:cNvPr id="6" name="Footer Placeholder 5">
            <a:extLst>
              <a:ext uri="{FF2B5EF4-FFF2-40B4-BE49-F238E27FC236}">
                <a16:creationId xmlns:a16="http://schemas.microsoft.com/office/drawing/2014/main" id="{6666C29D-03F7-467C-85B3-28F7651F8315}"/>
              </a:ext>
            </a:extLst>
          </p:cNvPr>
          <p:cNvSpPr>
            <a:spLocks noGrp="1"/>
          </p:cNvSpPr>
          <p:nvPr>
            <p:ph type="ftr" sz="quarter" idx="11"/>
          </p:nvPr>
        </p:nvSpPr>
        <p:spPr/>
        <p:txBody>
          <a:bodyPr/>
          <a:lstStyle/>
          <a:p>
            <a:r>
              <a:rPr lang="en-US"/>
              <a:t>Copyright © 2021 Comcast Business. All rights reserved.</a:t>
            </a:r>
          </a:p>
        </p:txBody>
      </p:sp>
      <p:sp>
        <p:nvSpPr>
          <p:cNvPr id="7" name="Slide Number Placeholder 6">
            <a:extLst>
              <a:ext uri="{FF2B5EF4-FFF2-40B4-BE49-F238E27FC236}">
                <a16:creationId xmlns:a16="http://schemas.microsoft.com/office/drawing/2014/main" id="{51B86CBB-8A54-4818-8CC6-A9598ED3AFFA}"/>
              </a:ext>
            </a:extLst>
          </p:cNvPr>
          <p:cNvSpPr>
            <a:spLocks noGrp="1"/>
          </p:cNvSpPr>
          <p:nvPr>
            <p:ph type="sldNum" sz="quarter" idx="12"/>
          </p:nvPr>
        </p:nvSpPr>
        <p:spPr/>
        <p:txBody>
          <a:bodyPr/>
          <a:lstStyle/>
          <a:p>
            <a:fld id="{A07A7439-3E0E-4A6B-9524-3A8EBA819993}" type="slidenum">
              <a:rPr lang="en-US" smtClean="0"/>
              <a:t>‹#›</a:t>
            </a:fld>
            <a:endParaRPr lang="en-US"/>
          </a:p>
        </p:txBody>
      </p:sp>
      <p:sp>
        <p:nvSpPr>
          <p:cNvPr id="8" name="Text Placeholder 8">
            <a:extLst>
              <a:ext uri="{FF2B5EF4-FFF2-40B4-BE49-F238E27FC236}">
                <a16:creationId xmlns:a16="http://schemas.microsoft.com/office/drawing/2014/main" id="{8B5834C2-EC15-4C18-9DD5-8225C1A35858}"/>
              </a:ext>
            </a:extLst>
          </p:cNvPr>
          <p:cNvSpPr>
            <a:spLocks noGrp="1"/>
          </p:cNvSpPr>
          <p:nvPr>
            <p:ph type="body" sz="quarter" idx="13" hasCustomPrompt="1"/>
          </p:nvPr>
        </p:nvSpPr>
        <p:spPr>
          <a:xfrm>
            <a:off x="457200" y="411480"/>
            <a:ext cx="6400800" cy="182880"/>
          </a:xfrm>
        </p:spPr>
        <p:txBody>
          <a:bodyPr/>
          <a:lstStyle>
            <a:lvl1pPr marL="0" indent="0">
              <a:buNone/>
              <a:defRPr sz="1200">
                <a:solidFill>
                  <a:schemeClr val="accent1"/>
                </a:solidFill>
              </a:defRPr>
            </a:lvl1pPr>
            <a:lvl2pPr marL="228600" indent="0">
              <a:buNone/>
              <a:defRPr/>
            </a:lvl2pPr>
          </a:lstStyle>
          <a:p>
            <a:pPr lvl="0"/>
            <a:r>
              <a:rPr lang="en-US"/>
              <a:t>Optional subtitle, 12pt Regular</a:t>
            </a:r>
          </a:p>
        </p:txBody>
      </p:sp>
    </p:spTree>
    <p:extLst>
      <p:ext uri="{BB962C8B-B14F-4D97-AF65-F5344CB8AC3E}">
        <p14:creationId xmlns:p14="http://schemas.microsoft.com/office/powerpoint/2010/main" val="101396302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mp; Content, Sidebar 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8194D4-3A07-4F1A-882C-C717883D954E}"/>
              </a:ext>
            </a:extLst>
          </p:cNvPr>
          <p:cNvSpPr>
            <a:spLocks noGrp="1"/>
          </p:cNvSpPr>
          <p:nvPr>
            <p:ph type="title" hasCustomPrompt="1"/>
          </p:nvPr>
        </p:nvSpPr>
        <p:spPr>
          <a:xfrm>
            <a:off x="429488" y="685800"/>
            <a:ext cx="11305313" cy="822960"/>
          </a:xfrm>
        </p:spPr>
        <p:txBody>
          <a:bodyPr/>
          <a:lstStyle>
            <a:lvl1pPr>
              <a:defRPr/>
            </a:lvl1pPr>
          </a:lstStyle>
          <a:p>
            <a:r>
              <a:rPr lang="en-US"/>
              <a:t>Slide title, 32pt </a:t>
            </a:r>
            <a:r>
              <a:rPr lang="en-GB"/>
              <a:t>Regular</a:t>
            </a:r>
            <a:endParaRPr lang="en-US"/>
          </a:p>
        </p:txBody>
      </p:sp>
      <p:sp>
        <p:nvSpPr>
          <p:cNvPr id="3" name="Content Placeholder 2">
            <a:extLst>
              <a:ext uri="{FF2B5EF4-FFF2-40B4-BE49-F238E27FC236}">
                <a16:creationId xmlns:a16="http://schemas.microsoft.com/office/drawing/2014/main" id="{4A3FEAB6-B0ED-45C1-BC37-9D92F6B30BE6}"/>
              </a:ext>
            </a:extLst>
          </p:cNvPr>
          <p:cNvSpPr>
            <a:spLocks noGrp="1"/>
          </p:cNvSpPr>
          <p:nvPr>
            <p:ph sz="half" idx="1" hasCustomPrompt="1"/>
          </p:nvPr>
        </p:nvSpPr>
        <p:spPr>
          <a:xfrm>
            <a:off x="9155113" y="1700784"/>
            <a:ext cx="2576639" cy="4608576"/>
          </a:xfrm>
        </p:spPr>
        <p:txBody>
          <a:bodyPr/>
          <a:lstStyle>
            <a:lvl1pPr marL="0" indent="0">
              <a:lnSpc>
                <a:spcPct val="100000"/>
              </a:lnSpc>
              <a:buNone/>
              <a:defRPr sz="1400"/>
            </a:lvl1pPr>
          </a:lstStyle>
          <a:p>
            <a:pPr lvl="0"/>
            <a:r>
              <a:rPr lang="en-US"/>
              <a:t>Sidebar text, single level, 14pt Regular</a:t>
            </a:r>
          </a:p>
        </p:txBody>
      </p:sp>
      <p:sp>
        <p:nvSpPr>
          <p:cNvPr id="4" name="Content Placeholder 3">
            <a:extLst>
              <a:ext uri="{FF2B5EF4-FFF2-40B4-BE49-F238E27FC236}">
                <a16:creationId xmlns:a16="http://schemas.microsoft.com/office/drawing/2014/main" id="{1582D711-78AA-40DF-9ED8-0A7123D2D990}"/>
              </a:ext>
            </a:extLst>
          </p:cNvPr>
          <p:cNvSpPr>
            <a:spLocks noGrp="1"/>
          </p:cNvSpPr>
          <p:nvPr>
            <p:ph sz="half" idx="2" hasCustomPrompt="1"/>
          </p:nvPr>
        </p:nvSpPr>
        <p:spPr>
          <a:xfrm>
            <a:off x="445207" y="1645920"/>
            <a:ext cx="8377239" cy="4663440"/>
          </a:xfrm>
        </p:spPr>
        <p:txBody>
          <a:bodyPr/>
          <a:lstStyle>
            <a:lvl1pPr>
              <a:defRPr/>
            </a:lvl1pPr>
          </a:lstStyle>
          <a:p>
            <a:pPr lvl="0"/>
            <a:r>
              <a:rPr lang="en-US"/>
              <a:t>First Level, 20pt Regular</a:t>
            </a:r>
          </a:p>
          <a:p>
            <a:pPr lvl="1"/>
            <a:r>
              <a:rPr lang="en-US"/>
              <a:t>Second level, 18pt</a:t>
            </a:r>
          </a:p>
          <a:p>
            <a:pPr lvl="2"/>
            <a:r>
              <a:rPr lang="en-US"/>
              <a:t>Third level, 16pt</a:t>
            </a:r>
          </a:p>
          <a:p>
            <a:pPr lvl="3"/>
            <a:r>
              <a:rPr lang="en-US"/>
              <a:t>Fourth level, 14pt</a:t>
            </a:r>
          </a:p>
          <a:p>
            <a:pPr lvl="4"/>
            <a:r>
              <a:rPr lang="en-US"/>
              <a:t>Fifth level, 12pt Bold, use for captions</a:t>
            </a:r>
          </a:p>
        </p:txBody>
      </p:sp>
      <p:sp>
        <p:nvSpPr>
          <p:cNvPr id="6" name="Footer Placeholder 5">
            <a:extLst>
              <a:ext uri="{FF2B5EF4-FFF2-40B4-BE49-F238E27FC236}">
                <a16:creationId xmlns:a16="http://schemas.microsoft.com/office/drawing/2014/main" id="{6666C29D-03F7-467C-85B3-28F7651F8315}"/>
              </a:ext>
            </a:extLst>
          </p:cNvPr>
          <p:cNvSpPr>
            <a:spLocks noGrp="1"/>
          </p:cNvSpPr>
          <p:nvPr>
            <p:ph type="ftr" sz="quarter" idx="11"/>
          </p:nvPr>
        </p:nvSpPr>
        <p:spPr/>
        <p:txBody>
          <a:bodyPr/>
          <a:lstStyle/>
          <a:p>
            <a:r>
              <a:rPr lang="en-US"/>
              <a:t>Copyright © 2021 Comcast Business. All rights reserved.</a:t>
            </a:r>
          </a:p>
        </p:txBody>
      </p:sp>
      <p:sp>
        <p:nvSpPr>
          <p:cNvPr id="7" name="Slide Number Placeholder 6">
            <a:extLst>
              <a:ext uri="{FF2B5EF4-FFF2-40B4-BE49-F238E27FC236}">
                <a16:creationId xmlns:a16="http://schemas.microsoft.com/office/drawing/2014/main" id="{51B86CBB-8A54-4818-8CC6-A9598ED3AFFA}"/>
              </a:ext>
            </a:extLst>
          </p:cNvPr>
          <p:cNvSpPr>
            <a:spLocks noGrp="1"/>
          </p:cNvSpPr>
          <p:nvPr>
            <p:ph type="sldNum" sz="quarter" idx="12"/>
          </p:nvPr>
        </p:nvSpPr>
        <p:spPr/>
        <p:txBody>
          <a:bodyPr/>
          <a:lstStyle/>
          <a:p>
            <a:fld id="{A07A7439-3E0E-4A6B-9524-3A8EBA819993}" type="slidenum">
              <a:rPr lang="en-US" smtClean="0"/>
              <a:t>‹#›</a:t>
            </a:fld>
            <a:endParaRPr lang="en-US"/>
          </a:p>
        </p:txBody>
      </p:sp>
      <p:sp>
        <p:nvSpPr>
          <p:cNvPr id="8" name="Text Placeholder 8">
            <a:extLst>
              <a:ext uri="{FF2B5EF4-FFF2-40B4-BE49-F238E27FC236}">
                <a16:creationId xmlns:a16="http://schemas.microsoft.com/office/drawing/2014/main" id="{A1C091E7-ED32-451F-8A99-9928B613A9E7}"/>
              </a:ext>
            </a:extLst>
          </p:cNvPr>
          <p:cNvSpPr>
            <a:spLocks noGrp="1"/>
          </p:cNvSpPr>
          <p:nvPr>
            <p:ph type="body" sz="quarter" idx="13" hasCustomPrompt="1"/>
          </p:nvPr>
        </p:nvSpPr>
        <p:spPr>
          <a:xfrm>
            <a:off x="457200" y="411480"/>
            <a:ext cx="6400800" cy="182880"/>
          </a:xfrm>
        </p:spPr>
        <p:txBody>
          <a:bodyPr/>
          <a:lstStyle>
            <a:lvl1pPr marL="0" indent="0">
              <a:buNone/>
              <a:defRPr sz="1200">
                <a:solidFill>
                  <a:schemeClr val="accent1"/>
                </a:solidFill>
              </a:defRPr>
            </a:lvl1pPr>
            <a:lvl2pPr marL="228600" indent="0">
              <a:buNone/>
              <a:defRPr/>
            </a:lvl2pPr>
          </a:lstStyle>
          <a:p>
            <a:pPr lvl="0"/>
            <a:r>
              <a:rPr lang="en-US"/>
              <a:t>Optional subtitle, 12pt Regular</a:t>
            </a:r>
          </a:p>
        </p:txBody>
      </p:sp>
    </p:spTree>
    <p:extLst>
      <p:ext uri="{BB962C8B-B14F-4D97-AF65-F5344CB8AC3E}">
        <p14:creationId xmlns:p14="http://schemas.microsoft.com/office/powerpoint/2010/main" val="349734154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10_Title Slide 2">
    <p:bg>
      <p:bgPr>
        <a:solidFill>
          <a:schemeClr val="accent3"/>
        </a:solidFill>
        <a:effectLst/>
      </p:bgPr>
    </p:bg>
    <p:spTree>
      <p:nvGrpSpPr>
        <p:cNvPr id="1" name=""/>
        <p:cNvGrpSpPr/>
        <p:nvPr/>
      </p:nvGrpSpPr>
      <p:grpSpPr>
        <a:xfrm>
          <a:off x="0" y="0"/>
          <a:ext cx="0" cy="0"/>
          <a:chOff x="0" y="0"/>
          <a:chExt cx="0" cy="0"/>
        </a:xfrm>
      </p:grpSpPr>
      <p:sp>
        <p:nvSpPr>
          <p:cNvPr id="17" name="Freeform 16">
            <a:extLst>
              <a:ext uri="{FF2B5EF4-FFF2-40B4-BE49-F238E27FC236}">
                <a16:creationId xmlns:a16="http://schemas.microsoft.com/office/drawing/2014/main" id="{1246520B-AE11-113E-2C7D-05E324FE73EF}"/>
              </a:ext>
            </a:extLst>
          </p:cNvPr>
          <p:cNvSpPr/>
          <p:nvPr userDrawn="1"/>
        </p:nvSpPr>
        <p:spPr>
          <a:xfrm rot="5400000">
            <a:off x="2667000" y="-2667000"/>
            <a:ext cx="6858000" cy="12192000"/>
          </a:xfrm>
          <a:custGeom>
            <a:avLst/>
            <a:gdLst>
              <a:gd name="connsiteX0" fmla="*/ 0 w 6858000"/>
              <a:gd name="connsiteY0" fmla="*/ 12192000 h 12192000"/>
              <a:gd name="connsiteX1" fmla="*/ 0 w 6858000"/>
              <a:gd name="connsiteY1" fmla="*/ 0 h 12192000"/>
              <a:gd name="connsiteX2" fmla="*/ 2374132 w 6858000"/>
              <a:gd name="connsiteY2" fmla="*/ 0 h 12192000"/>
              <a:gd name="connsiteX3" fmla="*/ 2487876 w 6858000"/>
              <a:gd name="connsiteY3" fmla="*/ 32300 h 12192000"/>
              <a:gd name="connsiteX4" fmla="*/ 6858000 w 6858000"/>
              <a:gd name="connsiteY4" fmla="*/ 5972338 h 12192000"/>
              <a:gd name="connsiteX5" fmla="*/ 6858000 w 6858000"/>
              <a:gd name="connsiteY5" fmla="*/ 12192000 h 121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58000" h="12192000">
                <a:moveTo>
                  <a:pt x="0" y="12192000"/>
                </a:moveTo>
                <a:lnTo>
                  <a:pt x="0" y="0"/>
                </a:lnTo>
                <a:lnTo>
                  <a:pt x="2374132" y="0"/>
                </a:lnTo>
                <a:lnTo>
                  <a:pt x="2487876" y="32300"/>
                </a:lnTo>
                <a:cubicBezTo>
                  <a:pt x="5019704" y="819780"/>
                  <a:pt x="6858000" y="3181381"/>
                  <a:pt x="6858000" y="5972338"/>
                </a:cubicBezTo>
                <a:lnTo>
                  <a:pt x="6858000" y="1219200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 name="Slide Number Placeholder 5">
            <a:extLst>
              <a:ext uri="{FF2B5EF4-FFF2-40B4-BE49-F238E27FC236}">
                <a16:creationId xmlns:a16="http://schemas.microsoft.com/office/drawing/2014/main" id="{8B3ADEC0-A32E-6893-2E3F-FB07C4CC3B2E}"/>
              </a:ext>
            </a:extLst>
          </p:cNvPr>
          <p:cNvSpPr>
            <a:spLocks noGrp="1"/>
          </p:cNvSpPr>
          <p:nvPr>
            <p:ph type="sldNum" sz="quarter" idx="10"/>
          </p:nvPr>
        </p:nvSpPr>
        <p:spPr>
          <a:xfrm>
            <a:off x="11341100" y="6424613"/>
            <a:ext cx="393700" cy="200025"/>
          </a:xfrm>
        </p:spPr>
        <p:txBody>
          <a:bodyPr/>
          <a:lstStyle>
            <a:lvl1pPr>
              <a:defRPr baseline="0">
                <a:solidFill>
                  <a:schemeClr val="tx2"/>
                </a:solidFill>
              </a:defRPr>
            </a:lvl1pPr>
          </a:lstStyle>
          <a:p>
            <a:pPr>
              <a:defRPr/>
            </a:pPr>
            <a:fld id="{5F05AE8C-CF5F-4A4E-B69B-C9D8FA4EC18A}" type="slidenum">
              <a:rPr lang="en-US" smtClean="0"/>
              <a:pPr>
                <a:defRPr/>
              </a:pPr>
              <a:t>‹#›</a:t>
            </a:fld>
            <a:endParaRPr lang="en-US"/>
          </a:p>
        </p:txBody>
      </p:sp>
      <p:sp>
        <p:nvSpPr>
          <p:cNvPr id="4" name="Footer Placeholder 4">
            <a:extLst>
              <a:ext uri="{FF2B5EF4-FFF2-40B4-BE49-F238E27FC236}">
                <a16:creationId xmlns:a16="http://schemas.microsoft.com/office/drawing/2014/main" id="{53679675-1C7E-31F5-9D31-B7EECD6AD1A2}"/>
              </a:ext>
            </a:extLst>
          </p:cNvPr>
          <p:cNvSpPr>
            <a:spLocks noGrp="1"/>
          </p:cNvSpPr>
          <p:nvPr>
            <p:ph type="ftr" sz="quarter" idx="11"/>
          </p:nvPr>
        </p:nvSpPr>
        <p:spPr>
          <a:xfrm>
            <a:off x="463550" y="6427788"/>
            <a:ext cx="4114800" cy="198437"/>
          </a:xfrm>
        </p:spPr>
        <p:txBody>
          <a:bodyPr/>
          <a:lstStyle>
            <a:lvl1pPr algn="l" eaLnBrk="1" fontAlgn="auto" hangingPunct="1">
              <a:spcBef>
                <a:spcPts val="0"/>
              </a:spcBef>
              <a:spcAft>
                <a:spcPts val="0"/>
              </a:spcAft>
              <a:defRPr sz="800" baseline="0">
                <a:solidFill>
                  <a:schemeClr val="bg2"/>
                </a:solidFill>
                <a:latin typeface="+mn-lt"/>
              </a:defRPr>
            </a:lvl1pPr>
          </a:lstStyle>
          <a:p>
            <a:pPr>
              <a:defRPr/>
            </a:pPr>
            <a:r>
              <a:rPr lang="en-US"/>
              <a:t>© 2024 Comcast. All rights reserved.</a:t>
            </a:r>
          </a:p>
        </p:txBody>
      </p:sp>
      <p:grpSp>
        <p:nvGrpSpPr>
          <p:cNvPr id="7" name="Group 12">
            <a:extLst>
              <a:ext uri="{FF2B5EF4-FFF2-40B4-BE49-F238E27FC236}">
                <a16:creationId xmlns:a16="http://schemas.microsoft.com/office/drawing/2014/main" id="{7A531492-E8D3-0527-D96B-F4F28EC4EE37}"/>
              </a:ext>
            </a:extLst>
          </p:cNvPr>
          <p:cNvGrpSpPr>
            <a:grpSpLocks noChangeAspect="1"/>
          </p:cNvGrpSpPr>
          <p:nvPr userDrawn="1"/>
        </p:nvGrpSpPr>
        <p:grpSpPr bwMode="auto">
          <a:xfrm>
            <a:off x="8680450" y="6437313"/>
            <a:ext cx="2522538" cy="184150"/>
            <a:chOff x="288" y="4035"/>
            <a:chExt cx="1589" cy="116"/>
          </a:xfrm>
          <a:solidFill>
            <a:schemeClr val="tx2"/>
          </a:solidFill>
        </p:grpSpPr>
        <p:sp>
          <p:nvSpPr>
            <p:cNvPr id="8" name="Freeform 5">
              <a:extLst>
                <a:ext uri="{FF2B5EF4-FFF2-40B4-BE49-F238E27FC236}">
                  <a16:creationId xmlns:a16="http://schemas.microsoft.com/office/drawing/2014/main" id="{F9058507-FD99-E598-FBD5-570057E1CC7C}"/>
                </a:ext>
              </a:extLst>
            </p:cNvPr>
            <p:cNvSpPr>
              <a:spLocks noEditPoints="1"/>
            </p:cNvSpPr>
            <p:nvPr/>
          </p:nvSpPr>
          <p:spPr bwMode="auto">
            <a:xfrm>
              <a:off x="288" y="4035"/>
              <a:ext cx="769" cy="116"/>
            </a:xfrm>
            <a:custGeom>
              <a:avLst/>
              <a:gdLst>
                <a:gd name="T0" fmla="*/ 30 w 3874"/>
                <a:gd name="T1" fmla="*/ 0 h 573"/>
                <a:gd name="T2" fmla="*/ 28 w 3874"/>
                <a:gd name="T3" fmla="*/ 0 h 573"/>
                <a:gd name="T4" fmla="*/ 28 w 3874"/>
                <a:gd name="T5" fmla="*/ 0 h 573"/>
                <a:gd name="T6" fmla="*/ 29 w 3874"/>
                <a:gd name="T7" fmla="*/ 5 h 573"/>
                <a:gd name="T8" fmla="*/ 29 w 3874"/>
                <a:gd name="T9" fmla="*/ 0 h 573"/>
                <a:gd name="T10" fmla="*/ 30 w 3874"/>
                <a:gd name="T11" fmla="*/ 0 h 573"/>
                <a:gd name="T12" fmla="*/ 22 w 3874"/>
                <a:gd name="T13" fmla="*/ 0 h 573"/>
                <a:gd name="T14" fmla="*/ 20 w 3874"/>
                <a:gd name="T15" fmla="*/ 4 h 573"/>
                <a:gd name="T16" fmla="*/ 20 w 3874"/>
                <a:gd name="T17" fmla="*/ 5 h 573"/>
                <a:gd name="T18" fmla="*/ 21 w 3874"/>
                <a:gd name="T19" fmla="*/ 3 h 573"/>
                <a:gd name="T20" fmla="*/ 23 w 3874"/>
                <a:gd name="T21" fmla="*/ 5 h 573"/>
                <a:gd name="T22" fmla="*/ 22 w 3874"/>
                <a:gd name="T23" fmla="*/ 0 h 573"/>
                <a:gd name="T24" fmla="*/ 21 w 3874"/>
                <a:gd name="T25" fmla="*/ 2 h 573"/>
                <a:gd name="T26" fmla="*/ 22 w 3874"/>
                <a:gd name="T27" fmla="*/ 1 h 573"/>
                <a:gd name="T28" fmla="*/ 21 w 3874"/>
                <a:gd name="T29" fmla="*/ 2 h 573"/>
                <a:gd name="T30" fmla="*/ 14 w 3874"/>
                <a:gd name="T31" fmla="*/ 0 h 573"/>
                <a:gd name="T32" fmla="*/ 12 w 3874"/>
                <a:gd name="T33" fmla="*/ 4 h 573"/>
                <a:gd name="T34" fmla="*/ 11 w 3874"/>
                <a:gd name="T35" fmla="*/ 0 h 573"/>
                <a:gd name="T36" fmla="*/ 10 w 3874"/>
                <a:gd name="T37" fmla="*/ 4 h 573"/>
                <a:gd name="T38" fmla="*/ 10 w 3874"/>
                <a:gd name="T39" fmla="*/ 5 h 573"/>
                <a:gd name="T40" fmla="*/ 11 w 3874"/>
                <a:gd name="T41" fmla="*/ 1 h 573"/>
                <a:gd name="T42" fmla="*/ 12 w 3874"/>
                <a:gd name="T43" fmla="*/ 4 h 573"/>
                <a:gd name="T44" fmla="*/ 13 w 3874"/>
                <a:gd name="T45" fmla="*/ 1 h 573"/>
                <a:gd name="T46" fmla="*/ 15 w 3874"/>
                <a:gd name="T47" fmla="*/ 5 h 573"/>
                <a:gd name="T48" fmla="*/ 14 w 3874"/>
                <a:gd name="T49" fmla="*/ 0 h 573"/>
                <a:gd name="T50" fmla="*/ 17 w 3874"/>
                <a:gd name="T51" fmla="*/ 0 h 573"/>
                <a:gd name="T52" fmla="*/ 19 w 3874"/>
                <a:gd name="T53" fmla="*/ 1 h 573"/>
                <a:gd name="T54" fmla="*/ 19 w 3874"/>
                <a:gd name="T55" fmla="*/ 1 h 573"/>
                <a:gd name="T56" fmla="*/ 17 w 3874"/>
                <a:gd name="T57" fmla="*/ 0 h 573"/>
                <a:gd name="T58" fmla="*/ 17 w 3874"/>
                <a:gd name="T59" fmla="*/ 5 h 573"/>
                <a:gd name="T60" fmla="*/ 19 w 3874"/>
                <a:gd name="T61" fmla="*/ 4 h 573"/>
                <a:gd name="T62" fmla="*/ 16 w 3874"/>
                <a:gd name="T63" fmla="*/ 2 h 573"/>
                <a:gd name="T64" fmla="*/ 2 w 3874"/>
                <a:gd name="T65" fmla="*/ 0 h 573"/>
                <a:gd name="T66" fmla="*/ 4 w 3874"/>
                <a:gd name="T67" fmla="*/ 1 h 573"/>
                <a:gd name="T68" fmla="*/ 4 w 3874"/>
                <a:gd name="T69" fmla="*/ 1 h 573"/>
                <a:gd name="T70" fmla="*/ 4 w 3874"/>
                <a:gd name="T71" fmla="*/ 1 h 573"/>
                <a:gd name="T72" fmla="*/ 0 w 3874"/>
                <a:gd name="T73" fmla="*/ 2 h 573"/>
                <a:gd name="T74" fmla="*/ 4 w 3874"/>
                <a:gd name="T75" fmla="*/ 4 h 573"/>
                <a:gd name="T76" fmla="*/ 2 w 3874"/>
                <a:gd name="T77" fmla="*/ 4 h 573"/>
                <a:gd name="T78" fmla="*/ 2 w 3874"/>
                <a:gd name="T79" fmla="*/ 0 h 573"/>
                <a:gd name="T80" fmla="*/ 26 w 3874"/>
                <a:gd name="T81" fmla="*/ 2 h 573"/>
                <a:gd name="T82" fmla="*/ 25 w 3874"/>
                <a:gd name="T83" fmla="*/ 1 h 573"/>
                <a:gd name="T84" fmla="*/ 26 w 3874"/>
                <a:gd name="T85" fmla="*/ 1 h 573"/>
                <a:gd name="T86" fmla="*/ 27 w 3874"/>
                <a:gd name="T87" fmla="*/ 0 h 573"/>
                <a:gd name="T88" fmla="*/ 26 w 3874"/>
                <a:gd name="T89" fmla="*/ 0 h 573"/>
                <a:gd name="T90" fmla="*/ 25 w 3874"/>
                <a:gd name="T91" fmla="*/ 2 h 573"/>
                <a:gd name="T92" fmla="*/ 26 w 3874"/>
                <a:gd name="T93" fmla="*/ 3 h 573"/>
                <a:gd name="T94" fmla="*/ 24 w 3874"/>
                <a:gd name="T95" fmla="*/ 4 h 573"/>
                <a:gd name="T96" fmla="*/ 24 w 3874"/>
                <a:gd name="T97" fmla="*/ 4 h 573"/>
                <a:gd name="T98" fmla="*/ 26 w 3874"/>
                <a:gd name="T99" fmla="*/ 5 h 573"/>
                <a:gd name="T100" fmla="*/ 26 w 3874"/>
                <a:gd name="T101" fmla="*/ 2 h 573"/>
                <a:gd name="T102" fmla="*/ 7 w 3874"/>
                <a:gd name="T103" fmla="*/ 0 h 573"/>
                <a:gd name="T104" fmla="*/ 7 w 3874"/>
                <a:gd name="T105" fmla="*/ 5 h 573"/>
                <a:gd name="T106" fmla="*/ 7 w 3874"/>
                <a:gd name="T107" fmla="*/ 0 h 573"/>
                <a:gd name="T108" fmla="*/ 7 w 3874"/>
                <a:gd name="T109" fmla="*/ 4 h 573"/>
                <a:gd name="T110" fmla="*/ 7 w 3874"/>
                <a:gd name="T111" fmla="*/ 0 h 573"/>
                <a:gd name="T112" fmla="*/ 7 w 3874"/>
                <a:gd name="T113" fmla="*/ 4 h 57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874" h="573">
                  <a:moveTo>
                    <a:pt x="3874" y="31"/>
                  </a:moveTo>
                  <a:lnTo>
                    <a:pt x="3874" y="31"/>
                  </a:lnTo>
                  <a:cubicBezTo>
                    <a:pt x="3874" y="16"/>
                    <a:pt x="3861" y="3"/>
                    <a:pt x="3846" y="3"/>
                  </a:cubicBezTo>
                  <a:lnTo>
                    <a:pt x="3527" y="3"/>
                  </a:lnTo>
                  <a:cubicBezTo>
                    <a:pt x="3512" y="3"/>
                    <a:pt x="3499" y="15"/>
                    <a:pt x="3499" y="31"/>
                  </a:cubicBezTo>
                  <a:cubicBezTo>
                    <a:pt x="3499" y="47"/>
                    <a:pt x="3511" y="59"/>
                    <a:pt x="3527" y="59"/>
                  </a:cubicBezTo>
                  <a:lnTo>
                    <a:pt x="3661" y="59"/>
                  </a:lnTo>
                  <a:lnTo>
                    <a:pt x="3661" y="569"/>
                  </a:lnTo>
                  <a:lnTo>
                    <a:pt x="3713" y="569"/>
                  </a:lnTo>
                  <a:lnTo>
                    <a:pt x="3713" y="59"/>
                  </a:lnTo>
                  <a:lnTo>
                    <a:pt x="3846" y="59"/>
                  </a:lnTo>
                  <a:cubicBezTo>
                    <a:pt x="3862" y="60"/>
                    <a:pt x="3874" y="47"/>
                    <a:pt x="3874" y="31"/>
                  </a:cubicBezTo>
                  <a:close/>
                  <a:moveTo>
                    <a:pt x="2759" y="0"/>
                  </a:moveTo>
                  <a:lnTo>
                    <a:pt x="2759" y="0"/>
                  </a:lnTo>
                  <a:cubicBezTo>
                    <a:pt x="2748" y="0"/>
                    <a:pt x="2741" y="7"/>
                    <a:pt x="2735" y="16"/>
                  </a:cubicBezTo>
                  <a:cubicBezTo>
                    <a:pt x="2731" y="26"/>
                    <a:pt x="2523" y="538"/>
                    <a:pt x="2523" y="538"/>
                  </a:cubicBezTo>
                  <a:cubicBezTo>
                    <a:pt x="2522" y="541"/>
                    <a:pt x="2521" y="544"/>
                    <a:pt x="2521" y="547"/>
                  </a:cubicBezTo>
                  <a:cubicBezTo>
                    <a:pt x="2521" y="562"/>
                    <a:pt x="2532" y="573"/>
                    <a:pt x="2547" y="573"/>
                  </a:cubicBezTo>
                  <a:cubicBezTo>
                    <a:pt x="2558" y="573"/>
                    <a:pt x="2567" y="566"/>
                    <a:pt x="2570" y="556"/>
                  </a:cubicBezTo>
                  <a:lnTo>
                    <a:pt x="2651" y="359"/>
                  </a:lnTo>
                  <a:lnTo>
                    <a:pt x="2868" y="359"/>
                  </a:lnTo>
                  <a:lnTo>
                    <a:pt x="2954" y="569"/>
                  </a:lnTo>
                  <a:lnTo>
                    <a:pt x="3009" y="569"/>
                  </a:lnTo>
                  <a:cubicBezTo>
                    <a:pt x="3009" y="569"/>
                    <a:pt x="2788" y="25"/>
                    <a:pt x="2784" y="16"/>
                  </a:cubicBezTo>
                  <a:cubicBezTo>
                    <a:pt x="2779" y="7"/>
                    <a:pt x="2770" y="0"/>
                    <a:pt x="2759" y="0"/>
                  </a:cubicBezTo>
                  <a:close/>
                  <a:moveTo>
                    <a:pt x="2675" y="302"/>
                  </a:moveTo>
                  <a:lnTo>
                    <a:pt x="2675" y="302"/>
                  </a:lnTo>
                  <a:lnTo>
                    <a:pt x="2760" y="93"/>
                  </a:lnTo>
                  <a:lnTo>
                    <a:pt x="2845" y="302"/>
                  </a:lnTo>
                  <a:lnTo>
                    <a:pt x="2675" y="302"/>
                  </a:lnTo>
                  <a:close/>
                  <a:moveTo>
                    <a:pt x="1742" y="0"/>
                  </a:moveTo>
                  <a:lnTo>
                    <a:pt x="1742" y="0"/>
                  </a:lnTo>
                  <a:cubicBezTo>
                    <a:pt x="1731" y="0"/>
                    <a:pt x="1723" y="7"/>
                    <a:pt x="1718" y="16"/>
                  </a:cubicBezTo>
                  <a:cubicBezTo>
                    <a:pt x="1714" y="25"/>
                    <a:pt x="1549" y="430"/>
                    <a:pt x="1549" y="430"/>
                  </a:cubicBezTo>
                  <a:cubicBezTo>
                    <a:pt x="1549" y="430"/>
                    <a:pt x="1385" y="24"/>
                    <a:pt x="1381" y="16"/>
                  </a:cubicBezTo>
                  <a:cubicBezTo>
                    <a:pt x="1376" y="7"/>
                    <a:pt x="1368" y="0"/>
                    <a:pt x="1357" y="0"/>
                  </a:cubicBezTo>
                  <a:cubicBezTo>
                    <a:pt x="1345" y="0"/>
                    <a:pt x="1335" y="9"/>
                    <a:pt x="1332" y="21"/>
                  </a:cubicBezTo>
                  <a:cubicBezTo>
                    <a:pt x="1329" y="33"/>
                    <a:pt x="1237" y="543"/>
                    <a:pt x="1237" y="543"/>
                  </a:cubicBezTo>
                  <a:cubicBezTo>
                    <a:pt x="1237" y="545"/>
                    <a:pt x="1236" y="546"/>
                    <a:pt x="1236" y="548"/>
                  </a:cubicBezTo>
                  <a:cubicBezTo>
                    <a:pt x="1236" y="562"/>
                    <a:pt x="1247" y="573"/>
                    <a:pt x="1261" y="573"/>
                  </a:cubicBezTo>
                  <a:cubicBezTo>
                    <a:pt x="1273" y="573"/>
                    <a:pt x="1284" y="564"/>
                    <a:pt x="1286" y="553"/>
                  </a:cubicBezTo>
                  <a:lnTo>
                    <a:pt x="1366" y="116"/>
                  </a:lnTo>
                  <a:cubicBezTo>
                    <a:pt x="1366" y="116"/>
                    <a:pt x="1521" y="498"/>
                    <a:pt x="1526" y="507"/>
                  </a:cubicBezTo>
                  <a:cubicBezTo>
                    <a:pt x="1530" y="516"/>
                    <a:pt x="1538" y="523"/>
                    <a:pt x="1549" y="523"/>
                  </a:cubicBezTo>
                  <a:cubicBezTo>
                    <a:pt x="1560" y="523"/>
                    <a:pt x="1569" y="516"/>
                    <a:pt x="1573" y="507"/>
                  </a:cubicBezTo>
                  <a:cubicBezTo>
                    <a:pt x="1578" y="498"/>
                    <a:pt x="1732" y="116"/>
                    <a:pt x="1732" y="116"/>
                  </a:cubicBezTo>
                  <a:lnTo>
                    <a:pt x="1816" y="570"/>
                  </a:lnTo>
                  <a:lnTo>
                    <a:pt x="1868" y="570"/>
                  </a:lnTo>
                  <a:cubicBezTo>
                    <a:pt x="1868" y="570"/>
                    <a:pt x="1770" y="33"/>
                    <a:pt x="1767" y="21"/>
                  </a:cubicBezTo>
                  <a:cubicBezTo>
                    <a:pt x="1763" y="9"/>
                    <a:pt x="1754" y="0"/>
                    <a:pt x="1742" y="0"/>
                  </a:cubicBezTo>
                  <a:close/>
                  <a:moveTo>
                    <a:pt x="2226" y="57"/>
                  </a:moveTo>
                  <a:lnTo>
                    <a:pt x="2226" y="57"/>
                  </a:lnTo>
                  <a:cubicBezTo>
                    <a:pt x="2288" y="57"/>
                    <a:pt x="2345" y="80"/>
                    <a:pt x="2389" y="124"/>
                  </a:cubicBezTo>
                  <a:cubicBezTo>
                    <a:pt x="2399" y="134"/>
                    <a:pt x="2419" y="134"/>
                    <a:pt x="2429" y="124"/>
                  </a:cubicBezTo>
                  <a:cubicBezTo>
                    <a:pt x="2434" y="119"/>
                    <a:pt x="2437" y="112"/>
                    <a:pt x="2437" y="104"/>
                  </a:cubicBezTo>
                  <a:cubicBezTo>
                    <a:pt x="2437" y="96"/>
                    <a:pt x="2434" y="89"/>
                    <a:pt x="2429" y="84"/>
                  </a:cubicBezTo>
                  <a:lnTo>
                    <a:pt x="2426" y="80"/>
                  </a:lnTo>
                  <a:cubicBezTo>
                    <a:pt x="2372" y="29"/>
                    <a:pt x="2301" y="0"/>
                    <a:pt x="2226" y="0"/>
                  </a:cubicBezTo>
                  <a:cubicBezTo>
                    <a:pt x="2069" y="0"/>
                    <a:pt x="1940" y="129"/>
                    <a:pt x="1940" y="287"/>
                  </a:cubicBezTo>
                  <a:cubicBezTo>
                    <a:pt x="1940" y="445"/>
                    <a:pt x="2069" y="573"/>
                    <a:pt x="2226" y="573"/>
                  </a:cubicBezTo>
                  <a:cubicBezTo>
                    <a:pt x="2310" y="573"/>
                    <a:pt x="2385" y="538"/>
                    <a:pt x="2437" y="480"/>
                  </a:cubicBezTo>
                  <a:lnTo>
                    <a:pt x="2397" y="440"/>
                  </a:lnTo>
                  <a:cubicBezTo>
                    <a:pt x="2355" y="487"/>
                    <a:pt x="2294" y="516"/>
                    <a:pt x="2226" y="516"/>
                  </a:cubicBezTo>
                  <a:cubicBezTo>
                    <a:pt x="2100" y="516"/>
                    <a:pt x="1996" y="413"/>
                    <a:pt x="1996" y="286"/>
                  </a:cubicBezTo>
                  <a:cubicBezTo>
                    <a:pt x="1996" y="160"/>
                    <a:pt x="2100" y="57"/>
                    <a:pt x="2226" y="57"/>
                  </a:cubicBezTo>
                  <a:close/>
                  <a:moveTo>
                    <a:pt x="285" y="57"/>
                  </a:moveTo>
                  <a:lnTo>
                    <a:pt x="285" y="57"/>
                  </a:lnTo>
                  <a:cubicBezTo>
                    <a:pt x="347" y="57"/>
                    <a:pt x="404" y="80"/>
                    <a:pt x="448" y="124"/>
                  </a:cubicBezTo>
                  <a:cubicBezTo>
                    <a:pt x="459" y="134"/>
                    <a:pt x="478" y="134"/>
                    <a:pt x="488" y="124"/>
                  </a:cubicBezTo>
                  <a:cubicBezTo>
                    <a:pt x="494" y="119"/>
                    <a:pt x="497" y="112"/>
                    <a:pt x="497" y="104"/>
                  </a:cubicBezTo>
                  <a:cubicBezTo>
                    <a:pt x="497" y="96"/>
                    <a:pt x="494" y="89"/>
                    <a:pt x="488" y="84"/>
                  </a:cubicBezTo>
                  <a:lnTo>
                    <a:pt x="485" y="80"/>
                  </a:lnTo>
                  <a:cubicBezTo>
                    <a:pt x="431" y="29"/>
                    <a:pt x="361" y="0"/>
                    <a:pt x="286" y="0"/>
                  </a:cubicBezTo>
                  <a:cubicBezTo>
                    <a:pt x="128" y="0"/>
                    <a:pt x="0" y="129"/>
                    <a:pt x="0" y="287"/>
                  </a:cubicBezTo>
                  <a:cubicBezTo>
                    <a:pt x="0" y="445"/>
                    <a:pt x="128" y="573"/>
                    <a:pt x="286" y="573"/>
                  </a:cubicBezTo>
                  <a:cubicBezTo>
                    <a:pt x="369" y="573"/>
                    <a:pt x="444" y="538"/>
                    <a:pt x="497" y="480"/>
                  </a:cubicBezTo>
                  <a:lnTo>
                    <a:pt x="457" y="440"/>
                  </a:lnTo>
                  <a:cubicBezTo>
                    <a:pt x="415" y="487"/>
                    <a:pt x="353" y="516"/>
                    <a:pt x="286" y="516"/>
                  </a:cubicBezTo>
                  <a:cubicBezTo>
                    <a:pt x="159" y="516"/>
                    <a:pt x="56" y="413"/>
                    <a:pt x="56" y="286"/>
                  </a:cubicBezTo>
                  <a:cubicBezTo>
                    <a:pt x="55" y="160"/>
                    <a:pt x="159" y="57"/>
                    <a:pt x="285" y="57"/>
                  </a:cubicBezTo>
                  <a:close/>
                  <a:moveTo>
                    <a:pt x="3341" y="290"/>
                  </a:moveTo>
                  <a:lnTo>
                    <a:pt x="3341" y="290"/>
                  </a:lnTo>
                  <a:cubicBezTo>
                    <a:pt x="3326" y="282"/>
                    <a:pt x="3233" y="234"/>
                    <a:pt x="3219" y="227"/>
                  </a:cubicBezTo>
                  <a:cubicBezTo>
                    <a:pt x="3170" y="201"/>
                    <a:pt x="3152" y="179"/>
                    <a:pt x="3152" y="142"/>
                  </a:cubicBezTo>
                  <a:cubicBezTo>
                    <a:pt x="3152" y="90"/>
                    <a:pt x="3195" y="56"/>
                    <a:pt x="3262" y="56"/>
                  </a:cubicBezTo>
                  <a:cubicBezTo>
                    <a:pt x="3301" y="56"/>
                    <a:pt x="3339" y="73"/>
                    <a:pt x="3361" y="86"/>
                  </a:cubicBezTo>
                  <a:cubicBezTo>
                    <a:pt x="3365" y="88"/>
                    <a:pt x="3370" y="89"/>
                    <a:pt x="3374" y="89"/>
                  </a:cubicBezTo>
                  <a:cubicBezTo>
                    <a:pt x="3390" y="89"/>
                    <a:pt x="3403" y="77"/>
                    <a:pt x="3403" y="61"/>
                  </a:cubicBezTo>
                  <a:cubicBezTo>
                    <a:pt x="3403" y="51"/>
                    <a:pt x="3397" y="42"/>
                    <a:pt x="3388" y="37"/>
                  </a:cubicBezTo>
                  <a:cubicBezTo>
                    <a:pt x="3361" y="21"/>
                    <a:pt x="3313" y="0"/>
                    <a:pt x="3262" y="0"/>
                  </a:cubicBezTo>
                  <a:cubicBezTo>
                    <a:pt x="3165" y="0"/>
                    <a:pt x="3097" y="58"/>
                    <a:pt x="3097" y="142"/>
                  </a:cubicBezTo>
                  <a:cubicBezTo>
                    <a:pt x="3097" y="217"/>
                    <a:pt x="3146" y="252"/>
                    <a:pt x="3194" y="277"/>
                  </a:cubicBezTo>
                  <a:cubicBezTo>
                    <a:pt x="3208" y="284"/>
                    <a:pt x="3302" y="333"/>
                    <a:pt x="3317" y="340"/>
                  </a:cubicBezTo>
                  <a:cubicBezTo>
                    <a:pt x="3354" y="360"/>
                    <a:pt x="3375" y="390"/>
                    <a:pt x="3375" y="423"/>
                  </a:cubicBezTo>
                  <a:cubicBezTo>
                    <a:pt x="3375" y="468"/>
                    <a:pt x="3337" y="516"/>
                    <a:pt x="3266" y="516"/>
                  </a:cubicBezTo>
                  <a:cubicBezTo>
                    <a:pt x="3196" y="516"/>
                    <a:pt x="3143" y="470"/>
                    <a:pt x="3129" y="456"/>
                  </a:cubicBezTo>
                  <a:lnTo>
                    <a:pt x="3124" y="451"/>
                  </a:lnTo>
                  <a:lnTo>
                    <a:pt x="3082" y="489"/>
                  </a:lnTo>
                  <a:lnTo>
                    <a:pt x="3087" y="494"/>
                  </a:lnTo>
                  <a:cubicBezTo>
                    <a:pt x="3106" y="512"/>
                    <a:pt x="3173" y="572"/>
                    <a:pt x="3266" y="572"/>
                  </a:cubicBezTo>
                  <a:cubicBezTo>
                    <a:pt x="3369" y="572"/>
                    <a:pt x="3431" y="496"/>
                    <a:pt x="3431" y="422"/>
                  </a:cubicBezTo>
                  <a:cubicBezTo>
                    <a:pt x="3431" y="368"/>
                    <a:pt x="3398" y="320"/>
                    <a:pt x="3341" y="290"/>
                  </a:cubicBezTo>
                  <a:close/>
                  <a:moveTo>
                    <a:pt x="872" y="0"/>
                  </a:moveTo>
                  <a:lnTo>
                    <a:pt x="872" y="0"/>
                  </a:lnTo>
                  <a:cubicBezTo>
                    <a:pt x="715" y="0"/>
                    <a:pt x="586" y="129"/>
                    <a:pt x="586" y="287"/>
                  </a:cubicBezTo>
                  <a:cubicBezTo>
                    <a:pt x="586" y="445"/>
                    <a:pt x="715" y="573"/>
                    <a:pt x="872" y="573"/>
                  </a:cubicBezTo>
                  <a:cubicBezTo>
                    <a:pt x="1030" y="573"/>
                    <a:pt x="1159" y="445"/>
                    <a:pt x="1159" y="287"/>
                  </a:cubicBezTo>
                  <a:cubicBezTo>
                    <a:pt x="1159" y="129"/>
                    <a:pt x="1030" y="0"/>
                    <a:pt x="872" y="0"/>
                  </a:cubicBezTo>
                  <a:close/>
                  <a:moveTo>
                    <a:pt x="872" y="516"/>
                  </a:moveTo>
                  <a:lnTo>
                    <a:pt x="872" y="516"/>
                  </a:lnTo>
                  <a:cubicBezTo>
                    <a:pt x="746" y="516"/>
                    <a:pt x="642" y="413"/>
                    <a:pt x="642" y="286"/>
                  </a:cubicBezTo>
                  <a:cubicBezTo>
                    <a:pt x="642" y="159"/>
                    <a:pt x="746" y="56"/>
                    <a:pt x="872" y="56"/>
                  </a:cubicBezTo>
                  <a:cubicBezTo>
                    <a:pt x="999" y="56"/>
                    <a:pt x="1103" y="159"/>
                    <a:pt x="1103" y="286"/>
                  </a:cubicBezTo>
                  <a:cubicBezTo>
                    <a:pt x="1102" y="413"/>
                    <a:pt x="999" y="516"/>
                    <a:pt x="872" y="516"/>
                  </a:cubicBezTo>
                  <a:close/>
                </a:path>
              </a:pathLst>
            </a:custGeom>
            <a:grp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n-US"/>
            </a:p>
          </p:txBody>
        </p:sp>
        <p:sp>
          <p:nvSpPr>
            <p:cNvPr id="9" name="Freeform 6">
              <a:extLst>
                <a:ext uri="{FF2B5EF4-FFF2-40B4-BE49-F238E27FC236}">
                  <a16:creationId xmlns:a16="http://schemas.microsoft.com/office/drawing/2014/main" id="{95AE842E-F7ED-9E65-E0C7-950397EE7F95}"/>
                </a:ext>
              </a:extLst>
            </p:cNvPr>
            <p:cNvSpPr>
              <a:spLocks noEditPoints="1"/>
            </p:cNvSpPr>
            <p:nvPr/>
          </p:nvSpPr>
          <p:spPr bwMode="auto">
            <a:xfrm>
              <a:off x="1114" y="4035"/>
              <a:ext cx="763" cy="116"/>
            </a:xfrm>
            <a:custGeom>
              <a:avLst/>
              <a:gdLst>
                <a:gd name="T0" fmla="*/ 29 w 3842"/>
                <a:gd name="T1" fmla="*/ 5 h 576"/>
                <a:gd name="T2" fmla="*/ 28 w 3842"/>
                <a:gd name="T3" fmla="*/ 2 h 576"/>
                <a:gd name="T4" fmla="*/ 29 w 3842"/>
                <a:gd name="T5" fmla="*/ 1 h 576"/>
                <a:gd name="T6" fmla="*/ 30 w 3842"/>
                <a:gd name="T7" fmla="*/ 0 h 576"/>
                <a:gd name="T8" fmla="*/ 28 w 3842"/>
                <a:gd name="T9" fmla="*/ 2 h 576"/>
                <a:gd name="T10" fmla="*/ 29 w 3842"/>
                <a:gd name="T11" fmla="*/ 4 h 576"/>
                <a:gd name="T12" fmla="*/ 23 w 3842"/>
                <a:gd name="T13" fmla="*/ 4 h 576"/>
                <a:gd name="T14" fmla="*/ 26 w 3842"/>
                <a:gd name="T15" fmla="*/ 3 h 576"/>
                <a:gd name="T16" fmla="*/ 24 w 3842"/>
                <a:gd name="T17" fmla="*/ 1 h 576"/>
                <a:gd name="T18" fmla="*/ 26 w 3842"/>
                <a:gd name="T19" fmla="*/ 1 h 576"/>
                <a:gd name="T20" fmla="*/ 25 w 3842"/>
                <a:gd name="T21" fmla="*/ 0 h 576"/>
                <a:gd name="T22" fmla="*/ 25 w 3842"/>
                <a:gd name="T23" fmla="*/ 3 h 576"/>
                <a:gd name="T24" fmla="*/ 24 w 3842"/>
                <a:gd name="T25" fmla="*/ 3 h 576"/>
                <a:gd name="T26" fmla="*/ 9 w 3842"/>
                <a:gd name="T27" fmla="*/ 4 h 576"/>
                <a:gd name="T28" fmla="*/ 11 w 3842"/>
                <a:gd name="T29" fmla="*/ 2 h 576"/>
                <a:gd name="T30" fmla="*/ 10 w 3842"/>
                <a:gd name="T31" fmla="*/ 1 h 576"/>
                <a:gd name="T32" fmla="*/ 12 w 3842"/>
                <a:gd name="T33" fmla="*/ 1 h 576"/>
                <a:gd name="T34" fmla="*/ 9 w 3842"/>
                <a:gd name="T35" fmla="*/ 1 h 576"/>
                <a:gd name="T36" fmla="*/ 11 w 3842"/>
                <a:gd name="T37" fmla="*/ 3 h 576"/>
                <a:gd name="T38" fmla="*/ 9 w 3842"/>
                <a:gd name="T39" fmla="*/ 4 h 576"/>
                <a:gd name="T40" fmla="*/ 15 w 3842"/>
                <a:gd name="T41" fmla="*/ 0 h 576"/>
                <a:gd name="T42" fmla="*/ 16 w 3842"/>
                <a:gd name="T43" fmla="*/ 4 h 576"/>
                <a:gd name="T44" fmla="*/ 18 w 3842"/>
                <a:gd name="T45" fmla="*/ 5 h 576"/>
                <a:gd name="T46" fmla="*/ 18 w 3842"/>
                <a:gd name="T47" fmla="*/ 0 h 576"/>
                <a:gd name="T48" fmla="*/ 15 w 3842"/>
                <a:gd name="T49" fmla="*/ 0 h 576"/>
                <a:gd name="T50" fmla="*/ 3 w 3842"/>
                <a:gd name="T51" fmla="*/ 3 h 576"/>
                <a:gd name="T52" fmla="*/ 0 w 3842"/>
                <a:gd name="T53" fmla="*/ 0 h 576"/>
                <a:gd name="T54" fmla="*/ 3 w 3842"/>
                <a:gd name="T55" fmla="*/ 1 h 576"/>
                <a:gd name="T56" fmla="*/ 1 w 3842"/>
                <a:gd name="T57" fmla="*/ 2 h 576"/>
                <a:gd name="T58" fmla="*/ 2 w 3842"/>
                <a:gd name="T59" fmla="*/ 1 h 576"/>
                <a:gd name="T60" fmla="*/ 2 w 3842"/>
                <a:gd name="T61" fmla="*/ 4 h 576"/>
                <a:gd name="T62" fmla="*/ 2 w 3842"/>
                <a:gd name="T63" fmla="*/ 3 h 576"/>
                <a:gd name="T64" fmla="*/ 2 w 3842"/>
                <a:gd name="T65" fmla="*/ 4 h 576"/>
                <a:gd name="T66" fmla="*/ 23 w 3842"/>
                <a:gd name="T67" fmla="*/ 0 h 576"/>
                <a:gd name="T68" fmla="*/ 20 w 3842"/>
                <a:gd name="T69" fmla="*/ 0 h 576"/>
                <a:gd name="T70" fmla="*/ 23 w 3842"/>
                <a:gd name="T71" fmla="*/ 5 h 576"/>
                <a:gd name="T72" fmla="*/ 20 w 3842"/>
                <a:gd name="T73" fmla="*/ 3 h 576"/>
                <a:gd name="T74" fmla="*/ 22 w 3842"/>
                <a:gd name="T75" fmla="*/ 2 h 576"/>
                <a:gd name="T76" fmla="*/ 22 w 3842"/>
                <a:gd name="T77" fmla="*/ 1 h 576"/>
                <a:gd name="T78" fmla="*/ 5 w 3842"/>
                <a:gd name="T79" fmla="*/ 0 h 576"/>
                <a:gd name="T80" fmla="*/ 4 w 3842"/>
                <a:gd name="T81" fmla="*/ 3 h 576"/>
                <a:gd name="T82" fmla="*/ 8 w 3842"/>
                <a:gd name="T83" fmla="*/ 0 h 576"/>
                <a:gd name="T84" fmla="*/ 6 w 3842"/>
                <a:gd name="T85" fmla="*/ 4 h 576"/>
                <a:gd name="T86" fmla="*/ 13 w 3842"/>
                <a:gd name="T87" fmla="*/ 0 h 576"/>
                <a:gd name="T88" fmla="*/ 13 w 3842"/>
                <a:gd name="T89" fmla="*/ 5 h 57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3842" h="576">
                  <a:moveTo>
                    <a:pt x="3464" y="491"/>
                  </a:moveTo>
                  <a:lnTo>
                    <a:pt x="3464" y="491"/>
                  </a:lnTo>
                  <a:cubicBezTo>
                    <a:pt x="3475" y="506"/>
                    <a:pt x="3529" y="576"/>
                    <a:pt x="3647" y="576"/>
                  </a:cubicBezTo>
                  <a:cubicBezTo>
                    <a:pt x="3763" y="576"/>
                    <a:pt x="3842" y="509"/>
                    <a:pt x="3842" y="415"/>
                  </a:cubicBezTo>
                  <a:cubicBezTo>
                    <a:pt x="3842" y="354"/>
                    <a:pt x="3818" y="305"/>
                    <a:pt x="3727" y="261"/>
                  </a:cubicBezTo>
                  <a:cubicBezTo>
                    <a:pt x="3703" y="249"/>
                    <a:pt x="3634" y="216"/>
                    <a:pt x="3634" y="216"/>
                  </a:cubicBezTo>
                  <a:cubicBezTo>
                    <a:pt x="3599" y="199"/>
                    <a:pt x="3583" y="178"/>
                    <a:pt x="3583" y="149"/>
                  </a:cubicBezTo>
                  <a:cubicBezTo>
                    <a:pt x="3583" y="120"/>
                    <a:pt x="3607" y="87"/>
                    <a:pt x="3667" y="87"/>
                  </a:cubicBezTo>
                  <a:cubicBezTo>
                    <a:pt x="3701" y="87"/>
                    <a:pt x="3727" y="98"/>
                    <a:pt x="3742" y="105"/>
                  </a:cubicBezTo>
                  <a:cubicBezTo>
                    <a:pt x="3748" y="108"/>
                    <a:pt x="3764" y="116"/>
                    <a:pt x="3780" y="116"/>
                  </a:cubicBezTo>
                  <a:cubicBezTo>
                    <a:pt x="3800" y="116"/>
                    <a:pt x="3822" y="102"/>
                    <a:pt x="3822" y="72"/>
                  </a:cubicBezTo>
                  <a:cubicBezTo>
                    <a:pt x="3822" y="48"/>
                    <a:pt x="3804" y="35"/>
                    <a:pt x="3789" y="28"/>
                  </a:cubicBezTo>
                  <a:cubicBezTo>
                    <a:pt x="3764" y="16"/>
                    <a:pt x="3726" y="0"/>
                    <a:pt x="3662" y="0"/>
                  </a:cubicBezTo>
                  <a:cubicBezTo>
                    <a:pt x="3561" y="0"/>
                    <a:pt x="3486" y="63"/>
                    <a:pt x="3486" y="153"/>
                  </a:cubicBezTo>
                  <a:cubicBezTo>
                    <a:pt x="3486" y="234"/>
                    <a:pt x="3540" y="275"/>
                    <a:pt x="3606" y="307"/>
                  </a:cubicBezTo>
                  <a:cubicBezTo>
                    <a:pt x="3619" y="312"/>
                    <a:pt x="3668" y="336"/>
                    <a:pt x="3681" y="343"/>
                  </a:cubicBezTo>
                  <a:cubicBezTo>
                    <a:pt x="3724" y="363"/>
                    <a:pt x="3746" y="382"/>
                    <a:pt x="3746" y="417"/>
                  </a:cubicBezTo>
                  <a:cubicBezTo>
                    <a:pt x="3746" y="455"/>
                    <a:pt x="3710" y="487"/>
                    <a:pt x="3656" y="487"/>
                  </a:cubicBezTo>
                  <a:cubicBezTo>
                    <a:pt x="3579" y="487"/>
                    <a:pt x="3538" y="436"/>
                    <a:pt x="3531" y="428"/>
                  </a:cubicBezTo>
                  <a:lnTo>
                    <a:pt x="3464" y="491"/>
                  </a:lnTo>
                  <a:close/>
                  <a:moveTo>
                    <a:pt x="2997" y="491"/>
                  </a:moveTo>
                  <a:lnTo>
                    <a:pt x="2997" y="491"/>
                  </a:lnTo>
                  <a:cubicBezTo>
                    <a:pt x="3009" y="506"/>
                    <a:pt x="3063" y="576"/>
                    <a:pt x="3182" y="576"/>
                  </a:cubicBezTo>
                  <a:cubicBezTo>
                    <a:pt x="3297" y="576"/>
                    <a:pt x="3376" y="509"/>
                    <a:pt x="3376" y="415"/>
                  </a:cubicBezTo>
                  <a:cubicBezTo>
                    <a:pt x="3376" y="354"/>
                    <a:pt x="3352" y="305"/>
                    <a:pt x="3261" y="261"/>
                  </a:cubicBezTo>
                  <a:cubicBezTo>
                    <a:pt x="3237" y="249"/>
                    <a:pt x="3169" y="216"/>
                    <a:pt x="3169" y="216"/>
                  </a:cubicBezTo>
                  <a:cubicBezTo>
                    <a:pt x="3133" y="199"/>
                    <a:pt x="3116" y="178"/>
                    <a:pt x="3116" y="149"/>
                  </a:cubicBezTo>
                  <a:cubicBezTo>
                    <a:pt x="3116" y="120"/>
                    <a:pt x="3141" y="87"/>
                    <a:pt x="3201" y="87"/>
                  </a:cubicBezTo>
                  <a:cubicBezTo>
                    <a:pt x="3235" y="87"/>
                    <a:pt x="3261" y="98"/>
                    <a:pt x="3275" y="105"/>
                  </a:cubicBezTo>
                  <a:cubicBezTo>
                    <a:pt x="3283" y="108"/>
                    <a:pt x="3299" y="116"/>
                    <a:pt x="3314" y="116"/>
                  </a:cubicBezTo>
                  <a:cubicBezTo>
                    <a:pt x="3334" y="116"/>
                    <a:pt x="3356" y="102"/>
                    <a:pt x="3356" y="72"/>
                  </a:cubicBezTo>
                  <a:cubicBezTo>
                    <a:pt x="3356" y="48"/>
                    <a:pt x="3339" y="35"/>
                    <a:pt x="3323" y="28"/>
                  </a:cubicBezTo>
                  <a:cubicBezTo>
                    <a:pt x="3299" y="16"/>
                    <a:pt x="3260" y="0"/>
                    <a:pt x="3197" y="0"/>
                  </a:cubicBezTo>
                  <a:cubicBezTo>
                    <a:pt x="3095" y="0"/>
                    <a:pt x="3020" y="63"/>
                    <a:pt x="3020" y="153"/>
                  </a:cubicBezTo>
                  <a:cubicBezTo>
                    <a:pt x="3020" y="234"/>
                    <a:pt x="3075" y="275"/>
                    <a:pt x="3141" y="307"/>
                  </a:cubicBezTo>
                  <a:cubicBezTo>
                    <a:pt x="3154" y="312"/>
                    <a:pt x="3203" y="336"/>
                    <a:pt x="3217" y="343"/>
                  </a:cubicBezTo>
                  <a:cubicBezTo>
                    <a:pt x="3258" y="363"/>
                    <a:pt x="3280" y="382"/>
                    <a:pt x="3280" y="417"/>
                  </a:cubicBezTo>
                  <a:cubicBezTo>
                    <a:pt x="3280" y="455"/>
                    <a:pt x="3244" y="487"/>
                    <a:pt x="3191" y="487"/>
                  </a:cubicBezTo>
                  <a:cubicBezTo>
                    <a:pt x="3113" y="487"/>
                    <a:pt x="3072" y="436"/>
                    <a:pt x="3065" y="428"/>
                  </a:cubicBezTo>
                  <a:lnTo>
                    <a:pt x="2997" y="491"/>
                  </a:lnTo>
                  <a:close/>
                  <a:moveTo>
                    <a:pt x="1117" y="491"/>
                  </a:moveTo>
                  <a:lnTo>
                    <a:pt x="1117" y="491"/>
                  </a:lnTo>
                  <a:cubicBezTo>
                    <a:pt x="1129" y="506"/>
                    <a:pt x="1182" y="576"/>
                    <a:pt x="1301" y="576"/>
                  </a:cubicBezTo>
                  <a:cubicBezTo>
                    <a:pt x="1417" y="576"/>
                    <a:pt x="1496" y="509"/>
                    <a:pt x="1496" y="415"/>
                  </a:cubicBezTo>
                  <a:cubicBezTo>
                    <a:pt x="1496" y="354"/>
                    <a:pt x="1472" y="305"/>
                    <a:pt x="1381" y="261"/>
                  </a:cubicBezTo>
                  <a:cubicBezTo>
                    <a:pt x="1356" y="249"/>
                    <a:pt x="1288" y="216"/>
                    <a:pt x="1288" y="216"/>
                  </a:cubicBezTo>
                  <a:cubicBezTo>
                    <a:pt x="1252" y="199"/>
                    <a:pt x="1236" y="178"/>
                    <a:pt x="1236" y="149"/>
                  </a:cubicBezTo>
                  <a:cubicBezTo>
                    <a:pt x="1236" y="120"/>
                    <a:pt x="1261" y="87"/>
                    <a:pt x="1321" y="87"/>
                  </a:cubicBezTo>
                  <a:cubicBezTo>
                    <a:pt x="1355" y="87"/>
                    <a:pt x="1381" y="98"/>
                    <a:pt x="1395" y="105"/>
                  </a:cubicBezTo>
                  <a:cubicBezTo>
                    <a:pt x="1402" y="108"/>
                    <a:pt x="1418" y="116"/>
                    <a:pt x="1434" y="116"/>
                  </a:cubicBezTo>
                  <a:cubicBezTo>
                    <a:pt x="1454" y="116"/>
                    <a:pt x="1476" y="102"/>
                    <a:pt x="1476" y="72"/>
                  </a:cubicBezTo>
                  <a:cubicBezTo>
                    <a:pt x="1476" y="48"/>
                    <a:pt x="1458" y="35"/>
                    <a:pt x="1443" y="28"/>
                  </a:cubicBezTo>
                  <a:cubicBezTo>
                    <a:pt x="1418" y="16"/>
                    <a:pt x="1380" y="0"/>
                    <a:pt x="1316" y="0"/>
                  </a:cubicBezTo>
                  <a:cubicBezTo>
                    <a:pt x="1215" y="0"/>
                    <a:pt x="1140" y="63"/>
                    <a:pt x="1140" y="153"/>
                  </a:cubicBezTo>
                  <a:cubicBezTo>
                    <a:pt x="1140" y="234"/>
                    <a:pt x="1195" y="275"/>
                    <a:pt x="1261" y="307"/>
                  </a:cubicBezTo>
                  <a:cubicBezTo>
                    <a:pt x="1273" y="312"/>
                    <a:pt x="1322" y="336"/>
                    <a:pt x="1336" y="343"/>
                  </a:cubicBezTo>
                  <a:cubicBezTo>
                    <a:pt x="1378" y="363"/>
                    <a:pt x="1400" y="382"/>
                    <a:pt x="1400" y="417"/>
                  </a:cubicBezTo>
                  <a:cubicBezTo>
                    <a:pt x="1400" y="455"/>
                    <a:pt x="1364" y="487"/>
                    <a:pt x="1310" y="487"/>
                  </a:cubicBezTo>
                  <a:cubicBezTo>
                    <a:pt x="1233" y="487"/>
                    <a:pt x="1192" y="436"/>
                    <a:pt x="1185" y="428"/>
                  </a:cubicBezTo>
                  <a:lnTo>
                    <a:pt x="1117" y="491"/>
                  </a:lnTo>
                  <a:close/>
                  <a:moveTo>
                    <a:pt x="1949" y="0"/>
                  </a:moveTo>
                  <a:lnTo>
                    <a:pt x="1949" y="0"/>
                  </a:lnTo>
                  <a:cubicBezTo>
                    <a:pt x="1921" y="0"/>
                    <a:pt x="1903" y="19"/>
                    <a:pt x="1903" y="43"/>
                  </a:cubicBezTo>
                  <a:lnTo>
                    <a:pt x="1903" y="531"/>
                  </a:lnTo>
                  <a:cubicBezTo>
                    <a:pt x="1903" y="555"/>
                    <a:pt x="1924" y="575"/>
                    <a:pt x="1949" y="575"/>
                  </a:cubicBezTo>
                  <a:cubicBezTo>
                    <a:pt x="1972" y="575"/>
                    <a:pt x="1994" y="555"/>
                    <a:pt x="1994" y="531"/>
                  </a:cubicBezTo>
                  <a:lnTo>
                    <a:pt x="1994" y="179"/>
                  </a:lnTo>
                  <a:cubicBezTo>
                    <a:pt x="1994" y="179"/>
                    <a:pt x="2218" y="465"/>
                    <a:pt x="2276" y="541"/>
                  </a:cubicBezTo>
                  <a:cubicBezTo>
                    <a:pt x="2291" y="559"/>
                    <a:pt x="2302" y="576"/>
                    <a:pt x="2328" y="576"/>
                  </a:cubicBezTo>
                  <a:cubicBezTo>
                    <a:pt x="2355" y="576"/>
                    <a:pt x="2373" y="556"/>
                    <a:pt x="2373" y="532"/>
                  </a:cubicBezTo>
                  <a:lnTo>
                    <a:pt x="2373" y="3"/>
                  </a:lnTo>
                  <a:lnTo>
                    <a:pt x="2282" y="3"/>
                  </a:lnTo>
                  <a:lnTo>
                    <a:pt x="2282" y="398"/>
                  </a:lnTo>
                  <a:cubicBezTo>
                    <a:pt x="2282" y="398"/>
                    <a:pt x="2033" y="78"/>
                    <a:pt x="1998" y="34"/>
                  </a:cubicBezTo>
                  <a:cubicBezTo>
                    <a:pt x="1982" y="13"/>
                    <a:pt x="1970" y="0"/>
                    <a:pt x="1949" y="0"/>
                  </a:cubicBezTo>
                  <a:close/>
                  <a:moveTo>
                    <a:pt x="342" y="264"/>
                  </a:moveTo>
                  <a:lnTo>
                    <a:pt x="342" y="264"/>
                  </a:lnTo>
                  <a:cubicBezTo>
                    <a:pt x="358" y="272"/>
                    <a:pt x="426" y="301"/>
                    <a:pt x="426" y="402"/>
                  </a:cubicBezTo>
                  <a:cubicBezTo>
                    <a:pt x="426" y="497"/>
                    <a:pt x="355" y="572"/>
                    <a:pt x="252" y="572"/>
                  </a:cubicBezTo>
                  <a:lnTo>
                    <a:pt x="0" y="572"/>
                  </a:lnTo>
                  <a:lnTo>
                    <a:pt x="0" y="47"/>
                  </a:lnTo>
                  <a:cubicBezTo>
                    <a:pt x="0" y="20"/>
                    <a:pt x="18" y="2"/>
                    <a:pt x="44" y="2"/>
                  </a:cubicBezTo>
                  <a:lnTo>
                    <a:pt x="241" y="2"/>
                  </a:lnTo>
                  <a:cubicBezTo>
                    <a:pt x="336" y="2"/>
                    <a:pt x="399" y="59"/>
                    <a:pt x="399" y="147"/>
                  </a:cubicBezTo>
                  <a:cubicBezTo>
                    <a:pt x="399" y="221"/>
                    <a:pt x="357" y="254"/>
                    <a:pt x="342" y="264"/>
                  </a:cubicBezTo>
                  <a:close/>
                  <a:moveTo>
                    <a:pt x="91" y="230"/>
                  </a:moveTo>
                  <a:lnTo>
                    <a:pt x="91" y="230"/>
                  </a:lnTo>
                  <a:lnTo>
                    <a:pt x="229" y="230"/>
                  </a:lnTo>
                  <a:cubicBezTo>
                    <a:pt x="278" y="230"/>
                    <a:pt x="306" y="199"/>
                    <a:pt x="306" y="161"/>
                  </a:cubicBezTo>
                  <a:cubicBezTo>
                    <a:pt x="306" y="123"/>
                    <a:pt x="281" y="92"/>
                    <a:pt x="229" y="92"/>
                  </a:cubicBezTo>
                  <a:lnTo>
                    <a:pt x="91" y="92"/>
                  </a:lnTo>
                  <a:lnTo>
                    <a:pt x="91" y="230"/>
                  </a:lnTo>
                  <a:close/>
                  <a:moveTo>
                    <a:pt x="235" y="484"/>
                  </a:moveTo>
                  <a:lnTo>
                    <a:pt x="235" y="484"/>
                  </a:lnTo>
                  <a:cubicBezTo>
                    <a:pt x="300" y="484"/>
                    <a:pt x="333" y="446"/>
                    <a:pt x="333" y="400"/>
                  </a:cubicBezTo>
                  <a:cubicBezTo>
                    <a:pt x="333" y="352"/>
                    <a:pt x="301" y="314"/>
                    <a:pt x="235" y="314"/>
                  </a:cubicBezTo>
                  <a:lnTo>
                    <a:pt x="91" y="314"/>
                  </a:lnTo>
                  <a:lnTo>
                    <a:pt x="91" y="484"/>
                  </a:lnTo>
                  <a:lnTo>
                    <a:pt x="235" y="484"/>
                  </a:lnTo>
                  <a:close/>
                  <a:moveTo>
                    <a:pt x="2858" y="92"/>
                  </a:moveTo>
                  <a:lnTo>
                    <a:pt x="2858" y="92"/>
                  </a:lnTo>
                  <a:cubicBezTo>
                    <a:pt x="2888" y="92"/>
                    <a:pt x="2906" y="73"/>
                    <a:pt x="2906" y="48"/>
                  </a:cubicBezTo>
                  <a:cubicBezTo>
                    <a:pt x="2906" y="23"/>
                    <a:pt x="2887" y="3"/>
                    <a:pt x="2858" y="3"/>
                  </a:cubicBezTo>
                  <a:lnTo>
                    <a:pt x="2576" y="3"/>
                  </a:lnTo>
                  <a:cubicBezTo>
                    <a:pt x="2551" y="3"/>
                    <a:pt x="2532" y="22"/>
                    <a:pt x="2532" y="48"/>
                  </a:cubicBezTo>
                  <a:lnTo>
                    <a:pt x="2532" y="529"/>
                  </a:lnTo>
                  <a:cubicBezTo>
                    <a:pt x="2532" y="554"/>
                    <a:pt x="2551" y="573"/>
                    <a:pt x="2576" y="573"/>
                  </a:cubicBezTo>
                  <a:lnTo>
                    <a:pt x="2903" y="573"/>
                  </a:lnTo>
                  <a:lnTo>
                    <a:pt x="2903" y="484"/>
                  </a:lnTo>
                  <a:lnTo>
                    <a:pt x="2624" y="484"/>
                  </a:lnTo>
                  <a:lnTo>
                    <a:pt x="2624" y="318"/>
                  </a:lnTo>
                  <a:lnTo>
                    <a:pt x="2834" y="318"/>
                  </a:lnTo>
                  <a:cubicBezTo>
                    <a:pt x="2866" y="318"/>
                    <a:pt x="2884" y="299"/>
                    <a:pt x="2884" y="274"/>
                  </a:cubicBezTo>
                  <a:cubicBezTo>
                    <a:pt x="2884" y="248"/>
                    <a:pt x="2867" y="229"/>
                    <a:pt x="2834" y="229"/>
                  </a:cubicBezTo>
                  <a:lnTo>
                    <a:pt x="2624" y="229"/>
                  </a:lnTo>
                  <a:lnTo>
                    <a:pt x="2624" y="92"/>
                  </a:lnTo>
                  <a:lnTo>
                    <a:pt x="2858" y="92"/>
                  </a:lnTo>
                  <a:close/>
                  <a:moveTo>
                    <a:pt x="634" y="346"/>
                  </a:moveTo>
                  <a:lnTo>
                    <a:pt x="634" y="346"/>
                  </a:lnTo>
                  <a:lnTo>
                    <a:pt x="634" y="44"/>
                  </a:lnTo>
                  <a:cubicBezTo>
                    <a:pt x="634" y="19"/>
                    <a:pt x="616" y="0"/>
                    <a:pt x="588" y="0"/>
                  </a:cubicBezTo>
                  <a:cubicBezTo>
                    <a:pt x="560" y="0"/>
                    <a:pt x="542" y="19"/>
                    <a:pt x="542" y="44"/>
                  </a:cubicBezTo>
                  <a:lnTo>
                    <a:pt x="542" y="343"/>
                  </a:lnTo>
                  <a:cubicBezTo>
                    <a:pt x="542" y="471"/>
                    <a:pt x="632" y="575"/>
                    <a:pt x="776" y="575"/>
                  </a:cubicBezTo>
                  <a:cubicBezTo>
                    <a:pt x="920" y="575"/>
                    <a:pt x="1010" y="471"/>
                    <a:pt x="1010" y="343"/>
                  </a:cubicBezTo>
                  <a:lnTo>
                    <a:pt x="1010" y="2"/>
                  </a:lnTo>
                  <a:lnTo>
                    <a:pt x="918" y="2"/>
                  </a:lnTo>
                  <a:lnTo>
                    <a:pt x="918" y="345"/>
                  </a:lnTo>
                  <a:cubicBezTo>
                    <a:pt x="918" y="421"/>
                    <a:pt x="867" y="488"/>
                    <a:pt x="776" y="488"/>
                  </a:cubicBezTo>
                  <a:cubicBezTo>
                    <a:pt x="684" y="489"/>
                    <a:pt x="634" y="422"/>
                    <a:pt x="634" y="346"/>
                  </a:cubicBezTo>
                  <a:close/>
                  <a:moveTo>
                    <a:pt x="1676" y="0"/>
                  </a:moveTo>
                  <a:lnTo>
                    <a:pt x="1676" y="0"/>
                  </a:lnTo>
                  <a:cubicBezTo>
                    <a:pt x="1704" y="0"/>
                    <a:pt x="1722" y="19"/>
                    <a:pt x="1722" y="44"/>
                  </a:cubicBezTo>
                  <a:lnTo>
                    <a:pt x="1722" y="572"/>
                  </a:lnTo>
                  <a:lnTo>
                    <a:pt x="1630" y="572"/>
                  </a:lnTo>
                  <a:lnTo>
                    <a:pt x="1630" y="44"/>
                  </a:lnTo>
                  <a:cubicBezTo>
                    <a:pt x="1630" y="19"/>
                    <a:pt x="1647" y="0"/>
                    <a:pt x="1676" y="0"/>
                  </a:cubicBezTo>
                  <a:close/>
                </a:path>
              </a:pathLst>
            </a:custGeom>
            <a:grp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n-US"/>
            </a:p>
          </p:txBody>
        </p:sp>
      </p:grpSp>
      <p:sp>
        <p:nvSpPr>
          <p:cNvPr id="2" name="Text Placeholder 2">
            <a:extLst>
              <a:ext uri="{FF2B5EF4-FFF2-40B4-BE49-F238E27FC236}">
                <a16:creationId xmlns:a16="http://schemas.microsoft.com/office/drawing/2014/main" id="{FD7C8E83-C5C8-A695-DC1B-3E376997B5F3}"/>
              </a:ext>
            </a:extLst>
          </p:cNvPr>
          <p:cNvSpPr>
            <a:spLocks noGrp="1"/>
          </p:cNvSpPr>
          <p:nvPr>
            <p:ph type="body" idx="1"/>
          </p:nvPr>
        </p:nvSpPr>
        <p:spPr>
          <a:xfrm>
            <a:off x="432618" y="4101321"/>
            <a:ext cx="8401818" cy="641350"/>
          </a:xfrm>
          <a:prstGeom prst="rect">
            <a:avLst/>
          </a:prstGeom>
        </p:spPr>
        <p:txBody>
          <a:bodyPr/>
          <a:lstStyle>
            <a:lvl1pPr marL="0" indent="0">
              <a:buNone/>
              <a:defRPr sz="2400">
                <a:solidFill>
                  <a:schemeClr val="accent2"/>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5" name="Title 1">
            <a:extLst>
              <a:ext uri="{FF2B5EF4-FFF2-40B4-BE49-F238E27FC236}">
                <a16:creationId xmlns:a16="http://schemas.microsoft.com/office/drawing/2014/main" id="{CFA85FB5-11D3-CCC2-23B8-58132C743222}"/>
              </a:ext>
            </a:extLst>
          </p:cNvPr>
          <p:cNvSpPr>
            <a:spLocks noGrp="1"/>
          </p:cNvSpPr>
          <p:nvPr>
            <p:ph type="title"/>
          </p:nvPr>
        </p:nvSpPr>
        <p:spPr>
          <a:xfrm>
            <a:off x="422788" y="685800"/>
            <a:ext cx="8411651" cy="2971800"/>
          </a:xfrm>
          <a:prstGeom prst="rect">
            <a:avLst/>
          </a:prstGeom>
        </p:spPr>
        <p:txBody>
          <a:bodyPr anchor="b"/>
          <a:lstStyle>
            <a:lvl1pPr>
              <a:defRPr sz="5400" b="1" i="0">
                <a:solidFill>
                  <a:schemeClr val="bg2"/>
                </a:solidFill>
                <a:latin typeface="Montserrat SemiBold" pitchFamily="2" charset="77"/>
              </a:defRPr>
            </a:lvl1pPr>
          </a:lstStyle>
          <a:p>
            <a:r>
              <a:rPr lang="en-US"/>
              <a:t>Click to edit Master title style</a:t>
            </a:r>
          </a:p>
        </p:txBody>
      </p:sp>
    </p:spTree>
    <p:extLst>
      <p:ext uri="{BB962C8B-B14F-4D97-AF65-F5344CB8AC3E}">
        <p14:creationId xmlns:p14="http://schemas.microsoft.com/office/powerpoint/2010/main" val="79244967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ntent, Bleed 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8194D4-3A07-4F1A-882C-C717883D954E}"/>
              </a:ext>
            </a:extLst>
          </p:cNvPr>
          <p:cNvSpPr>
            <a:spLocks noGrp="1"/>
          </p:cNvSpPr>
          <p:nvPr>
            <p:ph type="title" hasCustomPrompt="1"/>
          </p:nvPr>
        </p:nvSpPr>
        <p:spPr>
          <a:xfrm>
            <a:off x="429488" y="685800"/>
            <a:ext cx="11305313" cy="822960"/>
          </a:xfrm>
        </p:spPr>
        <p:txBody>
          <a:bodyPr/>
          <a:lstStyle>
            <a:lvl1pPr>
              <a:defRPr/>
            </a:lvl1pPr>
          </a:lstStyle>
          <a:p>
            <a:r>
              <a:rPr lang="en-US"/>
              <a:t>Slide title, 32pt </a:t>
            </a:r>
            <a:r>
              <a:rPr lang="en-GB"/>
              <a:t>Regular</a:t>
            </a:r>
            <a:endParaRPr lang="en-US"/>
          </a:p>
        </p:txBody>
      </p:sp>
      <p:sp>
        <p:nvSpPr>
          <p:cNvPr id="3" name="Content Placeholder 2">
            <a:extLst>
              <a:ext uri="{FF2B5EF4-FFF2-40B4-BE49-F238E27FC236}">
                <a16:creationId xmlns:a16="http://schemas.microsoft.com/office/drawing/2014/main" id="{4A3FEAB6-B0ED-45C1-BC37-9D92F6B30BE6}"/>
              </a:ext>
            </a:extLst>
          </p:cNvPr>
          <p:cNvSpPr>
            <a:spLocks noGrp="1"/>
          </p:cNvSpPr>
          <p:nvPr>
            <p:ph sz="half" idx="1" hasCustomPrompt="1"/>
          </p:nvPr>
        </p:nvSpPr>
        <p:spPr>
          <a:xfrm>
            <a:off x="445207" y="1645920"/>
            <a:ext cx="5486400" cy="4663440"/>
          </a:xfrm>
        </p:spPr>
        <p:txBody>
          <a:bodyPr/>
          <a:lstStyle>
            <a:lvl1pPr>
              <a:defRPr/>
            </a:lvl1pPr>
          </a:lstStyle>
          <a:p>
            <a:pPr lvl="0"/>
            <a:r>
              <a:rPr lang="en-US"/>
              <a:t>First level, 20pt Regular</a:t>
            </a:r>
          </a:p>
          <a:p>
            <a:pPr lvl="1"/>
            <a:r>
              <a:rPr lang="en-US"/>
              <a:t>Second level, 18pt</a:t>
            </a:r>
          </a:p>
          <a:p>
            <a:pPr lvl="2"/>
            <a:r>
              <a:rPr lang="en-US"/>
              <a:t>Third level, 16pt</a:t>
            </a:r>
          </a:p>
          <a:p>
            <a:pPr lvl="3"/>
            <a:r>
              <a:rPr lang="en-US"/>
              <a:t>Fourth level, 14pt</a:t>
            </a:r>
          </a:p>
          <a:p>
            <a:pPr lvl="4"/>
            <a:r>
              <a:rPr lang="en-US"/>
              <a:t>Fifth level, 12pt Bold, use for captions</a:t>
            </a:r>
          </a:p>
        </p:txBody>
      </p:sp>
      <p:sp>
        <p:nvSpPr>
          <p:cNvPr id="6" name="Footer Placeholder 5">
            <a:extLst>
              <a:ext uri="{FF2B5EF4-FFF2-40B4-BE49-F238E27FC236}">
                <a16:creationId xmlns:a16="http://schemas.microsoft.com/office/drawing/2014/main" id="{6666C29D-03F7-467C-85B3-28F7651F8315}"/>
              </a:ext>
            </a:extLst>
          </p:cNvPr>
          <p:cNvSpPr>
            <a:spLocks noGrp="1"/>
          </p:cNvSpPr>
          <p:nvPr>
            <p:ph type="ftr" sz="quarter" idx="11"/>
          </p:nvPr>
        </p:nvSpPr>
        <p:spPr/>
        <p:txBody>
          <a:bodyPr/>
          <a:lstStyle/>
          <a:p>
            <a:r>
              <a:rPr lang="en-US"/>
              <a:t>Copyright © 2021 Comcast Business. All rights reserved.</a:t>
            </a:r>
          </a:p>
        </p:txBody>
      </p:sp>
      <p:sp>
        <p:nvSpPr>
          <p:cNvPr id="7" name="Slide Number Placeholder 6">
            <a:extLst>
              <a:ext uri="{FF2B5EF4-FFF2-40B4-BE49-F238E27FC236}">
                <a16:creationId xmlns:a16="http://schemas.microsoft.com/office/drawing/2014/main" id="{51B86CBB-8A54-4818-8CC6-A9598ED3AFFA}"/>
              </a:ext>
            </a:extLst>
          </p:cNvPr>
          <p:cNvSpPr>
            <a:spLocks noGrp="1"/>
          </p:cNvSpPr>
          <p:nvPr>
            <p:ph type="sldNum" sz="quarter" idx="12"/>
          </p:nvPr>
        </p:nvSpPr>
        <p:spPr/>
        <p:txBody>
          <a:bodyPr/>
          <a:lstStyle/>
          <a:p>
            <a:fld id="{A07A7439-3E0E-4A6B-9524-3A8EBA819993}" type="slidenum">
              <a:rPr lang="en-US" smtClean="0"/>
              <a:t>‹#›</a:t>
            </a:fld>
            <a:endParaRPr lang="en-US"/>
          </a:p>
        </p:txBody>
      </p:sp>
      <p:sp>
        <p:nvSpPr>
          <p:cNvPr id="8" name="Picture Placeholder 7">
            <a:extLst>
              <a:ext uri="{FF2B5EF4-FFF2-40B4-BE49-F238E27FC236}">
                <a16:creationId xmlns:a16="http://schemas.microsoft.com/office/drawing/2014/main" id="{A5F4F8FD-61DD-44EC-9087-43DFD72B3DE5}"/>
              </a:ext>
            </a:extLst>
          </p:cNvPr>
          <p:cNvSpPr>
            <a:spLocks noGrp="1"/>
          </p:cNvSpPr>
          <p:nvPr>
            <p:ph type="pic" sz="quarter" idx="13" hasCustomPrompt="1"/>
          </p:nvPr>
        </p:nvSpPr>
        <p:spPr>
          <a:xfrm>
            <a:off x="6254496" y="1645920"/>
            <a:ext cx="5943600" cy="4663440"/>
          </a:xfrm>
          <a:solidFill>
            <a:schemeClr val="bg1">
              <a:lumMod val="95000"/>
            </a:schemeClr>
          </a:solidFill>
        </p:spPr>
        <p:txBody>
          <a:bodyPr lIns="1920240" tIns="1188720" rIns="1828800"/>
          <a:lstStyle>
            <a:lvl1pPr marL="0" indent="0">
              <a:buNone/>
              <a:defRPr>
                <a:solidFill>
                  <a:schemeClr val="accent1"/>
                </a:solidFill>
              </a:defRPr>
            </a:lvl1pPr>
          </a:lstStyle>
          <a:p>
            <a:r>
              <a:rPr lang="en-GB"/>
              <a:t>Drag picture to placeholder or click icon to add.</a:t>
            </a:r>
          </a:p>
        </p:txBody>
      </p:sp>
      <p:sp>
        <p:nvSpPr>
          <p:cNvPr id="9" name="Text Placeholder 8">
            <a:extLst>
              <a:ext uri="{FF2B5EF4-FFF2-40B4-BE49-F238E27FC236}">
                <a16:creationId xmlns:a16="http://schemas.microsoft.com/office/drawing/2014/main" id="{AE0115B4-FCFA-490D-A36E-34D940740EAB}"/>
              </a:ext>
            </a:extLst>
          </p:cNvPr>
          <p:cNvSpPr>
            <a:spLocks noGrp="1"/>
          </p:cNvSpPr>
          <p:nvPr>
            <p:ph type="body" sz="quarter" idx="14" hasCustomPrompt="1"/>
          </p:nvPr>
        </p:nvSpPr>
        <p:spPr>
          <a:xfrm>
            <a:off x="457200" y="411480"/>
            <a:ext cx="6400800" cy="182880"/>
          </a:xfrm>
        </p:spPr>
        <p:txBody>
          <a:bodyPr/>
          <a:lstStyle>
            <a:lvl1pPr marL="0" indent="0">
              <a:buNone/>
              <a:defRPr sz="1200">
                <a:solidFill>
                  <a:schemeClr val="accent1"/>
                </a:solidFill>
              </a:defRPr>
            </a:lvl1pPr>
            <a:lvl2pPr marL="228600" indent="0">
              <a:buNone/>
              <a:defRPr/>
            </a:lvl2pPr>
          </a:lstStyle>
          <a:p>
            <a:pPr lvl="0"/>
            <a:r>
              <a:rPr lang="en-US"/>
              <a:t>Optional subtitle, 12pt Regular</a:t>
            </a:r>
          </a:p>
        </p:txBody>
      </p:sp>
    </p:spTree>
    <p:extLst>
      <p:ext uri="{BB962C8B-B14F-4D97-AF65-F5344CB8AC3E}">
        <p14:creationId xmlns:p14="http://schemas.microsoft.com/office/powerpoint/2010/main" val="402800888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ntent, Bleed L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8194D4-3A07-4F1A-882C-C717883D954E}"/>
              </a:ext>
            </a:extLst>
          </p:cNvPr>
          <p:cNvSpPr>
            <a:spLocks noGrp="1"/>
          </p:cNvSpPr>
          <p:nvPr>
            <p:ph type="title" hasCustomPrompt="1"/>
          </p:nvPr>
        </p:nvSpPr>
        <p:spPr>
          <a:xfrm>
            <a:off x="429488" y="685800"/>
            <a:ext cx="11305313" cy="822960"/>
          </a:xfrm>
        </p:spPr>
        <p:txBody>
          <a:bodyPr/>
          <a:lstStyle>
            <a:lvl1pPr>
              <a:defRPr/>
            </a:lvl1pPr>
          </a:lstStyle>
          <a:p>
            <a:r>
              <a:rPr lang="en-US"/>
              <a:t>Slide title, 32pt </a:t>
            </a:r>
            <a:r>
              <a:rPr lang="en-GB"/>
              <a:t>Regular</a:t>
            </a:r>
            <a:endParaRPr lang="en-US"/>
          </a:p>
        </p:txBody>
      </p:sp>
      <p:sp>
        <p:nvSpPr>
          <p:cNvPr id="4" name="Content Placeholder 3">
            <a:extLst>
              <a:ext uri="{FF2B5EF4-FFF2-40B4-BE49-F238E27FC236}">
                <a16:creationId xmlns:a16="http://schemas.microsoft.com/office/drawing/2014/main" id="{1582D711-78AA-40DF-9ED8-0A7123D2D990}"/>
              </a:ext>
            </a:extLst>
          </p:cNvPr>
          <p:cNvSpPr>
            <a:spLocks noGrp="1"/>
          </p:cNvSpPr>
          <p:nvPr>
            <p:ph sz="half" idx="2" hasCustomPrompt="1"/>
          </p:nvPr>
        </p:nvSpPr>
        <p:spPr>
          <a:xfrm>
            <a:off x="6245350" y="1645920"/>
            <a:ext cx="5486400" cy="4663440"/>
          </a:xfrm>
        </p:spPr>
        <p:txBody>
          <a:bodyPr/>
          <a:lstStyle>
            <a:lvl1pPr>
              <a:defRPr/>
            </a:lvl1pPr>
          </a:lstStyle>
          <a:p>
            <a:pPr lvl="0"/>
            <a:r>
              <a:rPr lang="en-US"/>
              <a:t>First level, 20pt Regular</a:t>
            </a:r>
          </a:p>
          <a:p>
            <a:pPr lvl="1"/>
            <a:r>
              <a:rPr lang="en-US"/>
              <a:t>Second level, 18pt</a:t>
            </a:r>
          </a:p>
          <a:p>
            <a:pPr lvl="2"/>
            <a:r>
              <a:rPr lang="en-US"/>
              <a:t>Third level, 16pt</a:t>
            </a:r>
          </a:p>
          <a:p>
            <a:pPr lvl="3"/>
            <a:r>
              <a:rPr lang="en-US"/>
              <a:t>Fourth level, 14pt</a:t>
            </a:r>
          </a:p>
          <a:p>
            <a:pPr lvl="4"/>
            <a:r>
              <a:rPr lang="en-US"/>
              <a:t>Fifth level, 12pt Bold, use for captions</a:t>
            </a:r>
          </a:p>
        </p:txBody>
      </p:sp>
      <p:sp>
        <p:nvSpPr>
          <p:cNvPr id="6" name="Footer Placeholder 5">
            <a:extLst>
              <a:ext uri="{FF2B5EF4-FFF2-40B4-BE49-F238E27FC236}">
                <a16:creationId xmlns:a16="http://schemas.microsoft.com/office/drawing/2014/main" id="{6666C29D-03F7-467C-85B3-28F7651F8315}"/>
              </a:ext>
            </a:extLst>
          </p:cNvPr>
          <p:cNvSpPr>
            <a:spLocks noGrp="1"/>
          </p:cNvSpPr>
          <p:nvPr>
            <p:ph type="ftr" sz="quarter" idx="11"/>
          </p:nvPr>
        </p:nvSpPr>
        <p:spPr/>
        <p:txBody>
          <a:bodyPr/>
          <a:lstStyle/>
          <a:p>
            <a:r>
              <a:rPr lang="en-US"/>
              <a:t>Copyright © 2021 Comcast Business. All rights reserved.</a:t>
            </a:r>
          </a:p>
        </p:txBody>
      </p:sp>
      <p:sp>
        <p:nvSpPr>
          <p:cNvPr id="7" name="Slide Number Placeholder 6">
            <a:extLst>
              <a:ext uri="{FF2B5EF4-FFF2-40B4-BE49-F238E27FC236}">
                <a16:creationId xmlns:a16="http://schemas.microsoft.com/office/drawing/2014/main" id="{51B86CBB-8A54-4818-8CC6-A9598ED3AFFA}"/>
              </a:ext>
            </a:extLst>
          </p:cNvPr>
          <p:cNvSpPr>
            <a:spLocks noGrp="1"/>
          </p:cNvSpPr>
          <p:nvPr>
            <p:ph type="sldNum" sz="quarter" idx="12"/>
          </p:nvPr>
        </p:nvSpPr>
        <p:spPr/>
        <p:txBody>
          <a:bodyPr/>
          <a:lstStyle/>
          <a:p>
            <a:fld id="{A07A7439-3E0E-4A6B-9524-3A8EBA819993}" type="slidenum">
              <a:rPr lang="en-US" smtClean="0"/>
              <a:t>‹#›</a:t>
            </a:fld>
            <a:endParaRPr lang="en-US"/>
          </a:p>
        </p:txBody>
      </p:sp>
      <p:sp>
        <p:nvSpPr>
          <p:cNvPr id="8" name="Picture Placeholder 7">
            <a:extLst>
              <a:ext uri="{FF2B5EF4-FFF2-40B4-BE49-F238E27FC236}">
                <a16:creationId xmlns:a16="http://schemas.microsoft.com/office/drawing/2014/main" id="{0A142CA2-68E6-4816-A4B2-22749CD73D0F}"/>
              </a:ext>
            </a:extLst>
          </p:cNvPr>
          <p:cNvSpPr>
            <a:spLocks noGrp="1"/>
          </p:cNvSpPr>
          <p:nvPr>
            <p:ph type="pic" sz="quarter" idx="13" hasCustomPrompt="1"/>
          </p:nvPr>
        </p:nvSpPr>
        <p:spPr>
          <a:xfrm>
            <a:off x="-9144" y="1645920"/>
            <a:ext cx="5943600" cy="4663440"/>
          </a:xfrm>
          <a:solidFill>
            <a:schemeClr val="bg1">
              <a:lumMod val="95000"/>
            </a:schemeClr>
          </a:solidFill>
        </p:spPr>
        <p:txBody>
          <a:bodyPr lIns="1920240" tIns="1188720" rIns="1828800"/>
          <a:lstStyle>
            <a:lvl1pPr marL="0" indent="0">
              <a:buNone/>
              <a:defRPr>
                <a:solidFill>
                  <a:schemeClr val="accent1"/>
                </a:solidFill>
              </a:defRPr>
            </a:lvl1pPr>
          </a:lstStyle>
          <a:p>
            <a:r>
              <a:rPr lang="en-GB"/>
              <a:t>Drag picture to placeholder or click icon to add.</a:t>
            </a:r>
          </a:p>
        </p:txBody>
      </p:sp>
      <p:sp>
        <p:nvSpPr>
          <p:cNvPr id="9" name="Text Placeholder 8">
            <a:extLst>
              <a:ext uri="{FF2B5EF4-FFF2-40B4-BE49-F238E27FC236}">
                <a16:creationId xmlns:a16="http://schemas.microsoft.com/office/drawing/2014/main" id="{EF306773-DA32-4721-BFD8-1CE52FABC375}"/>
              </a:ext>
            </a:extLst>
          </p:cNvPr>
          <p:cNvSpPr>
            <a:spLocks noGrp="1"/>
          </p:cNvSpPr>
          <p:nvPr>
            <p:ph type="body" sz="quarter" idx="14" hasCustomPrompt="1"/>
          </p:nvPr>
        </p:nvSpPr>
        <p:spPr>
          <a:xfrm>
            <a:off x="457200" y="411480"/>
            <a:ext cx="6400800" cy="182880"/>
          </a:xfrm>
        </p:spPr>
        <p:txBody>
          <a:bodyPr/>
          <a:lstStyle>
            <a:lvl1pPr marL="0" indent="0">
              <a:buNone/>
              <a:defRPr sz="1200">
                <a:solidFill>
                  <a:schemeClr val="accent1"/>
                </a:solidFill>
              </a:defRPr>
            </a:lvl1pPr>
            <a:lvl2pPr marL="228600" indent="0">
              <a:buNone/>
              <a:defRPr/>
            </a:lvl2pPr>
          </a:lstStyle>
          <a:p>
            <a:pPr lvl="0"/>
            <a:r>
              <a:rPr lang="en-US"/>
              <a:t>Optional subtitle, 12pt Regular</a:t>
            </a:r>
          </a:p>
        </p:txBody>
      </p:sp>
    </p:spTree>
    <p:extLst>
      <p:ext uri="{BB962C8B-B14F-4D97-AF65-F5344CB8AC3E}">
        <p14:creationId xmlns:p14="http://schemas.microsoft.com/office/powerpoint/2010/main" val="380281134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8194D4-3A07-4F1A-882C-C717883D954E}"/>
              </a:ext>
            </a:extLst>
          </p:cNvPr>
          <p:cNvSpPr>
            <a:spLocks noGrp="1"/>
          </p:cNvSpPr>
          <p:nvPr>
            <p:ph type="title" hasCustomPrompt="1"/>
          </p:nvPr>
        </p:nvSpPr>
        <p:spPr>
          <a:xfrm>
            <a:off x="429488" y="685800"/>
            <a:ext cx="11305313" cy="822960"/>
          </a:xfrm>
        </p:spPr>
        <p:txBody>
          <a:bodyPr/>
          <a:lstStyle>
            <a:lvl1pPr>
              <a:defRPr/>
            </a:lvl1pPr>
          </a:lstStyle>
          <a:p>
            <a:r>
              <a:rPr lang="en-US"/>
              <a:t>Slide title, 32pt </a:t>
            </a:r>
            <a:r>
              <a:rPr lang="en-GB"/>
              <a:t>Regular</a:t>
            </a:r>
            <a:endParaRPr lang="en-US"/>
          </a:p>
        </p:txBody>
      </p:sp>
      <p:sp>
        <p:nvSpPr>
          <p:cNvPr id="3" name="Content Placeholder 2">
            <a:extLst>
              <a:ext uri="{FF2B5EF4-FFF2-40B4-BE49-F238E27FC236}">
                <a16:creationId xmlns:a16="http://schemas.microsoft.com/office/drawing/2014/main" id="{4A3FEAB6-B0ED-45C1-BC37-9D92F6B30BE6}"/>
              </a:ext>
            </a:extLst>
          </p:cNvPr>
          <p:cNvSpPr>
            <a:spLocks noGrp="1"/>
          </p:cNvSpPr>
          <p:nvPr>
            <p:ph sz="half" idx="1" hasCustomPrompt="1"/>
          </p:nvPr>
        </p:nvSpPr>
        <p:spPr>
          <a:xfrm>
            <a:off x="445207" y="1673352"/>
            <a:ext cx="3520440" cy="4663440"/>
          </a:xfrm>
        </p:spPr>
        <p:txBody>
          <a:bodyPr/>
          <a:lstStyle>
            <a:lvl1pPr>
              <a:defRPr sz="1800"/>
            </a:lvl1pPr>
            <a:lvl2pPr>
              <a:defRPr sz="1600"/>
            </a:lvl2pPr>
            <a:lvl3pPr>
              <a:defRPr sz="1400"/>
            </a:lvl3pPr>
            <a:lvl4pPr>
              <a:defRPr sz="1200"/>
            </a:lvl4pPr>
            <a:lvl5pPr>
              <a:defRPr/>
            </a:lvl5pPr>
          </a:lstStyle>
          <a:p>
            <a:pPr lvl="0"/>
            <a:r>
              <a:rPr lang="en-US"/>
              <a:t>First level, 18pt Regular</a:t>
            </a:r>
          </a:p>
          <a:p>
            <a:pPr lvl="1"/>
            <a:r>
              <a:rPr lang="en-US"/>
              <a:t>Second level, 16pt</a:t>
            </a:r>
          </a:p>
          <a:p>
            <a:pPr lvl="2"/>
            <a:r>
              <a:rPr lang="en-US"/>
              <a:t>Third level, 14pt</a:t>
            </a:r>
          </a:p>
          <a:p>
            <a:pPr lvl="3"/>
            <a:r>
              <a:rPr lang="en-US"/>
              <a:t>Fourth level, 12pt</a:t>
            </a:r>
          </a:p>
          <a:p>
            <a:pPr lvl="4"/>
            <a:r>
              <a:rPr lang="en-US"/>
              <a:t>Fifth level, 12pt Bold, use for captions</a:t>
            </a:r>
          </a:p>
        </p:txBody>
      </p:sp>
      <p:sp>
        <p:nvSpPr>
          <p:cNvPr id="4" name="Content Placeholder 3">
            <a:extLst>
              <a:ext uri="{FF2B5EF4-FFF2-40B4-BE49-F238E27FC236}">
                <a16:creationId xmlns:a16="http://schemas.microsoft.com/office/drawing/2014/main" id="{1582D711-78AA-40DF-9ED8-0A7123D2D990}"/>
              </a:ext>
            </a:extLst>
          </p:cNvPr>
          <p:cNvSpPr>
            <a:spLocks noGrp="1"/>
          </p:cNvSpPr>
          <p:nvPr>
            <p:ph sz="half" idx="2" hasCustomPrompt="1"/>
          </p:nvPr>
        </p:nvSpPr>
        <p:spPr>
          <a:xfrm>
            <a:off x="4334255" y="1673352"/>
            <a:ext cx="3520440" cy="4663440"/>
          </a:xfrm>
        </p:spPr>
        <p:txBody>
          <a:bodyPr/>
          <a:lstStyle>
            <a:lvl1pPr>
              <a:defRPr sz="1800"/>
            </a:lvl1pPr>
            <a:lvl2pPr>
              <a:defRPr sz="1600"/>
            </a:lvl2pPr>
            <a:lvl3pPr>
              <a:defRPr sz="1400"/>
            </a:lvl3pPr>
            <a:lvl4pPr>
              <a:defRPr sz="1200"/>
            </a:lvl4pPr>
            <a:lvl5pPr>
              <a:defRPr/>
            </a:lvl5pPr>
          </a:lstStyle>
          <a:p>
            <a:pPr lvl="0"/>
            <a:r>
              <a:rPr lang="en-US"/>
              <a:t>First level, 18pt Regular</a:t>
            </a:r>
          </a:p>
          <a:p>
            <a:pPr lvl="1"/>
            <a:r>
              <a:rPr lang="en-US"/>
              <a:t>Second level, 16pt</a:t>
            </a:r>
          </a:p>
          <a:p>
            <a:pPr lvl="2"/>
            <a:r>
              <a:rPr lang="en-US"/>
              <a:t>Third level, 14pt</a:t>
            </a:r>
          </a:p>
          <a:p>
            <a:pPr lvl="3"/>
            <a:r>
              <a:rPr lang="en-US"/>
              <a:t>Fourth level, 12pt</a:t>
            </a:r>
          </a:p>
          <a:p>
            <a:pPr lvl="4"/>
            <a:r>
              <a:rPr lang="en-US"/>
              <a:t>Fifth level, 12pt Bold, use for captions</a:t>
            </a:r>
          </a:p>
        </p:txBody>
      </p:sp>
      <p:sp>
        <p:nvSpPr>
          <p:cNvPr id="6" name="Footer Placeholder 5">
            <a:extLst>
              <a:ext uri="{FF2B5EF4-FFF2-40B4-BE49-F238E27FC236}">
                <a16:creationId xmlns:a16="http://schemas.microsoft.com/office/drawing/2014/main" id="{6666C29D-03F7-467C-85B3-28F7651F8315}"/>
              </a:ext>
            </a:extLst>
          </p:cNvPr>
          <p:cNvSpPr>
            <a:spLocks noGrp="1"/>
          </p:cNvSpPr>
          <p:nvPr>
            <p:ph type="ftr" sz="quarter" idx="11"/>
          </p:nvPr>
        </p:nvSpPr>
        <p:spPr/>
        <p:txBody>
          <a:bodyPr/>
          <a:lstStyle/>
          <a:p>
            <a:r>
              <a:rPr lang="en-US"/>
              <a:t>Copyright © 2021 Comcast Business. All rights reserved.</a:t>
            </a:r>
          </a:p>
        </p:txBody>
      </p:sp>
      <p:sp>
        <p:nvSpPr>
          <p:cNvPr id="7" name="Slide Number Placeholder 6">
            <a:extLst>
              <a:ext uri="{FF2B5EF4-FFF2-40B4-BE49-F238E27FC236}">
                <a16:creationId xmlns:a16="http://schemas.microsoft.com/office/drawing/2014/main" id="{51B86CBB-8A54-4818-8CC6-A9598ED3AFFA}"/>
              </a:ext>
            </a:extLst>
          </p:cNvPr>
          <p:cNvSpPr>
            <a:spLocks noGrp="1"/>
          </p:cNvSpPr>
          <p:nvPr>
            <p:ph type="sldNum" sz="quarter" idx="12"/>
          </p:nvPr>
        </p:nvSpPr>
        <p:spPr/>
        <p:txBody>
          <a:bodyPr/>
          <a:lstStyle/>
          <a:p>
            <a:fld id="{A07A7439-3E0E-4A6B-9524-3A8EBA819993}" type="slidenum">
              <a:rPr lang="en-US" smtClean="0"/>
              <a:t>‹#›</a:t>
            </a:fld>
            <a:endParaRPr lang="en-US"/>
          </a:p>
        </p:txBody>
      </p:sp>
      <p:sp>
        <p:nvSpPr>
          <p:cNvPr id="8" name="Content Placeholder 3">
            <a:extLst>
              <a:ext uri="{FF2B5EF4-FFF2-40B4-BE49-F238E27FC236}">
                <a16:creationId xmlns:a16="http://schemas.microsoft.com/office/drawing/2014/main" id="{AB7BE119-4BE0-4EFE-876C-84493FD13122}"/>
              </a:ext>
            </a:extLst>
          </p:cNvPr>
          <p:cNvSpPr>
            <a:spLocks noGrp="1"/>
          </p:cNvSpPr>
          <p:nvPr>
            <p:ph sz="half" idx="13" hasCustomPrompt="1"/>
          </p:nvPr>
        </p:nvSpPr>
        <p:spPr>
          <a:xfrm>
            <a:off x="8211310" y="1673352"/>
            <a:ext cx="3520440" cy="4663440"/>
          </a:xfrm>
        </p:spPr>
        <p:txBody>
          <a:bodyPr/>
          <a:lstStyle>
            <a:lvl1pPr>
              <a:defRPr sz="1800"/>
            </a:lvl1pPr>
            <a:lvl2pPr>
              <a:defRPr sz="1600"/>
            </a:lvl2pPr>
            <a:lvl3pPr>
              <a:defRPr sz="1400"/>
            </a:lvl3pPr>
            <a:lvl4pPr>
              <a:defRPr sz="1200"/>
            </a:lvl4pPr>
            <a:lvl5pPr>
              <a:defRPr/>
            </a:lvl5pPr>
          </a:lstStyle>
          <a:p>
            <a:pPr lvl="0"/>
            <a:r>
              <a:rPr lang="en-US"/>
              <a:t>First level, 18pt Regular</a:t>
            </a:r>
          </a:p>
          <a:p>
            <a:pPr lvl="1"/>
            <a:r>
              <a:rPr lang="en-US"/>
              <a:t>Second level, 16pt</a:t>
            </a:r>
          </a:p>
          <a:p>
            <a:pPr lvl="2"/>
            <a:r>
              <a:rPr lang="en-US"/>
              <a:t>Third level, 14pt</a:t>
            </a:r>
          </a:p>
          <a:p>
            <a:pPr lvl="3"/>
            <a:r>
              <a:rPr lang="en-US"/>
              <a:t>Fourth level, 12pt</a:t>
            </a:r>
          </a:p>
          <a:p>
            <a:pPr lvl="4"/>
            <a:r>
              <a:rPr lang="en-US"/>
              <a:t>Fifth level, 12pt Bold, use for captions</a:t>
            </a:r>
          </a:p>
        </p:txBody>
      </p:sp>
      <p:sp>
        <p:nvSpPr>
          <p:cNvPr id="9" name="Text Placeholder 8">
            <a:extLst>
              <a:ext uri="{FF2B5EF4-FFF2-40B4-BE49-F238E27FC236}">
                <a16:creationId xmlns:a16="http://schemas.microsoft.com/office/drawing/2014/main" id="{3956D059-1F18-4675-9285-602EC3522396}"/>
              </a:ext>
            </a:extLst>
          </p:cNvPr>
          <p:cNvSpPr>
            <a:spLocks noGrp="1"/>
          </p:cNvSpPr>
          <p:nvPr>
            <p:ph type="body" sz="quarter" idx="14" hasCustomPrompt="1"/>
          </p:nvPr>
        </p:nvSpPr>
        <p:spPr>
          <a:xfrm>
            <a:off x="457200" y="411480"/>
            <a:ext cx="6400800" cy="182880"/>
          </a:xfrm>
        </p:spPr>
        <p:txBody>
          <a:bodyPr/>
          <a:lstStyle>
            <a:lvl1pPr marL="0" indent="0">
              <a:buNone/>
              <a:defRPr sz="1200">
                <a:solidFill>
                  <a:schemeClr val="accent1"/>
                </a:solidFill>
              </a:defRPr>
            </a:lvl1pPr>
            <a:lvl2pPr marL="228600" indent="0">
              <a:buNone/>
              <a:defRPr/>
            </a:lvl2pPr>
          </a:lstStyle>
          <a:p>
            <a:pPr lvl="0"/>
            <a:r>
              <a:rPr lang="en-US"/>
              <a:t>Optional subtitle, 12pt Regular</a:t>
            </a:r>
          </a:p>
        </p:txBody>
      </p:sp>
    </p:spTree>
    <p:extLst>
      <p:ext uri="{BB962C8B-B14F-4D97-AF65-F5344CB8AC3E}">
        <p14:creationId xmlns:p14="http://schemas.microsoft.com/office/powerpoint/2010/main" val="350738642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Four Content">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8194D4-3A07-4F1A-882C-C717883D954E}"/>
              </a:ext>
            </a:extLst>
          </p:cNvPr>
          <p:cNvSpPr>
            <a:spLocks noGrp="1"/>
          </p:cNvSpPr>
          <p:nvPr>
            <p:ph type="title" hasCustomPrompt="1"/>
          </p:nvPr>
        </p:nvSpPr>
        <p:spPr>
          <a:xfrm>
            <a:off x="429488" y="685800"/>
            <a:ext cx="11305313" cy="822960"/>
          </a:xfrm>
        </p:spPr>
        <p:txBody>
          <a:bodyPr/>
          <a:lstStyle>
            <a:lvl1pPr>
              <a:defRPr>
                <a:solidFill>
                  <a:schemeClr val="bg1"/>
                </a:solidFill>
              </a:defRPr>
            </a:lvl1pPr>
          </a:lstStyle>
          <a:p>
            <a:r>
              <a:rPr lang="en-US"/>
              <a:t>Slide title, 32pt </a:t>
            </a:r>
            <a:r>
              <a:rPr lang="en-GB"/>
              <a:t>Regular</a:t>
            </a:r>
            <a:endParaRPr lang="en-US"/>
          </a:p>
        </p:txBody>
      </p:sp>
      <p:sp>
        <p:nvSpPr>
          <p:cNvPr id="3" name="Content Placeholder 2">
            <a:extLst>
              <a:ext uri="{FF2B5EF4-FFF2-40B4-BE49-F238E27FC236}">
                <a16:creationId xmlns:a16="http://schemas.microsoft.com/office/drawing/2014/main" id="{4A3FEAB6-B0ED-45C1-BC37-9D92F6B30BE6}"/>
              </a:ext>
            </a:extLst>
          </p:cNvPr>
          <p:cNvSpPr>
            <a:spLocks noGrp="1"/>
          </p:cNvSpPr>
          <p:nvPr>
            <p:ph sz="half" idx="1" hasCustomPrompt="1"/>
          </p:nvPr>
        </p:nvSpPr>
        <p:spPr>
          <a:xfrm>
            <a:off x="454412" y="1709240"/>
            <a:ext cx="2560320" cy="4617720"/>
          </a:xfrm>
        </p:spPr>
        <p:txBody>
          <a:bodyPr/>
          <a:lstStyle>
            <a:lvl1pPr>
              <a:defRPr sz="1400">
                <a:solidFill>
                  <a:schemeClr val="bg1"/>
                </a:solidFill>
              </a:defRPr>
            </a:lvl1pPr>
            <a:lvl2pPr>
              <a:defRPr sz="1200">
                <a:solidFill>
                  <a:schemeClr val="bg1"/>
                </a:solidFill>
              </a:defRPr>
            </a:lvl2pPr>
            <a:lvl3pPr>
              <a:defRPr sz="1100">
                <a:solidFill>
                  <a:schemeClr val="bg1"/>
                </a:solidFill>
              </a:defRPr>
            </a:lvl3pPr>
            <a:lvl4pPr>
              <a:defRPr sz="1100">
                <a:solidFill>
                  <a:schemeClr val="bg1"/>
                </a:solidFill>
              </a:defRPr>
            </a:lvl4pPr>
            <a:lvl5pPr>
              <a:defRPr sz="1100">
                <a:solidFill>
                  <a:schemeClr val="bg1"/>
                </a:solidFill>
              </a:defRPr>
            </a:lvl5pPr>
          </a:lstStyle>
          <a:p>
            <a:pPr lvl="0"/>
            <a:r>
              <a:rPr lang="en-US"/>
              <a:t>First level, 14pt Regular</a:t>
            </a:r>
          </a:p>
          <a:p>
            <a:pPr lvl="1"/>
            <a:r>
              <a:rPr lang="en-US"/>
              <a:t>Second level, 12pt</a:t>
            </a:r>
          </a:p>
          <a:p>
            <a:pPr lvl="2"/>
            <a:r>
              <a:rPr lang="en-US"/>
              <a:t>Third level, 11pt</a:t>
            </a:r>
          </a:p>
          <a:p>
            <a:pPr lvl="3"/>
            <a:r>
              <a:rPr lang="en-US"/>
              <a:t>Fourth level, 11pt</a:t>
            </a:r>
          </a:p>
          <a:p>
            <a:pPr lvl="4"/>
            <a:r>
              <a:rPr lang="en-US"/>
              <a:t>Fifth level, 11pt Bold, use for captions</a:t>
            </a:r>
          </a:p>
        </p:txBody>
      </p:sp>
      <p:sp>
        <p:nvSpPr>
          <p:cNvPr id="4" name="Content Placeholder 3">
            <a:extLst>
              <a:ext uri="{FF2B5EF4-FFF2-40B4-BE49-F238E27FC236}">
                <a16:creationId xmlns:a16="http://schemas.microsoft.com/office/drawing/2014/main" id="{1582D711-78AA-40DF-9ED8-0A7123D2D990}"/>
              </a:ext>
            </a:extLst>
          </p:cNvPr>
          <p:cNvSpPr>
            <a:spLocks noGrp="1"/>
          </p:cNvSpPr>
          <p:nvPr>
            <p:ph sz="half" idx="2" hasCustomPrompt="1"/>
          </p:nvPr>
        </p:nvSpPr>
        <p:spPr>
          <a:xfrm>
            <a:off x="3362960" y="1709241"/>
            <a:ext cx="2560320" cy="4617720"/>
          </a:xfrm>
        </p:spPr>
        <p:txBody>
          <a:bodyPr/>
          <a:lstStyle>
            <a:lvl1pPr>
              <a:defRPr sz="1400">
                <a:solidFill>
                  <a:schemeClr val="bg1"/>
                </a:solidFill>
              </a:defRPr>
            </a:lvl1pPr>
            <a:lvl2pPr>
              <a:defRPr sz="1200">
                <a:solidFill>
                  <a:schemeClr val="bg1"/>
                </a:solidFill>
              </a:defRPr>
            </a:lvl2pPr>
            <a:lvl3pPr>
              <a:defRPr sz="1100">
                <a:solidFill>
                  <a:schemeClr val="bg1"/>
                </a:solidFill>
              </a:defRPr>
            </a:lvl3pPr>
            <a:lvl4pPr>
              <a:defRPr sz="1100">
                <a:solidFill>
                  <a:schemeClr val="bg1"/>
                </a:solidFill>
              </a:defRPr>
            </a:lvl4pPr>
            <a:lvl5pPr>
              <a:defRPr sz="1100">
                <a:solidFill>
                  <a:schemeClr val="bg1"/>
                </a:solidFill>
              </a:defRPr>
            </a:lvl5pPr>
          </a:lstStyle>
          <a:p>
            <a:pPr lvl="0"/>
            <a:r>
              <a:rPr lang="en-US"/>
              <a:t>First level, 14pt Regular</a:t>
            </a:r>
          </a:p>
          <a:p>
            <a:pPr lvl="1"/>
            <a:r>
              <a:rPr lang="en-US"/>
              <a:t>Second level, 12pt</a:t>
            </a:r>
          </a:p>
          <a:p>
            <a:pPr lvl="2"/>
            <a:r>
              <a:rPr lang="en-US"/>
              <a:t>Third level, 11pt</a:t>
            </a:r>
          </a:p>
          <a:p>
            <a:pPr lvl="3"/>
            <a:r>
              <a:rPr lang="en-US"/>
              <a:t>Fourth level, 11pt</a:t>
            </a:r>
          </a:p>
          <a:p>
            <a:pPr lvl="4"/>
            <a:r>
              <a:rPr lang="en-US"/>
              <a:t>Fifth level, 11pt Bold, use for captions</a:t>
            </a:r>
          </a:p>
        </p:txBody>
      </p:sp>
      <p:sp>
        <p:nvSpPr>
          <p:cNvPr id="6" name="Footer Placeholder 5">
            <a:extLst>
              <a:ext uri="{FF2B5EF4-FFF2-40B4-BE49-F238E27FC236}">
                <a16:creationId xmlns:a16="http://schemas.microsoft.com/office/drawing/2014/main" id="{6666C29D-03F7-467C-85B3-28F7651F8315}"/>
              </a:ext>
            </a:extLst>
          </p:cNvPr>
          <p:cNvSpPr>
            <a:spLocks noGrp="1"/>
          </p:cNvSpPr>
          <p:nvPr>
            <p:ph type="ftr" sz="quarter" idx="11"/>
          </p:nvPr>
        </p:nvSpPr>
        <p:spPr/>
        <p:txBody>
          <a:bodyPr/>
          <a:lstStyle>
            <a:lvl1pPr>
              <a:defRPr>
                <a:solidFill>
                  <a:schemeClr val="bg1"/>
                </a:solidFill>
              </a:defRPr>
            </a:lvl1pPr>
          </a:lstStyle>
          <a:p>
            <a:r>
              <a:rPr lang="en-US"/>
              <a:t>Copyright © 2021 Comcast Business. All rights reserved.</a:t>
            </a:r>
          </a:p>
        </p:txBody>
      </p:sp>
      <p:sp>
        <p:nvSpPr>
          <p:cNvPr id="7" name="Slide Number Placeholder 6">
            <a:extLst>
              <a:ext uri="{FF2B5EF4-FFF2-40B4-BE49-F238E27FC236}">
                <a16:creationId xmlns:a16="http://schemas.microsoft.com/office/drawing/2014/main" id="{51B86CBB-8A54-4818-8CC6-A9598ED3AFFA}"/>
              </a:ext>
            </a:extLst>
          </p:cNvPr>
          <p:cNvSpPr>
            <a:spLocks noGrp="1"/>
          </p:cNvSpPr>
          <p:nvPr>
            <p:ph type="sldNum" sz="quarter" idx="12"/>
          </p:nvPr>
        </p:nvSpPr>
        <p:spPr/>
        <p:txBody>
          <a:bodyPr/>
          <a:lstStyle>
            <a:lvl1pPr>
              <a:defRPr>
                <a:solidFill>
                  <a:schemeClr val="bg1"/>
                </a:solidFill>
              </a:defRPr>
            </a:lvl1pPr>
          </a:lstStyle>
          <a:p>
            <a:fld id="{A07A7439-3E0E-4A6B-9524-3A8EBA819993}" type="slidenum">
              <a:rPr lang="en-US" smtClean="0"/>
              <a:pPr/>
              <a:t>‹#›</a:t>
            </a:fld>
            <a:endParaRPr lang="en-US"/>
          </a:p>
        </p:txBody>
      </p:sp>
      <p:sp>
        <p:nvSpPr>
          <p:cNvPr id="8" name="Content Placeholder 3">
            <a:extLst>
              <a:ext uri="{FF2B5EF4-FFF2-40B4-BE49-F238E27FC236}">
                <a16:creationId xmlns:a16="http://schemas.microsoft.com/office/drawing/2014/main" id="{AB7BE119-4BE0-4EFE-876C-84493FD13122}"/>
              </a:ext>
            </a:extLst>
          </p:cNvPr>
          <p:cNvSpPr>
            <a:spLocks noGrp="1"/>
          </p:cNvSpPr>
          <p:nvPr>
            <p:ph sz="half" idx="13" hasCustomPrompt="1"/>
          </p:nvPr>
        </p:nvSpPr>
        <p:spPr>
          <a:xfrm>
            <a:off x="9174481" y="1709241"/>
            <a:ext cx="2560320" cy="4617720"/>
          </a:xfrm>
        </p:spPr>
        <p:txBody>
          <a:bodyPr/>
          <a:lstStyle>
            <a:lvl1pPr>
              <a:defRPr sz="1400">
                <a:solidFill>
                  <a:schemeClr val="bg1"/>
                </a:solidFill>
              </a:defRPr>
            </a:lvl1pPr>
            <a:lvl2pPr>
              <a:defRPr sz="1200">
                <a:solidFill>
                  <a:schemeClr val="bg1"/>
                </a:solidFill>
              </a:defRPr>
            </a:lvl2pPr>
            <a:lvl3pPr>
              <a:defRPr sz="1100">
                <a:solidFill>
                  <a:schemeClr val="bg1"/>
                </a:solidFill>
              </a:defRPr>
            </a:lvl3pPr>
            <a:lvl4pPr>
              <a:defRPr sz="1100">
                <a:solidFill>
                  <a:schemeClr val="bg1"/>
                </a:solidFill>
              </a:defRPr>
            </a:lvl4pPr>
            <a:lvl5pPr>
              <a:defRPr sz="1100">
                <a:solidFill>
                  <a:schemeClr val="bg1"/>
                </a:solidFill>
              </a:defRPr>
            </a:lvl5pPr>
          </a:lstStyle>
          <a:p>
            <a:pPr lvl="0"/>
            <a:r>
              <a:rPr lang="en-US"/>
              <a:t>First level, 14pt Regular</a:t>
            </a:r>
          </a:p>
          <a:p>
            <a:pPr lvl="1"/>
            <a:r>
              <a:rPr lang="en-US"/>
              <a:t>Second level, 12pt</a:t>
            </a:r>
          </a:p>
          <a:p>
            <a:pPr lvl="2"/>
            <a:r>
              <a:rPr lang="en-US"/>
              <a:t>Third level, 11pt</a:t>
            </a:r>
          </a:p>
          <a:p>
            <a:pPr lvl="3"/>
            <a:r>
              <a:rPr lang="en-US"/>
              <a:t>Fourth level, 11pt</a:t>
            </a:r>
          </a:p>
          <a:p>
            <a:pPr lvl="4"/>
            <a:r>
              <a:rPr lang="en-US"/>
              <a:t>Fifth level, 11pt Bold, use for captions</a:t>
            </a:r>
          </a:p>
        </p:txBody>
      </p:sp>
      <p:sp>
        <p:nvSpPr>
          <p:cNvPr id="9" name="Text Placeholder 8">
            <a:extLst>
              <a:ext uri="{FF2B5EF4-FFF2-40B4-BE49-F238E27FC236}">
                <a16:creationId xmlns:a16="http://schemas.microsoft.com/office/drawing/2014/main" id="{3956D059-1F18-4675-9285-602EC3522396}"/>
              </a:ext>
            </a:extLst>
          </p:cNvPr>
          <p:cNvSpPr>
            <a:spLocks noGrp="1"/>
          </p:cNvSpPr>
          <p:nvPr>
            <p:ph type="body" sz="quarter" idx="14" hasCustomPrompt="1"/>
          </p:nvPr>
        </p:nvSpPr>
        <p:spPr>
          <a:xfrm>
            <a:off x="457200" y="411480"/>
            <a:ext cx="6400800" cy="182880"/>
          </a:xfrm>
        </p:spPr>
        <p:txBody>
          <a:bodyPr/>
          <a:lstStyle>
            <a:lvl1pPr marL="0" indent="0">
              <a:buNone/>
              <a:defRPr sz="1200">
                <a:solidFill>
                  <a:schemeClr val="bg1"/>
                </a:solidFill>
              </a:defRPr>
            </a:lvl1pPr>
            <a:lvl2pPr marL="228600" indent="0">
              <a:buNone/>
              <a:defRPr/>
            </a:lvl2pPr>
          </a:lstStyle>
          <a:p>
            <a:pPr lvl="0"/>
            <a:r>
              <a:rPr lang="en-US"/>
              <a:t>Optional subtitle, 12pt Regular</a:t>
            </a:r>
          </a:p>
        </p:txBody>
      </p:sp>
      <p:sp>
        <p:nvSpPr>
          <p:cNvPr id="10" name="Content Placeholder 3">
            <a:extLst>
              <a:ext uri="{FF2B5EF4-FFF2-40B4-BE49-F238E27FC236}">
                <a16:creationId xmlns:a16="http://schemas.microsoft.com/office/drawing/2014/main" id="{7580EC8D-CC97-4EE5-81A4-71CD866AAD37}"/>
              </a:ext>
            </a:extLst>
          </p:cNvPr>
          <p:cNvSpPr>
            <a:spLocks noGrp="1"/>
          </p:cNvSpPr>
          <p:nvPr>
            <p:ph sz="half" idx="15" hasCustomPrompt="1"/>
          </p:nvPr>
        </p:nvSpPr>
        <p:spPr>
          <a:xfrm>
            <a:off x="6268721" y="1709241"/>
            <a:ext cx="2560320" cy="4617720"/>
          </a:xfrm>
        </p:spPr>
        <p:txBody>
          <a:bodyPr/>
          <a:lstStyle>
            <a:lvl1pPr>
              <a:defRPr sz="1400">
                <a:solidFill>
                  <a:schemeClr val="bg1"/>
                </a:solidFill>
              </a:defRPr>
            </a:lvl1pPr>
            <a:lvl2pPr>
              <a:defRPr sz="1200">
                <a:solidFill>
                  <a:schemeClr val="bg1"/>
                </a:solidFill>
              </a:defRPr>
            </a:lvl2pPr>
            <a:lvl3pPr>
              <a:defRPr sz="1100">
                <a:solidFill>
                  <a:schemeClr val="bg1"/>
                </a:solidFill>
              </a:defRPr>
            </a:lvl3pPr>
            <a:lvl4pPr>
              <a:defRPr sz="1100">
                <a:solidFill>
                  <a:schemeClr val="bg1"/>
                </a:solidFill>
              </a:defRPr>
            </a:lvl4pPr>
            <a:lvl5pPr>
              <a:defRPr sz="1100">
                <a:solidFill>
                  <a:schemeClr val="bg1"/>
                </a:solidFill>
              </a:defRPr>
            </a:lvl5pPr>
          </a:lstStyle>
          <a:p>
            <a:pPr lvl="0"/>
            <a:r>
              <a:rPr lang="en-US"/>
              <a:t>First level, 14pt Regular</a:t>
            </a:r>
          </a:p>
          <a:p>
            <a:pPr lvl="1"/>
            <a:r>
              <a:rPr lang="en-US"/>
              <a:t>Second level, 12pt</a:t>
            </a:r>
          </a:p>
          <a:p>
            <a:pPr lvl="2"/>
            <a:r>
              <a:rPr lang="en-US"/>
              <a:t>Third level, 11pt</a:t>
            </a:r>
          </a:p>
          <a:p>
            <a:pPr lvl="3"/>
            <a:r>
              <a:rPr lang="en-US"/>
              <a:t>Fourth level, 11pt</a:t>
            </a:r>
          </a:p>
          <a:p>
            <a:pPr lvl="4"/>
            <a:r>
              <a:rPr lang="en-US"/>
              <a:t>Fifth level, 11pt Bold, use for captions</a:t>
            </a:r>
          </a:p>
        </p:txBody>
      </p:sp>
      <p:grpSp>
        <p:nvGrpSpPr>
          <p:cNvPr id="13" name="Group 4">
            <a:extLst>
              <a:ext uri="{FF2B5EF4-FFF2-40B4-BE49-F238E27FC236}">
                <a16:creationId xmlns:a16="http://schemas.microsoft.com/office/drawing/2014/main" id="{2044F3BD-BE3D-4892-817A-EC07806D93CB}"/>
              </a:ext>
            </a:extLst>
          </p:cNvPr>
          <p:cNvGrpSpPr>
            <a:grpSpLocks noChangeAspect="1"/>
          </p:cNvGrpSpPr>
          <p:nvPr userDrawn="1"/>
        </p:nvGrpSpPr>
        <p:grpSpPr bwMode="auto">
          <a:xfrm>
            <a:off x="8686800" y="6431507"/>
            <a:ext cx="2522538" cy="184150"/>
            <a:chOff x="288" y="4035"/>
            <a:chExt cx="1589" cy="116"/>
          </a:xfrm>
          <a:solidFill>
            <a:srgbClr val="FFFFFF"/>
          </a:solidFill>
        </p:grpSpPr>
        <p:sp>
          <p:nvSpPr>
            <p:cNvPr id="14" name="Freeform 5">
              <a:extLst>
                <a:ext uri="{FF2B5EF4-FFF2-40B4-BE49-F238E27FC236}">
                  <a16:creationId xmlns:a16="http://schemas.microsoft.com/office/drawing/2014/main" id="{FC436D98-F62E-4E62-9D46-2997AA2B460C}"/>
                </a:ext>
              </a:extLst>
            </p:cNvPr>
            <p:cNvSpPr>
              <a:spLocks noEditPoints="1"/>
            </p:cNvSpPr>
            <p:nvPr userDrawn="1"/>
          </p:nvSpPr>
          <p:spPr bwMode="auto">
            <a:xfrm>
              <a:off x="288" y="4035"/>
              <a:ext cx="769" cy="116"/>
            </a:xfrm>
            <a:custGeom>
              <a:avLst/>
              <a:gdLst>
                <a:gd name="T0" fmla="*/ 3874 w 3874"/>
                <a:gd name="T1" fmla="*/ 31 h 573"/>
                <a:gd name="T2" fmla="*/ 3527 w 3874"/>
                <a:gd name="T3" fmla="*/ 3 h 573"/>
                <a:gd name="T4" fmla="*/ 3527 w 3874"/>
                <a:gd name="T5" fmla="*/ 59 h 573"/>
                <a:gd name="T6" fmla="*/ 3661 w 3874"/>
                <a:gd name="T7" fmla="*/ 569 h 573"/>
                <a:gd name="T8" fmla="*/ 3713 w 3874"/>
                <a:gd name="T9" fmla="*/ 59 h 573"/>
                <a:gd name="T10" fmla="*/ 3874 w 3874"/>
                <a:gd name="T11" fmla="*/ 31 h 573"/>
                <a:gd name="T12" fmla="*/ 2759 w 3874"/>
                <a:gd name="T13" fmla="*/ 0 h 573"/>
                <a:gd name="T14" fmla="*/ 2523 w 3874"/>
                <a:gd name="T15" fmla="*/ 538 h 573"/>
                <a:gd name="T16" fmla="*/ 2547 w 3874"/>
                <a:gd name="T17" fmla="*/ 573 h 573"/>
                <a:gd name="T18" fmla="*/ 2651 w 3874"/>
                <a:gd name="T19" fmla="*/ 359 h 573"/>
                <a:gd name="T20" fmla="*/ 2954 w 3874"/>
                <a:gd name="T21" fmla="*/ 569 h 573"/>
                <a:gd name="T22" fmla="*/ 2784 w 3874"/>
                <a:gd name="T23" fmla="*/ 16 h 573"/>
                <a:gd name="T24" fmla="*/ 2675 w 3874"/>
                <a:gd name="T25" fmla="*/ 302 h 573"/>
                <a:gd name="T26" fmla="*/ 2760 w 3874"/>
                <a:gd name="T27" fmla="*/ 93 h 573"/>
                <a:gd name="T28" fmla="*/ 2675 w 3874"/>
                <a:gd name="T29" fmla="*/ 302 h 573"/>
                <a:gd name="T30" fmla="*/ 1742 w 3874"/>
                <a:gd name="T31" fmla="*/ 0 h 573"/>
                <a:gd name="T32" fmla="*/ 1549 w 3874"/>
                <a:gd name="T33" fmla="*/ 430 h 573"/>
                <a:gd name="T34" fmla="*/ 1357 w 3874"/>
                <a:gd name="T35" fmla="*/ 0 h 573"/>
                <a:gd name="T36" fmla="*/ 1237 w 3874"/>
                <a:gd name="T37" fmla="*/ 543 h 573"/>
                <a:gd name="T38" fmla="*/ 1261 w 3874"/>
                <a:gd name="T39" fmla="*/ 573 h 573"/>
                <a:gd name="T40" fmla="*/ 1366 w 3874"/>
                <a:gd name="T41" fmla="*/ 116 h 573"/>
                <a:gd name="T42" fmla="*/ 1549 w 3874"/>
                <a:gd name="T43" fmla="*/ 523 h 573"/>
                <a:gd name="T44" fmla="*/ 1732 w 3874"/>
                <a:gd name="T45" fmla="*/ 116 h 573"/>
                <a:gd name="T46" fmla="*/ 1868 w 3874"/>
                <a:gd name="T47" fmla="*/ 570 h 573"/>
                <a:gd name="T48" fmla="*/ 1742 w 3874"/>
                <a:gd name="T49" fmla="*/ 0 h 573"/>
                <a:gd name="T50" fmla="*/ 2226 w 3874"/>
                <a:gd name="T51" fmla="*/ 57 h 573"/>
                <a:gd name="T52" fmla="*/ 2429 w 3874"/>
                <a:gd name="T53" fmla="*/ 124 h 573"/>
                <a:gd name="T54" fmla="*/ 2429 w 3874"/>
                <a:gd name="T55" fmla="*/ 84 h 573"/>
                <a:gd name="T56" fmla="*/ 2226 w 3874"/>
                <a:gd name="T57" fmla="*/ 0 h 573"/>
                <a:gd name="T58" fmla="*/ 2226 w 3874"/>
                <a:gd name="T59" fmla="*/ 573 h 573"/>
                <a:gd name="T60" fmla="*/ 2397 w 3874"/>
                <a:gd name="T61" fmla="*/ 440 h 573"/>
                <a:gd name="T62" fmla="*/ 1996 w 3874"/>
                <a:gd name="T63" fmla="*/ 286 h 573"/>
                <a:gd name="T64" fmla="*/ 285 w 3874"/>
                <a:gd name="T65" fmla="*/ 57 h 573"/>
                <a:gd name="T66" fmla="*/ 448 w 3874"/>
                <a:gd name="T67" fmla="*/ 124 h 573"/>
                <a:gd name="T68" fmla="*/ 497 w 3874"/>
                <a:gd name="T69" fmla="*/ 104 h 573"/>
                <a:gd name="T70" fmla="*/ 485 w 3874"/>
                <a:gd name="T71" fmla="*/ 80 h 573"/>
                <a:gd name="T72" fmla="*/ 0 w 3874"/>
                <a:gd name="T73" fmla="*/ 287 h 573"/>
                <a:gd name="T74" fmla="*/ 497 w 3874"/>
                <a:gd name="T75" fmla="*/ 480 h 573"/>
                <a:gd name="T76" fmla="*/ 286 w 3874"/>
                <a:gd name="T77" fmla="*/ 516 h 573"/>
                <a:gd name="T78" fmla="*/ 285 w 3874"/>
                <a:gd name="T79" fmla="*/ 57 h 573"/>
                <a:gd name="T80" fmla="*/ 3341 w 3874"/>
                <a:gd name="T81" fmla="*/ 290 h 573"/>
                <a:gd name="T82" fmla="*/ 3152 w 3874"/>
                <a:gd name="T83" fmla="*/ 142 h 573"/>
                <a:gd name="T84" fmla="*/ 3361 w 3874"/>
                <a:gd name="T85" fmla="*/ 86 h 573"/>
                <a:gd name="T86" fmla="*/ 3403 w 3874"/>
                <a:gd name="T87" fmla="*/ 61 h 573"/>
                <a:gd name="T88" fmla="*/ 3262 w 3874"/>
                <a:gd name="T89" fmla="*/ 0 h 573"/>
                <a:gd name="T90" fmla="*/ 3194 w 3874"/>
                <a:gd name="T91" fmla="*/ 277 h 573"/>
                <a:gd name="T92" fmla="*/ 3375 w 3874"/>
                <a:gd name="T93" fmla="*/ 423 h 573"/>
                <a:gd name="T94" fmla="*/ 3129 w 3874"/>
                <a:gd name="T95" fmla="*/ 456 h 573"/>
                <a:gd name="T96" fmla="*/ 3082 w 3874"/>
                <a:gd name="T97" fmla="*/ 489 h 573"/>
                <a:gd name="T98" fmla="*/ 3266 w 3874"/>
                <a:gd name="T99" fmla="*/ 572 h 573"/>
                <a:gd name="T100" fmla="*/ 3341 w 3874"/>
                <a:gd name="T101" fmla="*/ 290 h 573"/>
                <a:gd name="T102" fmla="*/ 872 w 3874"/>
                <a:gd name="T103" fmla="*/ 0 h 573"/>
                <a:gd name="T104" fmla="*/ 872 w 3874"/>
                <a:gd name="T105" fmla="*/ 573 h 573"/>
                <a:gd name="T106" fmla="*/ 872 w 3874"/>
                <a:gd name="T107" fmla="*/ 0 h 573"/>
                <a:gd name="T108" fmla="*/ 872 w 3874"/>
                <a:gd name="T109" fmla="*/ 516 h 573"/>
                <a:gd name="T110" fmla="*/ 872 w 3874"/>
                <a:gd name="T111" fmla="*/ 56 h 573"/>
                <a:gd name="T112" fmla="*/ 872 w 3874"/>
                <a:gd name="T113" fmla="*/ 516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874" h="573">
                  <a:moveTo>
                    <a:pt x="3874" y="31"/>
                  </a:moveTo>
                  <a:lnTo>
                    <a:pt x="3874" y="31"/>
                  </a:lnTo>
                  <a:cubicBezTo>
                    <a:pt x="3874" y="16"/>
                    <a:pt x="3861" y="3"/>
                    <a:pt x="3846" y="3"/>
                  </a:cubicBezTo>
                  <a:lnTo>
                    <a:pt x="3527" y="3"/>
                  </a:lnTo>
                  <a:cubicBezTo>
                    <a:pt x="3512" y="3"/>
                    <a:pt x="3499" y="15"/>
                    <a:pt x="3499" y="31"/>
                  </a:cubicBezTo>
                  <a:cubicBezTo>
                    <a:pt x="3499" y="47"/>
                    <a:pt x="3511" y="59"/>
                    <a:pt x="3527" y="59"/>
                  </a:cubicBezTo>
                  <a:lnTo>
                    <a:pt x="3661" y="59"/>
                  </a:lnTo>
                  <a:lnTo>
                    <a:pt x="3661" y="569"/>
                  </a:lnTo>
                  <a:lnTo>
                    <a:pt x="3713" y="569"/>
                  </a:lnTo>
                  <a:lnTo>
                    <a:pt x="3713" y="59"/>
                  </a:lnTo>
                  <a:lnTo>
                    <a:pt x="3846" y="59"/>
                  </a:lnTo>
                  <a:cubicBezTo>
                    <a:pt x="3862" y="60"/>
                    <a:pt x="3874" y="47"/>
                    <a:pt x="3874" y="31"/>
                  </a:cubicBezTo>
                  <a:close/>
                  <a:moveTo>
                    <a:pt x="2759" y="0"/>
                  </a:moveTo>
                  <a:lnTo>
                    <a:pt x="2759" y="0"/>
                  </a:lnTo>
                  <a:cubicBezTo>
                    <a:pt x="2748" y="0"/>
                    <a:pt x="2741" y="7"/>
                    <a:pt x="2735" y="16"/>
                  </a:cubicBezTo>
                  <a:cubicBezTo>
                    <a:pt x="2731" y="26"/>
                    <a:pt x="2523" y="538"/>
                    <a:pt x="2523" y="538"/>
                  </a:cubicBezTo>
                  <a:cubicBezTo>
                    <a:pt x="2522" y="541"/>
                    <a:pt x="2521" y="544"/>
                    <a:pt x="2521" y="547"/>
                  </a:cubicBezTo>
                  <a:cubicBezTo>
                    <a:pt x="2521" y="562"/>
                    <a:pt x="2532" y="573"/>
                    <a:pt x="2547" y="573"/>
                  </a:cubicBezTo>
                  <a:cubicBezTo>
                    <a:pt x="2558" y="573"/>
                    <a:pt x="2567" y="566"/>
                    <a:pt x="2570" y="556"/>
                  </a:cubicBezTo>
                  <a:lnTo>
                    <a:pt x="2651" y="359"/>
                  </a:lnTo>
                  <a:lnTo>
                    <a:pt x="2868" y="359"/>
                  </a:lnTo>
                  <a:lnTo>
                    <a:pt x="2954" y="569"/>
                  </a:lnTo>
                  <a:lnTo>
                    <a:pt x="3009" y="569"/>
                  </a:lnTo>
                  <a:cubicBezTo>
                    <a:pt x="3009" y="569"/>
                    <a:pt x="2788" y="25"/>
                    <a:pt x="2784" y="16"/>
                  </a:cubicBezTo>
                  <a:cubicBezTo>
                    <a:pt x="2779" y="7"/>
                    <a:pt x="2770" y="0"/>
                    <a:pt x="2759" y="0"/>
                  </a:cubicBezTo>
                  <a:close/>
                  <a:moveTo>
                    <a:pt x="2675" y="302"/>
                  </a:moveTo>
                  <a:lnTo>
                    <a:pt x="2675" y="302"/>
                  </a:lnTo>
                  <a:lnTo>
                    <a:pt x="2760" y="93"/>
                  </a:lnTo>
                  <a:lnTo>
                    <a:pt x="2845" y="302"/>
                  </a:lnTo>
                  <a:lnTo>
                    <a:pt x="2675" y="302"/>
                  </a:lnTo>
                  <a:close/>
                  <a:moveTo>
                    <a:pt x="1742" y="0"/>
                  </a:moveTo>
                  <a:lnTo>
                    <a:pt x="1742" y="0"/>
                  </a:lnTo>
                  <a:cubicBezTo>
                    <a:pt x="1731" y="0"/>
                    <a:pt x="1723" y="7"/>
                    <a:pt x="1718" y="16"/>
                  </a:cubicBezTo>
                  <a:cubicBezTo>
                    <a:pt x="1714" y="25"/>
                    <a:pt x="1549" y="430"/>
                    <a:pt x="1549" y="430"/>
                  </a:cubicBezTo>
                  <a:cubicBezTo>
                    <a:pt x="1549" y="430"/>
                    <a:pt x="1385" y="24"/>
                    <a:pt x="1381" y="16"/>
                  </a:cubicBezTo>
                  <a:cubicBezTo>
                    <a:pt x="1376" y="7"/>
                    <a:pt x="1368" y="0"/>
                    <a:pt x="1357" y="0"/>
                  </a:cubicBezTo>
                  <a:cubicBezTo>
                    <a:pt x="1345" y="0"/>
                    <a:pt x="1335" y="9"/>
                    <a:pt x="1332" y="21"/>
                  </a:cubicBezTo>
                  <a:cubicBezTo>
                    <a:pt x="1329" y="33"/>
                    <a:pt x="1237" y="543"/>
                    <a:pt x="1237" y="543"/>
                  </a:cubicBezTo>
                  <a:cubicBezTo>
                    <a:pt x="1237" y="545"/>
                    <a:pt x="1236" y="546"/>
                    <a:pt x="1236" y="548"/>
                  </a:cubicBezTo>
                  <a:cubicBezTo>
                    <a:pt x="1236" y="562"/>
                    <a:pt x="1247" y="573"/>
                    <a:pt x="1261" y="573"/>
                  </a:cubicBezTo>
                  <a:cubicBezTo>
                    <a:pt x="1273" y="573"/>
                    <a:pt x="1284" y="564"/>
                    <a:pt x="1286" y="553"/>
                  </a:cubicBezTo>
                  <a:lnTo>
                    <a:pt x="1366" y="116"/>
                  </a:lnTo>
                  <a:cubicBezTo>
                    <a:pt x="1366" y="116"/>
                    <a:pt x="1521" y="498"/>
                    <a:pt x="1526" y="507"/>
                  </a:cubicBezTo>
                  <a:cubicBezTo>
                    <a:pt x="1530" y="516"/>
                    <a:pt x="1538" y="523"/>
                    <a:pt x="1549" y="523"/>
                  </a:cubicBezTo>
                  <a:cubicBezTo>
                    <a:pt x="1560" y="523"/>
                    <a:pt x="1569" y="516"/>
                    <a:pt x="1573" y="507"/>
                  </a:cubicBezTo>
                  <a:cubicBezTo>
                    <a:pt x="1578" y="498"/>
                    <a:pt x="1732" y="116"/>
                    <a:pt x="1732" y="116"/>
                  </a:cubicBezTo>
                  <a:lnTo>
                    <a:pt x="1816" y="570"/>
                  </a:lnTo>
                  <a:lnTo>
                    <a:pt x="1868" y="570"/>
                  </a:lnTo>
                  <a:cubicBezTo>
                    <a:pt x="1868" y="570"/>
                    <a:pt x="1770" y="33"/>
                    <a:pt x="1767" y="21"/>
                  </a:cubicBezTo>
                  <a:cubicBezTo>
                    <a:pt x="1763" y="9"/>
                    <a:pt x="1754" y="0"/>
                    <a:pt x="1742" y="0"/>
                  </a:cubicBezTo>
                  <a:close/>
                  <a:moveTo>
                    <a:pt x="2226" y="57"/>
                  </a:moveTo>
                  <a:lnTo>
                    <a:pt x="2226" y="57"/>
                  </a:lnTo>
                  <a:cubicBezTo>
                    <a:pt x="2288" y="57"/>
                    <a:pt x="2345" y="80"/>
                    <a:pt x="2389" y="124"/>
                  </a:cubicBezTo>
                  <a:cubicBezTo>
                    <a:pt x="2399" y="134"/>
                    <a:pt x="2419" y="134"/>
                    <a:pt x="2429" y="124"/>
                  </a:cubicBezTo>
                  <a:cubicBezTo>
                    <a:pt x="2434" y="119"/>
                    <a:pt x="2437" y="112"/>
                    <a:pt x="2437" y="104"/>
                  </a:cubicBezTo>
                  <a:cubicBezTo>
                    <a:pt x="2437" y="96"/>
                    <a:pt x="2434" y="89"/>
                    <a:pt x="2429" y="84"/>
                  </a:cubicBezTo>
                  <a:lnTo>
                    <a:pt x="2426" y="80"/>
                  </a:lnTo>
                  <a:cubicBezTo>
                    <a:pt x="2372" y="29"/>
                    <a:pt x="2301" y="0"/>
                    <a:pt x="2226" y="0"/>
                  </a:cubicBezTo>
                  <a:cubicBezTo>
                    <a:pt x="2069" y="0"/>
                    <a:pt x="1940" y="129"/>
                    <a:pt x="1940" y="287"/>
                  </a:cubicBezTo>
                  <a:cubicBezTo>
                    <a:pt x="1940" y="445"/>
                    <a:pt x="2069" y="573"/>
                    <a:pt x="2226" y="573"/>
                  </a:cubicBezTo>
                  <a:cubicBezTo>
                    <a:pt x="2310" y="573"/>
                    <a:pt x="2385" y="538"/>
                    <a:pt x="2437" y="480"/>
                  </a:cubicBezTo>
                  <a:lnTo>
                    <a:pt x="2397" y="440"/>
                  </a:lnTo>
                  <a:cubicBezTo>
                    <a:pt x="2355" y="487"/>
                    <a:pt x="2294" y="516"/>
                    <a:pt x="2226" y="516"/>
                  </a:cubicBezTo>
                  <a:cubicBezTo>
                    <a:pt x="2100" y="516"/>
                    <a:pt x="1996" y="413"/>
                    <a:pt x="1996" y="286"/>
                  </a:cubicBezTo>
                  <a:cubicBezTo>
                    <a:pt x="1996" y="160"/>
                    <a:pt x="2100" y="57"/>
                    <a:pt x="2226" y="57"/>
                  </a:cubicBezTo>
                  <a:close/>
                  <a:moveTo>
                    <a:pt x="285" y="57"/>
                  </a:moveTo>
                  <a:lnTo>
                    <a:pt x="285" y="57"/>
                  </a:lnTo>
                  <a:cubicBezTo>
                    <a:pt x="347" y="57"/>
                    <a:pt x="404" y="80"/>
                    <a:pt x="448" y="124"/>
                  </a:cubicBezTo>
                  <a:cubicBezTo>
                    <a:pt x="459" y="134"/>
                    <a:pt x="478" y="134"/>
                    <a:pt x="488" y="124"/>
                  </a:cubicBezTo>
                  <a:cubicBezTo>
                    <a:pt x="494" y="119"/>
                    <a:pt x="497" y="112"/>
                    <a:pt x="497" y="104"/>
                  </a:cubicBezTo>
                  <a:cubicBezTo>
                    <a:pt x="497" y="96"/>
                    <a:pt x="494" y="89"/>
                    <a:pt x="488" y="84"/>
                  </a:cubicBezTo>
                  <a:lnTo>
                    <a:pt x="485" y="80"/>
                  </a:lnTo>
                  <a:cubicBezTo>
                    <a:pt x="431" y="29"/>
                    <a:pt x="361" y="0"/>
                    <a:pt x="286" y="0"/>
                  </a:cubicBezTo>
                  <a:cubicBezTo>
                    <a:pt x="128" y="0"/>
                    <a:pt x="0" y="129"/>
                    <a:pt x="0" y="287"/>
                  </a:cubicBezTo>
                  <a:cubicBezTo>
                    <a:pt x="0" y="445"/>
                    <a:pt x="128" y="573"/>
                    <a:pt x="286" y="573"/>
                  </a:cubicBezTo>
                  <a:cubicBezTo>
                    <a:pt x="369" y="573"/>
                    <a:pt x="444" y="538"/>
                    <a:pt x="497" y="480"/>
                  </a:cubicBezTo>
                  <a:lnTo>
                    <a:pt x="457" y="440"/>
                  </a:lnTo>
                  <a:cubicBezTo>
                    <a:pt x="415" y="487"/>
                    <a:pt x="353" y="516"/>
                    <a:pt x="286" y="516"/>
                  </a:cubicBezTo>
                  <a:cubicBezTo>
                    <a:pt x="159" y="516"/>
                    <a:pt x="56" y="413"/>
                    <a:pt x="56" y="286"/>
                  </a:cubicBezTo>
                  <a:cubicBezTo>
                    <a:pt x="55" y="160"/>
                    <a:pt x="159" y="57"/>
                    <a:pt x="285" y="57"/>
                  </a:cubicBezTo>
                  <a:close/>
                  <a:moveTo>
                    <a:pt x="3341" y="290"/>
                  </a:moveTo>
                  <a:lnTo>
                    <a:pt x="3341" y="290"/>
                  </a:lnTo>
                  <a:cubicBezTo>
                    <a:pt x="3326" y="282"/>
                    <a:pt x="3233" y="234"/>
                    <a:pt x="3219" y="227"/>
                  </a:cubicBezTo>
                  <a:cubicBezTo>
                    <a:pt x="3170" y="201"/>
                    <a:pt x="3152" y="179"/>
                    <a:pt x="3152" y="142"/>
                  </a:cubicBezTo>
                  <a:cubicBezTo>
                    <a:pt x="3152" y="90"/>
                    <a:pt x="3195" y="56"/>
                    <a:pt x="3262" y="56"/>
                  </a:cubicBezTo>
                  <a:cubicBezTo>
                    <a:pt x="3301" y="56"/>
                    <a:pt x="3339" y="73"/>
                    <a:pt x="3361" y="86"/>
                  </a:cubicBezTo>
                  <a:cubicBezTo>
                    <a:pt x="3365" y="88"/>
                    <a:pt x="3370" y="89"/>
                    <a:pt x="3374" y="89"/>
                  </a:cubicBezTo>
                  <a:cubicBezTo>
                    <a:pt x="3390" y="89"/>
                    <a:pt x="3403" y="77"/>
                    <a:pt x="3403" y="61"/>
                  </a:cubicBezTo>
                  <a:cubicBezTo>
                    <a:pt x="3403" y="51"/>
                    <a:pt x="3397" y="42"/>
                    <a:pt x="3388" y="37"/>
                  </a:cubicBezTo>
                  <a:cubicBezTo>
                    <a:pt x="3361" y="21"/>
                    <a:pt x="3313" y="0"/>
                    <a:pt x="3262" y="0"/>
                  </a:cubicBezTo>
                  <a:cubicBezTo>
                    <a:pt x="3165" y="0"/>
                    <a:pt x="3097" y="58"/>
                    <a:pt x="3097" y="142"/>
                  </a:cubicBezTo>
                  <a:cubicBezTo>
                    <a:pt x="3097" y="217"/>
                    <a:pt x="3146" y="252"/>
                    <a:pt x="3194" y="277"/>
                  </a:cubicBezTo>
                  <a:cubicBezTo>
                    <a:pt x="3208" y="284"/>
                    <a:pt x="3302" y="333"/>
                    <a:pt x="3317" y="340"/>
                  </a:cubicBezTo>
                  <a:cubicBezTo>
                    <a:pt x="3354" y="360"/>
                    <a:pt x="3375" y="390"/>
                    <a:pt x="3375" y="423"/>
                  </a:cubicBezTo>
                  <a:cubicBezTo>
                    <a:pt x="3375" y="468"/>
                    <a:pt x="3337" y="516"/>
                    <a:pt x="3266" y="516"/>
                  </a:cubicBezTo>
                  <a:cubicBezTo>
                    <a:pt x="3196" y="516"/>
                    <a:pt x="3143" y="470"/>
                    <a:pt x="3129" y="456"/>
                  </a:cubicBezTo>
                  <a:lnTo>
                    <a:pt x="3124" y="451"/>
                  </a:lnTo>
                  <a:lnTo>
                    <a:pt x="3082" y="489"/>
                  </a:lnTo>
                  <a:lnTo>
                    <a:pt x="3087" y="494"/>
                  </a:lnTo>
                  <a:cubicBezTo>
                    <a:pt x="3106" y="512"/>
                    <a:pt x="3173" y="572"/>
                    <a:pt x="3266" y="572"/>
                  </a:cubicBezTo>
                  <a:cubicBezTo>
                    <a:pt x="3369" y="572"/>
                    <a:pt x="3431" y="496"/>
                    <a:pt x="3431" y="422"/>
                  </a:cubicBezTo>
                  <a:cubicBezTo>
                    <a:pt x="3431" y="368"/>
                    <a:pt x="3398" y="320"/>
                    <a:pt x="3341" y="290"/>
                  </a:cubicBezTo>
                  <a:close/>
                  <a:moveTo>
                    <a:pt x="872" y="0"/>
                  </a:moveTo>
                  <a:lnTo>
                    <a:pt x="872" y="0"/>
                  </a:lnTo>
                  <a:cubicBezTo>
                    <a:pt x="715" y="0"/>
                    <a:pt x="586" y="129"/>
                    <a:pt x="586" y="287"/>
                  </a:cubicBezTo>
                  <a:cubicBezTo>
                    <a:pt x="586" y="445"/>
                    <a:pt x="715" y="573"/>
                    <a:pt x="872" y="573"/>
                  </a:cubicBezTo>
                  <a:cubicBezTo>
                    <a:pt x="1030" y="573"/>
                    <a:pt x="1159" y="445"/>
                    <a:pt x="1159" y="287"/>
                  </a:cubicBezTo>
                  <a:cubicBezTo>
                    <a:pt x="1159" y="129"/>
                    <a:pt x="1030" y="0"/>
                    <a:pt x="872" y="0"/>
                  </a:cubicBezTo>
                  <a:close/>
                  <a:moveTo>
                    <a:pt x="872" y="516"/>
                  </a:moveTo>
                  <a:lnTo>
                    <a:pt x="872" y="516"/>
                  </a:lnTo>
                  <a:cubicBezTo>
                    <a:pt x="746" y="516"/>
                    <a:pt x="642" y="413"/>
                    <a:pt x="642" y="286"/>
                  </a:cubicBezTo>
                  <a:cubicBezTo>
                    <a:pt x="642" y="159"/>
                    <a:pt x="746" y="56"/>
                    <a:pt x="872" y="56"/>
                  </a:cubicBezTo>
                  <a:cubicBezTo>
                    <a:pt x="999" y="56"/>
                    <a:pt x="1103" y="159"/>
                    <a:pt x="1103" y="286"/>
                  </a:cubicBezTo>
                  <a:cubicBezTo>
                    <a:pt x="1102" y="413"/>
                    <a:pt x="999" y="516"/>
                    <a:pt x="872" y="51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F31A8AEC-CF76-4C39-9513-F616E4423E19}"/>
                </a:ext>
              </a:extLst>
            </p:cNvPr>
            <p:cNvSpPr>
              <a:spLocks noEditPoints="1"/>
            </p:cNvSpPr>
            <p:nvPr userDrawn="1"/>
          </p:nvSpPr>
          <p:spPr bwMode="auto">
            <a:xfrm>
              <a:off x="1114" y="4035"/>
              <a:ext cx="763" cy="116"/>
            </a:xfrm>
            <a:custGeom>
              <a:avLst/>
              <a:gdLst>
                <a:gd name="T0" fmla="*/ 3647 w 3842"/>
                <a:gd name="T1" fmla="*/ 576 h 576"/>
                <a:gd name="T2" fmla="*/ 3634 w 3842"/>
                <a:gd name="T3" fmla="*/ 216 h 576"/>
                <a:gd name="T4" fmla="*/ 3742 w 3842"/>
                <a:gd name="T5" fmla="*/ 105 h 576"/>
                <a:gd name="T6" fmla="*/ 3789 w 3842"/>
                <a:gd name="T7" fmla="*/ 28 h 576"/>
                <a:gd name="T8" fmla="*/ 3606 w 3842"/>
                <a:gd name="T9" fmla="*/ 307 h 576"/>
                <a:gd name="T10" fmla="*/ 3656 w 3842"/>
                <a:gd name="T11" fmla="*/ 487 h 576"/>
                <a:gd name="T12" fmla="*/ 2997 w 3842"/>
                <a:gd name="T13" fmla="*/ 491 h 576"/>
                <a:gd name="T14" fmla="*/ 3376 w 3842"/>
                <a:gd name="T15" fmla="*/ 415 h 576"/>
                <a:gd name="T16" fmla="*/ 3116 w 3842"/>
                <a:gd name="T17" fmla="*/ 149 h 576"/>
                <a:gd name="T18" fmla="*/ 3314 w 3842"/>
                <a:gd name="T19" fmla="*/ 116 h 576"/>
                <a:gd name="T20" fmla="*/ 3197 w 3842"/>
                <a:gd name="T21" fmla="*/ 0 h 576"/>
                <a:gd name="T22" fmla="*/ 3217 w 3842"/>
                <a:gd name="T23" fmla="*/ 343 h 576"/>
                <a:gd name="T24" fmla="*/ 3065 w 3842"/>
                <a:gd name="T25" fmla="*/ 428 h 576"/>
                <a:gd name="T26" fmla="*/ 1117 w 3842"/>
                <a:gd name="T27" fmla="*/ 491 h 576"/>
                <a:gd name="T28" fmla="*/ 1381 w 3842"/>
                <a:gd name="T29" fmla="*/ 261 h 576"/>
                <a:gd name="T30" fmla="*/ 1321 w 3842"/>
                <a:gd name="T31" fmla="*/ 87 h 576"/>
                <a:gd name="T32" fmla="*/ 1476 w 3842"/>
                <a:gd name="T33" fmla="*/ 72 h 576"/>
                <a:gd name="T34" fmla="*/ 1140 w 3842"/>
                <a:gd name="T35" fmla="*/ 153 h 576"/>
                <a:gd name="T36" fmla="*/ 1400 w 3842"/>
                <a:gd name="T37" fmla="*/ 417 h 576"/>
                <a:gd name="T38" fmla="*/ 1117 w 3842"/>
                <a:gd name="T39" fmla="*/ 491 h 576"/>
                <a:gd name="T40" fmla="*/ 1903 w 3842"/>
                <a:gd name="T41" fmla="*/ 43 h 576"/>
                <a:gd name="T42" fmla="*/ 1994 w 3842"/>
                <a:gd name="T43" fmla="*/ 531 h 576"/>
                <a:gd name="T44" fmla="*/ 2328 w 3842"/>
                <a:gd name="T45" fmla="*/ 576 h 576"/>
                <a:gd name="T46" fmla="*/ 2282 w 3842"/>
                <a:gd name="T47" fmla="*/ 3 h 576"/>
                <a:gd name="T48" fmla="*/ 1949 w 3842"/>
                <a:gd name="T49" fmla="*/ 0 h 576"/>
                <a:gd name="T50" fmla="*/ 426 w 3842"/>
                <a:gd name="T51" fmla="*/ 402 h 576"/>
                <a:gd name="T52" fmla="*/ 0 w 3842"/>
                <a:gd name="T53" fmla="*/ 47 h 576"/>
                <a:gd name="T54" fmla="*/ 399 w 3842"/>
                <a:gd name="T55" fmla="*/ 147 h 576"/>
                <a:gd name="T56" fmla="*/ 91 w 3842"/>
                <a:gd name="T57" fmla="*/ 230 h 576"/>
                <a:gd name="T58" fmla="*/ 229 w 3842"/>
                <a:gd name="T59" fmla="*/ 92 h 576"/>
                <a:gd name="T60" fmla="*/ 235 w 3842"/>
                <a:gd name="T61" fmla="*/ 484 h 576"/>
                <a:gd name="T62" fmla="*/ 235 w 3842"/>
                <a:gd name="T63" fmla="*/ 314 h 576"/>
                <a:gd name="T64" fmla="*/ 235 w 3842"/>
                <a:gd name="T65" fmla="*/ 484 h 576"/>
                <a:gd name="T66" fmla="*/ 2906 w 3842"/>
                <a:gd name="T67" fmla="*/ 48 h 576"/>
                <a:gd name="T68" fmla="*/ 2532 w 3842"/>
                <a:gd name="T69" fmla="*/ 48 h 576"/>
                <a:gd name="T70" fmla="*/ 2903 w 3842"/>
                <a:gd name="T71" fmla="*/ 573 h 576"/>
                <a:gd name="T72" fmla="*/ 2624 w 3842"/>
                <a:gd name="T73" fmla="*/ 318 h 576"/>
                <a:gd name="T74" fmla="*/ 2834 w 3842"/>
                <a:gd name="T75" fmla="*/ 229 h 576"/>
                <a:gd name="T76" fmla="*/ 2858 w 3842"/>
                <a:gd name="T77" fmla="*/ 92 h 576"/>
                <a:gd name="T78" fmla="*/ 634 w 3842"/>
                <a:gd name="T79" fmla="*/ 44 h 576"/>
                <a:gd name="T80" fmla="*/ 542 w 3842"/>
                <a:gd name="T81" fmla="*/ 343 h 576"/>
                <a:gd name="T82" fmla="*/ 1010 w 3842"/>
                <a:gd name="T83" fmla="*/ 2 h 576"/>
                <a:gd name="T84" fmla="*/ 776 w 3842"/>
                <a:gd name="T85" fmla="*/ 488 h 576"/>
                <a:gd name="T86" fmla="*/ 1676 w 3842"/>
                <a:gd name="T87" fmla="*/ 0 h 576"/>
                <a:gd name="T88" fmla="*/ 1630 w 3842"/>
                <a:gd name="T89" fmla="*/ 572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842" h="576">
                  <a:moveTo>
                    <a:pt x="3464" y="491"/>
                  </a:moveTo>
                  <a:lnTo>
                    <a:pt x="3464" y="491"/>
                  </a:lnTo>
                  <a:cubicBezTo>
                    <a:pt x="3475" y="506"/>
                    <a:pt x="3529" y="576"/>
                    <a:pt x="3647" y="576"/>
                  </a:cubicBezTo>
                  <a:cubicBezTo>
                    <a:pt x="3763" y="576"/>
                    <a:pt x="3842" y="509"/>
                    <a:pt x="3842" y="415"/>
                  </a:cubicBezTo>
                  <a:cubicBezTo>
                    <a:pt x="3842" y="354"/>
                    <a:pt x="3818" y="305"/>
                    <a:pt x="3727" y="261"/>
                  </a:cubicBezTo>
                  <a:cubicBezTo>
                    <a:pt x="3703" y="249"/>
                    <a:pt x="3634" y="216"/>
                    <a:pt x="3634" y="216"/>
                  </a:cubicBezTo>
                  <a:cubicBezTo>
                    <a:pt x="3599" y="199"/>
                    <a:pt x="3583" y="178"/>
                    <a:pt x="3583" y="149"/>
                  </a:cubicBezTo>
                  <a:cubicBezTo>
                    <a:pt x="3583" y="120"/>
                    <a:pt x="3607" y="87"/>
                    <a:pt x="3667" y="87"/>
                  </a:cubicBezTo>
                  <a:cubicBezTo>
                    <a:pt x="3701" y="87"/>
                    <a:pt x="3727" y="98"/>
                    <a:pt x="3742" y="105"/>
                  </a:cubicBezTo>
                  <a:cubicBezTo>
                    <a:pt x="3748" y="108"/>
                    <a:pt x="3764" y="116"/>
                    <a:pt x="3780" y="116"/>
                  </a:cubicBezTo>
                  <a:cubicBezTo>
                    <a:pt x="3800" y="116"/>
                    <a:pt x="3822" y="102"/>
                    <a:pt x="3822" y="72"/>
                  </a:cubicBezTo>
                  <a:cubicBezTo>
                    <a:pt x="3822" y="48"/>
                    <a:pt x="3804" y="35"/>
                    <a:pt x="3789" y="28"/>
                  </a:cubicBezTo>
                  <a:cubicBezTo>
                    <a:pt x="3764" y="16"/>
                    <a:pt x="3726" y="0"/>
                    <a:pt x="3662" y="0"/>
                  </a:cubicBezTo>
                  <a:cubicBezTo>
                    <a:pt x="3561" y="0"/>
                    <a:pt x="3486" y="63"/>
                    <a:pt x="3486" y="153"/>
                  </a:cubicBezTo>
                  <a:cubicBezTo>
                    <a:pt x="3486" y="234"/>
                    <a:pt x="3540" y="275"/>
                    <a:pt x="3606" y="307"/>
                  </a:cubicBezTo>
                  <a:cubicBezTo>
                    <a:pt x="3619" y="312"/>
                    <a:pt x="3668" y="336"/>
                    <a:pt x="3681" y="343"/>
                  </a:cubicBezTo>
                  <a:cubicBezTo>
                    <a:pt x="3724" y="363"/>
                    <a:pt x="3746" y="382"/>
                    <a:pt x="3746" y="417"/>
                  </a:cubicBezTo>
                  <a:cubicBezTo>
                    <a:pt x="3746" y="455"/>
                    <a:pt x="3710" y="487"/>
                    <a:pt x="3656" y="487"/>
                  </a:cubicBezTo>
                  <a:cubicBezTo>
                    <a:pt x="3579" y="487"/>
                    <a:pt x="3538" y="436"/>
                    <a:pt x="3531" y="428"/>
                  </a:cubicBezTo>
                  <a:lnTo>
                    <a:pt x="3464" y="491"/>
                  </a:lnTo>
                  <a:close/>
                  <a:moveTo>
                    <a:pt x="2997" y="491"/>
                  </a:moveTo>
                  <a:lnTo>
                    <a:pt x="2997" y="491"/>
                  </a:lnTo>
                  <a:cubicBezTo>
                    <a:pt x="3009" y="506"/>
                    <a:pt x="3063" y="576"/>
                    <a:pt x="3182" y="576"/>
                  </a:cubicBezTo>
                  <a:cubicBezTo>
                    <a:pt x="3297" y="576"/>
                    <a:pt x="3376" y="509"/>
                    <a:pt x="3376" y="415"/>
                  </a:cubicBezTo>
                  <a:cubicBezTo>
                    <a:pt x="3376" y="354"/>
                    <a:pt x="3352" y="305"/>
                    <a:pt x="3261" y="261"/>
                  </a:cubicBezTo>
                  <a:cubicBezTo>
                    <a:pt x="3237" y="249"/>
                    <a:pt x="3169" y="216"/>
                    <a:pt x="3169" y="216"/>
                  </a:cubicBezTo>
                  <a:cubicBezTo>
                    <a:pt x="3133" y="199"/>
                    <a:pt x="3116" y="178"/>
                    <a:pt x="3116" y="149"/>
                  </a:cubicBezTo>
                  <a:cubicBezTo>
                    <a:pt x="3116" y="120"/>
                    <a:pt x="3141" y="87"/>
                    <a:pt x="3201" y="87"/>
                  </a:cubicBezTo>
                  <a:cubicBezTo>
                    <a:pt x="3235" y="87"/>
                    <a:pt x="3261" y="98"/>
                    <a:pt x="3275" y="105"/>
                  </a:cubicBezTo>
                  <a:cubicBezTo>
                    <a:pt x="3283" y="108"/>
                    <a:pt x="3299" y="116"/>
                    <a:pt x="3314" y="116"/>
                  </a:cubicBezTo>
                  <a:cubicBezTo>
                    <a:pt x="3334" y="116"/>
                    <a:pt x="3356" y="102"/>
                    <a:pt x="3356" y="72"/>
                  </a:cubicBezTo>
                  <a:cubicBezTo>
                    <a:pt x="3356" y="48"/>
                    <a:pt x="3339" y="35"/>
                    <a:pt x="3323" y="28"/>
                  </a:cubicBezTo>
                  <a:cubicBezTo>
                    <a:pt x="3299" y="16"/>
                    <a:pt x="3260" y="0"/>
                    <a:pt x="3197" y="0"/>
                  </a:cubicBezTo>
                  <a:cubicBezTo>
                    <a:pt x="3095" y="0"/>
                    <a:pt x="3020" y="63"/>
                    <a:pt x="3020" y="153"/>
                  </a:cubicBezTo>
                  <a:cubicBezTo>
                    <a:pt x="3020" y="234"/>
                    <a:pt x="3075" y="275"/>
                    <a:pt x="3141" y="307"/>
                  </a:cubicBezTo>
                  <a:cubicBezTo>
                    <a:pt x="3154" y="312"/>
                    <a:pt x="3203" y="336"/>
                    <a:pt x="3217" y="343"/>
                  </a:cubicBezTo>
                  <a:cubicBezTo>
                    <a:pt x="3258" y="363"/>
                    <a:pt x="3280" y="382"/>
                    <a:pt x="3280" y="417"/>
                  </a:cubicBezTo>
                  <a:cubicBezTo>
                    <a:pt x="3280" y="455"/>
                    <a:pt x="3244" y="487"/>
                    <a:pt x="3191" y="487"/>
                  </a:cubicBezTo>
                  <a:cubicBezTo>
                    <a:pt x="3113" y="487"/>
                    <a:pt x="3072" y="436"/>
                    <a:pt x="3065" y="428"/>
                  </a:cubicBezTo>
                  <a:lnTo>
                    <a:pt x="2997" y="491"/>
                  </a:lnTo>
                  <a:close/>
                  <a:moveTo>
                    <a:pt x="1117" y="491"/>
                  </a:moveTo>
                  <a:lnTo>
                    <a:pt x="1117" y="491"/>
                  </a:lnTo>
                  <a:cubicBezTo>
                    <a:pt x="1129" y="506"/>
                    <a:pt x="1182" y="576"/>
                    <a:pt x="1301" y="576"/>
                  </a:cubicBezTo>
                  <a:cubicBezTo>
                    <a:pt x="1417" y="576"/>
                    <a:pt x="1496" y="509"/>
                    <a:pt x="1496" y="415"/>
                  </a:cubicBezTo>
                  <a:cubicBezTo>
                    <a:pt x="1496" y="354"/>
                    <a:pt x="1472" y="305"/>
                    <a:pt x="1381" y="261"/>
                  </a:cubicBezTo>
                  <a:cubicBezTo>
                    <a:pt x="1356" y="249"/>
                    <a:pt x="1288" y="216"/>
                    <a:pt x="1288" y="216"/>
                  </a:cubicBezTo>
                  <a:cubicBezTo>
                    <a:pt x="1252" y="199"/>
                    <a:pt x="1236" y="178"/>
                    <a:pt x="1236" y="149"/>
                  </a:cubicBezTo>
                  <a:cubicBezTo>
                    <a:pt x="1236" y="120"/>
                    <a:pt x="1261" y="87"/>
                    <a:pt x="1321" y="87"/>
                  </a:cubicBezTo>
                  <a:cubicBezTo>
                    <a:pt x="1355" y="87"/>
                    <a:pt x="1381" y="98"/>
                    <a:pt x="1395" y="105"/>
                  </a:cubicBezTo>
                  <a:cubicBezTo>
                    <a:pt x="1402" y="108"/>
                    <a:pt x="1418" y="116"/>
                    <a:pt x="1434" y="116"/>
                  </a:cubicBezTo>
                  <a:cubicBezTo>
                    <a:pt x="1454" y="116"/>
                    <a:pt x="1476" y="102"/>
                    <a:pt x="1476" y="72"/>
                  </a:cubicBezTo>
                  <a:cubicBezTo>
                    <a:pt x="1476" y="48"/>
                    <a:pt x="1458" y="35"/>
                    <a:pt x="1443" y="28"/>
                  </a:cubicBezTo>
                  <a:cubicBezTo>
                    <a:pt x="1418" y="16"/>
                    <a:pt x="1380" y="0"/>
                    <a:pt x="1316" y="0"/>
                  </a:cubicBezTo>
                  <a:cubicBezTo>
                    <a:pt x="1215" y="0"/>
                    <a:pt x="1140" y="63"/>
                    <a:pt x="1140" y="153"/>
                  </a:cubicBezTo>
                  <a:cubicBezTo>
                    <a:pt x="1140" y="234"/>
                    <a:pt x="1195" y="275"/>
                    <a:pt x="1261" y="307"/>
                  </a:cubicBezTo>
                  <a:cubicBezTo>
                    <a:pt x="1273" y="312"/>
                    <a:pt x="1322" y="336"/>
                    <a:pt x="1336" y="343"/>
                  </a:cubicBezTo>
                  <a:cubicBezTo>
                    <a:pt x="1378" y="363"/>
                    <a:pt x="1400" y="382"/>
                    <a:pt x="1400" y="417"/>
                  </a:cubicBezTo>
                  <a:cubicBezTo>
                    <a:pt x="1400" y="455"/>
                    <a:pt x="1364" y="487"/>
                    <a:pt x="1310" y="487"/>
                  </a:cubicBezTo>
                  <a:cubicBezTo>
                    <a:pt x="1233" y="487"/>
                    <a:pt x="1192" y="436"/>
                    <a:pt x="1185" y="428"/>
                  </a:cubicBezTo>
                  <a:lnTo>
                    <a:pt x="1117" y="491"/>
                  </a:lnTo>
                  <a:close/>
                  <a:moveTo>
                    <a:pt x="1949" y="0"/>
                  </a:moveTo>
                  <a:lnTo>
                    <a:pt x="1949" y="0"/>
                  </a:lnTo>
                  <a:cubicBezTo>
                    <a:pt x="1921" y="0"/>
                    <a:pt x="1903" y="19"/>
                    <a:pt x="1903" y="43"/>
                  </a:cubicBezTo>
                  <a:lnTo>
                    <a:pt x="1903" y="531"/>
                  </a:lnTo>
                  <a:cubicBezTo>
                    <a:pt x="1903" y="555"/>
                    <a:pt x="1924" y="575"/>
                    <a:pt x="1949" y="575"/>
                  </a:cubicBezTo>
                  <a:cubicBezTo>
                    <a:pt x="1972" y="575"/>
                    <a:pt x="1994" y="555"/>
                    <a:pt x="1994" y="531"/>
                  </a:cubicBezTo>
                  <a:lnTo>
                    <a:pt x="1994" y="179"/>
                  </a:lnTo>
                  <a:cubicBezTo>
                    <a:pt x="1994" y="179"/>
                    <a:pt x="2218" y="465"/>
                    <a:pt x="2276" y="541"/>
                  </a:cubicBezTo>
                  <a:cubicBezTo>
                    <a:pt x="2291" y="559"/>
                    <a:pt x="2302" y="576"/>
                    <a:pt x="2328" y="576"/>
                  </a:cubicBezTo>
                  <a:cubicBezTo>
                    <a:pt x="2355" y="576"/>
                    <a:pt x="2373" y="556"/>
                    <a:pt x="2373" y="532"/>
                  </a:cubicBezTo>
                  <a:lnTo>
                    <a:pt x="2373" y="3"/>
                  </a:lnTo>
                  <a:lnTo>
                    <a:pt x="2282" y="3"/>
                  </a:lnTo>
                  <a:lnTo>
                    <a:pt x="2282" y="398"/>
                  </a:lnTo>
                  <a:cubicBezTo>
                    <a:pt x="2282" y="398"/>
                    <a:pt x="2033" y="78"/>
                    <a:pt x="1998" y="34"/>
                  </a:cubicBezTo>
                  <a:cubicBezTo>
                    <a:pt x="1982" y="13"/>
                    <a:pt x="1970" y="0"/>
                    <a:pt x="1949" y="0"/>
                  </a:cubicBezTo>
                  <a:close/>
                  <a:moveTo>
                    <a:pt x="342" y="264"/>
                  </a:moveTo>
                  <a:lnTo>
                    <a:pt x="342" y="264"/>
                  </a:lnTo>
                  <a:cubicBezTo>
                    <a:pt x="358" y="272"/>
                    <a:pt x="426" y="301"/>
                    <a:pt x="426" y="402"/>
                  </a:cubicBezTo>
                  <a:cubicBezTo>
                    <a:pt x="426" y="497"/>
                    <a:pt x="355" y="572"/>
                    <a:pt x="252" y="572"/>
                  </a:cubicBezTo>
                  <a:lnTo>
                    <a:pt x="0" y="572"/>
                  </a:lnTo>
                  <a:lnTo>
                    <a:pt x="0" y="47"/>
                  </a:lnTo>
                  <a:cubicBezTo>
                    <a:pt x="0" y="20"/>
                    <a:pt x="18" y="2"/>
                    <a:pt x="44" y="2"/>
                  </a:cubicBezTo>
                  <a:lnTo>
                    <a:pt x="241" y="2"/>
                  </a:lnTo>
                  <a:cubicBezTo>
                    <a:pt x="336" y="2"/>
                    <a:pt x="399" y="59"/>
                    <a:pt x="399" y="147"/>
                  </a:cubicBezTo>
                  <a:cubicBezTo>
                    <a:pt x="399" y="221"/>
                    <a:pt x="357" y="254"/>
                    <a:pt x="342" y="264"/>
                  </a:cubicBezTo>
                  <a:close/>
                  <a:moveTo>
                    <a:pt x="91" y="230"/>
                  </a:moveTo>
                  <a:lnTo>
                    <a:pt x="91" y="230"/>
                  </a:lnTo>
                  <a:lnTo>
                    <a:pt x="229" y="230"/>
                  </a:lnTo>
                  <a:cubicBezTo>
                    <a:pt x="278" y="230"/>
                    <a:pt x="306" y="199"/>
                    <a:pt x="306" y="161"/>
                  </a:cubicBezTo>
                  <a:cubicBezTo>
                    <a:pt x="306" y="123"/>
                    <a:pt x="281" y="92"/>
                    <a:pt x="229" y="92"/>
                  </a:cubicBezTo>
                  <a:lnTo>
                    <a:pt x="91" y="92"/>
                  </a:lnTo>
                  <a:lnTo>
                    <a:pt x="91" y="230"/>
                  </a:lnTo>
                  <a:close/>
                  <a:moveTo>
                    <a:pt x="235" y="484"/>
                  </a:moveTo>
                  <a:lnTo>
                    <a:pt x="235" y="484"/>
                  </a:lnTo>
                  <a:cubicBezTo>
                    <a:pt x="300" y="484"/>
                    <a:pt x="333" y="446"/>
                    <a:pt x="333" y="400"/>
                  </a:cubicBezTo>
                  <a:cubicBezTo>
                    <a:pt x="333" y="352"/>
                    <a:pt x="301" y="314"/>
                    <a:pt x="235" y="314"/>
                  </a:cubicBezTo>
                  <a:lnTo>
                    <a:pt x="91" y="314"/>
                  </a:lnTo>
                  <a:lnTo>
                    <a:pt x="91" y="484"/>
                  </a:lnTo>
                  <a:lnTo>
                    <a:pt x="235" y="484"/>
                  </a:lnTo>
                  <a:close/>
                  <a:moveTo>
                    <a:pt x="2858" y="92"/>
                  </a:moveTo>
                  <a:lnTo>
                    <a:pt x="2858" y="92"/>
                  </a:lnTo>
                  <a:cubicBezTo>
                    <a:pt x="2888" y="92"/>
                    <a:pt x="2906" y="73"/>
                    <a:pt x="2906" y="48"/>
                  </a:cubicBezTo>
                  <a:cubicBezTo>
                    <a:pt x="2906" y="23"/>
                    <a:pt x="2887" y="3"/>
                    <a:pt x="2858" y="3"/>
                  </a:cubicBezTo>
                  <a:lnTo>
                    <a:pt x="2576" y="3"/>
                  </a:lnTo>
                  <a:cubicBezTo>
                    <a:pt x="2551" y="3"/>
                    <a:pt x="2532" y="22"/>
                    <a:pt x="2532" y="48"/>
                  </a:cubicBezTo>
                  <a:lnTo>
                    <a:pt x="2532" y="529"/>
                  </a:lnTo>
                  <a:cubicBezTo>
                    <a:pt x="2532" y="554"/>
                    <a:pt x="2551" y="573"/>
                    <a:pt x="2576" y="573"/>
                  </a:cubicBezTo>
                  <a:lnTo>
                    <a:pt x="2903" y="573"/>
                  </a:lnTo>
                  <a:lnTo>
                    <a:pt x="2903" y="484"/>
                  </a:lnTo>
                  <a:lnTo>
                    <a:pt x="2624" y="484"/>
                  </a:lnTo>
                  <a:lnTo>
                    <a:pt x="2624" y="318"/>
                  </a:lnTo>
                  <a:lnTo>
                    <a:pt x="2834" y="318"/>
                  </a:lnTo>
                  <a:cubicBezTo>
                    <a:pt x="2866" y="318"/>
                    <a:pt x="2884" y="299"/>
                    <a:pt x="2884" y="274"/>
                  </a:cubicBezTo>
                  <a:cubicBezTo>
                    <a:pt x="2884" y="248"/>
                    <a:pt x="2867" y="229"/>
                    <a:pt x="2834" y="229"/>
                  </a:cubicBezTo>
                  <a:lnTo>
                    <a:pt x="2624" y="229"/>
                  </a:lnTo>
                  <a:lnTo>
                    <a:pt x="2624" y="92"/>
                  </a:lnTo>
                  <a:lnTo>
                    <a:pt x="2858" y="92"/>
                  </a:lnTo>
                  <a:close/>
                  <a:moveTo>
                    <a:pt x="634" y="346"/>
                  </a:moveTo>
                  <a:lnTo>
                    <a:pt x="634" y="346"/>
                  </a:lnTo>
                  <a:lnTo>
                    <a:pt x="634" y="44"/>
                  </a:lnTo>
                  <a:cubicBezTo>
                    <a:pt x="634" y="19"/>
                    <a:pt x="616" y="0"/>
                    <a:pt x="588" y="0"/>
                  </a:cubicBezTo>
                  <a:cubicBezTo>
                    <a:pt x="560" y="0"/>
                    <a:pt x="542" y="19"/>
                    <a:pt x="542" y="44"/>
                  </a:cubicBezTo>
                  <a:lnTo>
                    <a:pt x="542" y="343"/>
                  </a:lnTo>
                  <a:cubicBezTo>
                    <a:pt x="542" y="471"/>
                    <a:pt x="632" y="575"/>
                    <a:pt x="776" y="575"/>
                  </a:cubicBezTo>
                  <a:cubicBezTo>
                    <a:pt x="920" y="575"/>
                    <a:pt x="1010" y="471"/>
                    <a:pt x="1010" y="343"/>
                  </a:cubicBezTo>
                  <a:lnTo>
                    <a:pt x="1010" y="2"/>
                  </a:lnTo>
                  <a:lnTo>
                    <a:pt x="918" y="2"/>
                  </a:lnTo>
                  <a:lnTo>
                    <a:pt x="918" y="345"/>
                  </a:lnTo>
                  <a:cubicBezTo>
                    <a:pt x="918" y="421"/>
                    <a:pt x="867" y="488"/>
                    <a:pt x="776" y="488"/>
                  </a:cubicBezTo>
                  <a:cubicBezTo>
                    <a:pt x="684" y="489"/>
                    <a:pt x="634" y="422"/>
                    <a:pt x="634" y="346"/>
                  </a:cubicBezTo>
                  <a:close/>
                  <a:moveTo>
                    <a:pt x="1676" y="0"/>
                  </a:moveTo>
                  <a:lnTo>
                    <a:pt x="1676" y="0"/>
                  </a:lnTo>
                  <a:cubicBezTo>
                    <a:pt x="1704" y="0"/>
                    <a:pt x="1722" y="19"/>
                    <a:pt x="1722" y="44"/>
                  </a:cubicBezTo>
                  <a:lnTo>
                    <a:pt x="1722" y="572"/>
                  </a:lnTo>
                  <a:lnTo>
                    <a:pt x="1630" y="572"/>
                  </a:lnTo>
                  <a:lnTo>
                    <a:pt x="1630" y="44"/>
                  </a:lnTo>
                  <a:cubicBezTo>
                    <a:pt x="1630" y="19"/>
                    <a:pt x="1647" y="0"/>
                    <a:pt x="167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3094145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6230F0-0650-4B1C-9111-6BEC13E810C4}"/>
              </a:ext>
            </a:extLst>
          </p:cNvPr>
          <p:cNvSpPr>
            <a:spLocks noGrp="1"/>
          </p:cNvSpPr>
          <p:nvPr>
            <p:ph type="title" hasCustomPrompt="1"/>
          </p:nvPr>
        </p:nvSpPr>
        <p:spPr/>
        <p:txBody>
          <a:bodyPr/>
          <a:lstStyle>
            <a:lvl1pPr>
              <a:defRPr/>
            </a:lvl1pPr>
          </a:lstStyle>
          <a:p>
            <a:r>
              <a:rPr lang="en-US"/>
              <a:t>Slide title, 32pt </a:t>
            </a:r>
            <a:r>
              <a:rPr lang="en-GB"/>
              <a:t>Regular</a:t>
            </a:r>
            <a:endParaRPr lang="en-US"/>
          </a:p>
        </p:txBody>
      </p:sp>
      <p:sp>
        <p:nvSpPr>
          <p:cNvPr id="4" name="Footer Placeholder 3">
            <a:extLst>
              <a:ext uri="{FF2B5EF4-FFF2-40B4-BE49-F238E27FC236}">
                <a16:creationId xmlns:a16="http://schemas.microsoft.com/office/drawing/2014/main" id="{5FC0DD1F-D3C6-49A4-9E66-BF8FF4C985AC}"/>
              </a:ext>
            </a:extLst>
          </p:cNvPr>
          <p:cNvSpPr>
            <a:spLocks noGrp="1"/>
          </p:cNvSpPr>
          <p:nvPr>
            <p:ph type="ftr" sz="quarter" idx="11"/>
          </p:nvPr>
        </p:nvSpPr>
        <p:spPr/>
        <p:txBody>
          <a:bodyPr/>
          <a:lstStyle/>
          <a:p>
            <a:r>
              <a:rPr lang="en-US"/>
              <a:t>Copyright © 2021 Comcast Business. All rights reserved.</a:t>
            </a:r>
          </a:p>
        </p:txBody>
      </p:sp>
      <p:sp>
        <p:nvSpPr>
          <p:cNvPr id="5" name="Slide Number Placeholder 4">
            <a:extLst>
              <a:ext uri="{FF2B5EF4-FFF2-40B4-BE49-F238E27FC236}">
                <a16:creationId xmlns:a16="http://schemas.microsoft.com/office/drawing/2014/main" id="{ACB796CC-F24E-451D-87D3-C83ED721C609}"/>
              </a:ext>
            </a:extLst>
          </p:cNvPr>
          <p:cNvSpPr>
            <a:spLocks noGrp="1"/>
          </p:cNvSpPr>
          <p:nvPr>
            <p:ph type="sldNum" sz="quarter" idx="12"/>
          </p:nvPr>
        </p:nvSpPr>
        <p:spPr/>
        <p:txBody>
          <a:bodyPr/>
          <a:lstStyle/>
          <a:p>
            <a:fld id="{A07A7439-3E0E-4A6B-9524-3A8EBA819993}" type="slidenum">
              <a:rPr lang="en-US" smtClean="0"/>
              <a:t>‹#›</a:t>
            </a:fld>
            <a:endParaRPr lang="en-US"/>
          </a:p>
        </p:txBody>
      </p:sp>
      <p:sp>
        <p:nvSpPr>
          <p:cNvPr id="6" name="Text Placeholder 8">
            <a:extLst>
              <a:ext uri="{FF2B5EF4-FFF2-40B4-BE49-F238E27FC236}">
                <a16:creationId xmlns:a16="http://schemas.microsoft.com/office/drawing/2014/main" id="{47023C20-07E0-4992-98E5-17880D893962}"/>
              </a:ext>
            </a:extLst>
          </p:cNvPr>
          <p:cNvSpPr>
            <a:spLocks noGrp="1"/>
          </p:cNvSpPr>
          <p:nvPr>
            <p:ph type="body" sz="quarter" idx="13" hasCustomPrompt="1"/>
          </p:nvPr>
        </p:nvSpPr>
        <p:spPr>
          <a:xfrm>
            <a:off x="457200" y="411480"/>
            <a:ext cx="6400800" cy="182880"/>
          </a:xfrm>
        </p:spPr>
        <p:txBody>
          <a:bodyPr/>
          <a:lstStyle>
            <a:lvl1pPr marL="0" indent="0">
              <a:buNone/>
              <a:defRPr sz="1200">
                <a:solidFill>
                  <a:schemeClr val="accent1"/>
                </a:solidFill>
              </a:defRPr>
            </a:lvl1pPr>
            <a:lvl2pPr marL="228600" indent="0">
              <a:buNone/>
              <a:defRPr/>
            </a:lvl2pPr>
          </a:lstStyle>
          <a:p>
            <a:pPr lvl="0"/>
            <a:r>
              <a:rPr lang="en-US"/>
              <a:t>Optional subtitle, 12pt Regular</a:t>
            </a:r>
          </a:p>
        </p:txBody>
      </p:sp>
    </p:spTree>
    <p:extLst>
      <p:ext uri="{BB962C8B-B14F-4D97-AF65-F5344CB8AC3E}">
        <p14:creationId xmlns:p14="http://schemas.microsoft.com/office/powerpoint/2010/main" val="17108702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BA56F86-8CE3-48BA-A860-8A3E6614258B}"/>
              </a:ext>
            </a:extLst>
          </p:cNvPr>
          <p:cNvSpPr>
            <a:spLocks noGrp="1"/>
          </p:cNvSpPr>
          <p:nvPr>
            <p:ph type="ftr" sz="quarter" idx="11"/>
          </p:nvPr>
        </p:nvSpPr>
        <p:spPr/>
        <p:txBody>
          <a:bodyPr/>
          <a:lstStyle/>
          <a:p>
            <a:r>
              <a:rPr lang="en-US"/>
              <a:t>Copyright © 2021 Comcast Business. All rights reserved.</a:t>
            </a:r>
          </a:p>
        </p:txBody>
      </p:sp>
      <p:sp>
        <p:nvSpPr>
          <p:cNvPr id="4" name="Slide Number Placeholder 3">
            <a:extLst>
              <a:ext uri="{FF2B5EF4-FFF2-40B4-BE49-F238E27FC236}">
                <a16:creationId xmlns:a16="http://schemas.microsoft.com/office/drawing/2014/main" id="{BDB46465-AD4F-416C-82FD-569FFB4C5440}"/>
              </a:ext>
            </a:extLst>
          </p:cNvPr>
          <p:cNvSpPr>
            <a:spLocks noGrp="1"/>
          </p:cNvSpPr>
          <p:nvPr>
            <p:ph type="sldNum" sz="quarter" idx="12"/>
          </p:nvPr>
        </p:nvSpPr>
        <p:spPr/>
        <p:txBody>
          <a:bodyPr/>
          <a:lstStyle/>
          <a:p>
            <a:fld id="{A07A7439-3E0E-4A6B-9524-3A8EBA819993}" type="slidenum">
              <a:rPr lang="en-US" smtClean="0"/>
              <a:t>‹#›</a:t>
            </a:fld>
            <a:endParaRPr lang="en-US"/>
          </a:p>
        </p:txBody>
      </p:sp>
    </p:spTree>
    <p:extLst>
      <p:ext uri="{BB962C8B-B14F-4D97-AF65-F5344CB8AC3E}">
        <p14:creationId xmlns:p14="http://schemas.microsoft.com/office/powerpoint/2010/main" val="404808802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Closing 1">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01715D-BBCC-4185-A6D8-5FD229113338}"/>
              </a:ext>
            </a:extLst>
          </p:cNvPr>
          <p:cNvSpPr>
            <a:spLocks noGrp="1"/>
          </p:cNvSpPr>
          <p:nvPr>
            <p:ph type="ctrTitle" hasCustomPrompt="1"/>
          </p:nvPr>
        </p:nvSpPr>
        <p:spPr>
          <a:xfrm>
            <a:off x="374091" y="1234440"/>
            <a:ext cx="6583680" cy="3200400"/>
          </a:xfrm>
        </p:spPr>
        <p:txBody>
          <a:bodyPr lIns="0" tIns="0" rIns="0" bIns="0" anchor="b">
            <a:noAutofit/>
          </a:bodyPr>
          <a:lstStyle>
            <a:lvl1pPr algn="l">
              <a:lnSpc>
                <a:spcPct val="85000"/>
              </a:lnSpc>
              <a:defRPr sz="6000">
                <a:solidFill>
                  <a:schemeClr val="bg1"/>
                </a:solidFill>
              </a:defRPr>
            </a:lvl1pPr>
          </a:lstStyle>
          <a:p>
            <a:r>
              <a:rPr lang="en-GB"/>
              <a:t>Closing statement, 60pt Regular, max 3 lines</a:t>
            </a:r>
          </a:p>
        </p:txBody>
      </p:sp>
      <p:sp>
        <p:nvSpPr>
          <p:cNvPr id="10" name="Picture Placeholder 9">
            <a:extLst>
              <a:ext uri="{FF2B5EF4-FFF2-40B4-BE49-F238E27FC236}">
                <a16:creationId xmlns:a16="http://schemas.microsoft.com/office/drawing/2014/main" id="{B627D238-8B66-492F-B324-DB17A6988A4D}"/>
              </a:ext>
            </a:extLst>
          </p:cNvPr>
          <p:cNvSpPr>
            <a:spLocks noGrp="1" noChangeAspect="1"/>
          </p:cNvSpPr>
          <p:nvPr>
            <p:ph type="pic" sz="quarter" idx="15" hasCustomPrompt="1"/>
          </p:nvPr>
        </p:nvSpPr>
        <p:spPr>
          <a:xfrm>
            <a:off x="7159752" y="-9144"/>
            <a:ext cx="5039057" cy="6876288"/>
          </a:xfrm>
          <a:custGeom>
            <a:avLst/>
            <a:gdLst>
              <a:gd name="connsiteX0" fmla="*/ 3420147 w 5025656"/>
              <a:gd name="connsiteY0" fmla="*/ 0 h 6858001"/>
              <a:gd name="connsiteX1" fmla="*/ 4791747 w 5025656"/>
              <a:gd name="connsiteY1" fmla="*/ 0 h 6858001"/>
              <a:gd name="connsiteX2" fmla="*/ 4791747 w 5025656"/>
              <a:gd name="connsiteY2" fmla="*/ 1 h 6858001"/>
              <a:gd name="connsiteX3" fmla="*/ 5025656 w 5025656"/>
              <a:gd name="connsiteY3" fmla="*/ 1 h 6858001"/>
              <a:gd name="connsiteX4" fmla="*/ 5025656 w 5025656"/>
              <a:gd name="connsiteY4" fmla="*/ 6858001 h 6858001"/>
              <a:gd name="connsiteX5" fmla="*/ 3844556 w 5025656"/>
              <a:gd name="connsiteY5" fmla="*/ 6858001 h 6858001"/>
              <a:gd name="connsiteX6" fmla="*/ 3844556 w 5025656"/>
              <a:gd name="connsiteY6" fmla="*/ 6858000 h 6858001"/>
              <a:gd name="connsiteX7" fmla="*/ 3420147 w 5025656"/>
              <a:gd name="connsiteY7" fmla="*/ 6858000 h 6858001"/>
              <a:gd name="connsiteX8" fmla="*/ 3420147 w 5025656"/>
              <a:gd name="connsiteY8" fmla="*/ 6857394 h 6858001"/>
              <a:gd name="connsiteX9" fmla="*/ 3210950 w 5025656"/>
              <a:gd name="connsiteY9" fmla="*/ 6851085 h 6858001"/>
              <a:gd name="connsiteX10" fmla="*/ 462976 w 5025656"/>
              <a:gd name="connsiteY10" fmla="*/ 5149683 h 6858001"/>
              <a:gd name="connsiteX11" fmla="*/ 457614 w 5025656"/>
              <a:gd name="connsiteY11" fmla="*/ 1717595 h 6858001"/>
              <a:gd name="connsiteX12" fmla="*/ 3200258 w 5025656"/>
              <a:gd name="connsiteY12" fmla="*/ 7617 h 6858001"/>
              <a:gd name="connsiteX13" fmla="*/ 3420147 w 5025656"/>
              <a:gd name="connsiteY13" fmla="*/ 297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25656" h="6858001">
                <a:moveTo>
                  <a:pt x="3420147" y="0"/>
                </a:moveTo>
                <a:lnTo>
                  <a:pt x="4791747" y="0"/>
                </a:lnTo>
                <a:lnTo>
                  <a:pt x="4791747" y="1"/>
                </a:lnTo>
                <a:lnTo>
                  <a:pt x="5025656" y="1"/>
                </a:lnTo>
                <a:lnTo>
                  <a:pt x="5025656" y="6858001"/>
                </a:lnTo>
                <a:lnTo>
                  <a:pt x="3844556" y="6858001"/>
                </a:lnTo>
                <a:lnTo>
                  <a:pt x="3844556" y="6858000"/>
                </a:lnTo>
                <a:lnTo>
                  <a:pt x="3420147" y="6858000"/>
                </a:lnTo>
                <a:lnTo>
                  <a:pt x="3420147" y="6857394"/>
                </a:lnTo>
                <a:lnTo>
                  <a:pt x="3210950" y="6851085"/>
                </a:lnTo>
                <a:cubicBezTo>
                  <a:pt x="2073531" y="6778796"/>
                  <a:pt x="1039896" y="6144147"/>
                  <a:pt x="462976" y="5149683"/>
                </a:cubicBezTo>
                <a:cubicBezTo>
                  <a:pt x="-152405" y="4088921"/>
                  <a:pt x="-154449" y="2780275"/>
                  <a:pt x="457614" y="1717595"/>
                </a:cubicBezTo>
                <a:cubicBezTo>
                  <a:pt x="1031423" y="721334"/>
                  <a:pt x="2063071" y="83459"/>
                  <a:pt x="3200258" y="7617"/>
                </a:cubicBezTo>
                <a:lnTo>
                  <a:pt x="3420147" y="297"/>
                </a:lnTo>
                <a:close/>
              </a:path>
            </a:pathLst>
          </a:custGeom>
          <a:solidFill>
            <a:schemeClr val="bg1">
              <a:lumMod val="95000"/>
            </a:schemeClr>
          </a:solidFill>
        </p:spPr>
        <p:txBody>
          <a:bodyPr wrap="square" lIns="1554480" tIns="2194560" rIns="1188720">
            <a:noAutofit/>
          </a:bodyPr>
          <a:lstStyle>
            <a:lvl1pPr marL="0" indent="0">
              <a:buNone/>
              <a:defRPr>
                <a:solidFill>
                  <a:schemeClr val="accent1"/>
                </a:solidFill>
              </a:defRPr>
            </a:lvl1pPr>
          </a:lstStyle>
          <a:p>
            <a:r>
              <a:rPr lang="en-GB"/>
              <a:t>Drag picture to placeholder or click icon to add.</a:t>
            </a:r>
            <a:endParaRPr lang="en-US"/>
          </a:p>
        </p:txBody>
      </p:sp>
      <p:sp>
        <p:nvSpPr>
          <p:cNvPr id="14" name="Date Placeholder 3">
            <a:extLst>
              <a:ext uri="{FF2B5EF4-FFF2-40B4-BE49-F238E27FC236}">
                <a16:creationId xmlns:a16="http://schemas.microsoft.com/office/drawing/2014/main" id="{8E2DEB5C-F5A4-4973-BC76-1D81FD9B0062}"/>
              </a:ext>
            </a:extLst>
          </p:cNvPr>
          <p:cNvSpPr>
            <a:spLocks noGrp="1"/>
          </p:cNvSpPr>
          <p:nvPr>
            <p:ph type="dt" sz="half" idx="10"/>
          </p:nvPr>
        </p:nvSpPr>
        <p:spPr>
          <a:xfrm>
            <a:off x="457200" y="487079"/>
            <a:ext cx="4114799" cy="274320"/>
          </a:xfrm>
        </p:spPr>
        <p:txBody>
          <a:bodyPr lIns="0" tIns="0" rIns="0" bIns="0">
            <a:noAutofit/>
          </a:bodyPr>
          <a:lstStyle>
            <a:lvl1pPr>
              <a:defRPr sz="1400">
                <a:solidFill>
                  <a:schemeClr val="accent2"/>
                </a:solidFill>
              </a:defRPr>
            </a:lvl1pPr>
          </a:lstStyle>
          <a:p>
            <a:endParaRPr lang="en-US"/>
          </a:p>
        </p:txBody>
      </p:sp>
      <p:grpSp>
        <p:nvGrpSpPr>
          <p:cNvPr id="8" name="Group 4">
            <a:extLst>
              <a:ext uri="{FF2B5EF4-FFF2-40B4-BE49-F238E27FC236}">
                <a16:creationId xmlns:a16="http://schemas.microsoft.com/office/drawing/2014/main" id="{A1567987-6920-4F6C-94E3-0F5349E7C327}"/>
              </a:ext>
            </a:extLst>
          </p:cNvPr>
          <p:cNvGrpSpPr>
            <a:grpSpLocks noChangeAspect="1"/>
          </p:cNvGrpSpPr>
          <p:nvPr userDrawn="1"/>
        </p:nvGrpSpPr>
        <p:grpSpPr bwMode="auto">
          <a:xfrm>
            <a:off x="447496" y="5518959"/>
            <a:ext cx="1581912" cy="804468"/>
            <a:chOff x="1276" y="2201"/>
            <a:chExt cx="4800" cy="2441"/>
          </a:xfrm>
          <a:solidFill>
            <a:srgbClr val="FFFFFF"/>
          </a:solidFill>
        </p:grpSpPr>
        <p:sp>
          <p:nvSpPr>
            <p:cNvPr id="9" name="Freeform 5">
              <a:extLst>
                <a:ext uri="{FF2B5EF4-FFF2-40B4-BE49-F238E27FC236}">
                  <a16:creationId xmlns:a16="http://schemas.microsoft.com/office/drawing/2014/main" id="{59DA4C4C-E7B3-4CC8-B341-CDB96398ADEA}"/>
                </a:ext>
              </a:extLst>
            </p:cNvPr>
            <p:cNvSpPr>
              <a:spLocks noEditPoints="1"/>
            </p:cNvSpPr>
            <p:nvPr userDrawn="1"/>
          </p:nvSpPr>
          <p:spPr bwMode="auto">
            <a:xfrm>
              <a:off x="1276" y="2201"/>
              <a:ext cx="4794" cy="2441"/>
            </a:xfrm>
            <a:custGeom>
              <a:avLst/>
              <a:gdLst>
                <a:gd name="T0" fmla="*/ 9572 w 9986"/>
                <a:gd name="T1" fmla="*/ 153 h 5085"/>
                <a:gd name="T2" fmla="*/ 6835 w 9986"/>
                <a:gd name="T3" fmla="*/ 925 h 5085"/>
                <a:gd name="T4" fmla="*/ 6895 w 9986"/>
                <a:gd name="T5" fmla="*/ 780 h 5085"/>
                <a:gd name="T6" fmla="*/ 3251 w 9986"/>
                <a:gd name="T7" fmla="*/ 1478 h 5085"/>
                <a:gd name="T8" fmla="*/ 4555 w 9986"/>
                <a:gd name="T9" fmla="*/ 55 h 5085"/>
                <a:gd name="T10" fmla="*/ 5001 w 9986"/>
                <a:gd name="T11" fmla="*/ 740 h 5085"/>
                <a:gd name="T12" fmla="*/ 1260 w 9986"/>
                <a:gd name="T13" fmla="*/ 320 h 5085"/>
                <a:gd name="T14" fmla="*/ 738 w 9986"/>
                <a:gd name="T15" fmla="*/ 1331 h 5085"/>
                <a:gd name="T16" fmla="*/ 8772 w 9986"/>
                <a:gd name="T17" fmla="*/ 158 h 5085"/>
                <a:gd name="T18" fmla="*/ 8053 w 9986"/>
                <a:gd name="T19" fmla="*/ 1163 h 5085"/>
                <a:gd name="T20" fmla="*/ 2988 w 9986"/>
                <a:gd name="T21" fmla="*/ 740 h 5085"/>
                <a:gd name="T22" fmla="*/ 9814 w 9986"/>
                <a:gd name="T23" fmla="*/ 4415 h 5085"/>
                <a:gd name="T24" fmla="*/ 9918 w 9986"/>
                <a:gd name="T25" fmla="*/ 4246 h 5085"/>
                <a:gd name="T26" fmla="*/ 9562 w 9986"/>
                <a:gd name="T27" fmla="*/ 4273 h 5085"/>
                <a:gd name="T28" fmla="*/ 9408 w 9986"/>
                <a:gd name="T29" fmla="*/ 4780 h 5085"/>
                <a:gd name="T30" fmla="*/ 9380 w 9986"/>
                <a:gd name="T31" fmla="*/ 4447 h 5085"/>
                <a:gd name="T32" fmla="*/ 9389 w 9986"/>
                <a:gd name="T33" fmla="*/ 4671 h 5085"/>
                <a:gd name="T34" fmla="*/ 8917 w 9986"/>
                <a:gd name="T35" fmla="*/ 4533 h 5085"/>
                <a:gd name="T36" fmla="*/ 9001 w 9986"/>
                <a:gd name="T37" fmla="*/ 4836 h 5085"/>
                <a:gd name="T38" fmla="*/ 8919 w 9986"/>
                <a:gd name="T39" fmla="*/ 4466 h 5085"/>
                <a:gd name="T40" fmla="*/ 8387 w 9986"/>
                <a:gd name="T41" fmla="*/ 4323 h 5085"/>
                <a:gd name="T42" fmla="*/ 8282 w 9986"/>
                <a:gd name="T43" fmla="*/ 4879 h 5085"/>
                <a:gd name="T44" fmla="*/ 8045 w 9986"/>
                <a:gd name="T45" fmla="*/ 4336 h 5085"/>
                <a:gd name="T46" fmla="*/ 8228 w 9986"/>
                <a:gd name="T47" fmla="*/ 4852 h 5085"/>
                <a:gd name="T48" fmla="*/ 7788 w 9986"/>
                <a:gd name="T49" fmla="*/ 4291 h 5085"/>
                <a:gd name="T50" fmla="*/ 7635 w 9986"/>
                <a:gd name="T51" fmla="*/ 4246 h 5085"/>
                <a:gd name="T52" fmla="*/ 7339 w 9986"/>
                <a:gd name="T53" fmla="*/ 4323 h 5085"/>
                <a:gd name="T54" fmla="*/ 7070 w 9986"/>
                <a:gd name="T55" fmla="*/ 4833 h 5085"/>
                <a:gd name="T56" fmla="*/ 6828 w 9986"/>
                <a:gd name="T57" fmla="*/ 4769 h 5085"/>
                <a:gd name="T58" fmla="*/ 6985 w 9986"/>
                <a:gd name="T59" fmla="*/ 4912 h 5085"/>
                <a:gd name="T60" fmla="*/ 6985 w 9986"/>
                <a:gd name="T61" fmla="*/ 4435 h 5085"/>
                <a:gd name="T62" fmla="*/ 6510 w 9986"/>
                <a:gd name="T63" fmla="*/ 4260 h 5085"/>
                <a:gd name="T64" fmla="*/ 6046 w 9986"/>
                <a:gd name="T65" fmla="*/ 4804 h 5085"/>
                <a:gd name="T66" fmla="*/ 6059 w 9986"/>
                <a:gd name="T67" fmla="*/ 4643 h 5085"/>
                <a:gd name="T68" fmla="*/ 6098 w 9986"/>
                <a:gd name="T69" fmla="*/ 4567 h 5085"/>
                <a:gd name="T70" fmla="*/ 6099 w 9986"/>
                <a:gd name="T71" fmla="*/ 4896 h 5085"/>
                <a:gd name="T72" fmla="*/ 5833 w 9986"/>
                <a:gd name="T73" fmla="*/ 4717 h 5085"/>
                <a:gd name="T74" fmla="*/ 5913 w 9986"/>
                <a:gd name="T75" fmla="*/ 4530 h 5085"/>
                <a:gd name="T76" fmla="*/ 5956 w 9986"/>
                <a:gd name="T77" fmla="*/ 4779 h 5085"/>
                <a:gd name="T78" fmla="*/ 5277 w 9986"/>
                <a:gd name="T79" fmla="*/ 4491 h 5085"/>
                <a:gd name="T80" fmla="*/ 5069 w 9986"/>
                <a:gd name="T81" fmla="*/ 4796 h 5085"/>
                <a:gd name="T82" fmla="*/ 5399 w 9986"/>
                <a:gd name="T83" fmla="*/ 4882 h 5085"/>
                <a:gd name="T84" fmla="*/ 4727 w 9986"/>
                <a:gd name="T85" fmla="*/ 4653 h 5085"/>
                <a:gd name="T86" fmla="*/ 4495 w 9986"/>
                <a:gd name="T87" fmla="*/ 4284 h 5085"/>
                <a:gd name="T88" fmla="*/ 3755 w 9986"/>
                <a:gd name="T89" fmla="*/ 4512 h 5085"/>
                <a:gd name="T90" fmla="*/ 4028 w 9986"/>
                <a:gd name="T91" fmla="*/ 5028 h 5085"/>
                <a:gd name="T92" fmla="*/ 4023 w 9986"/>
                <a:gd name="T93" fmla="*/ 4799 h 5085"/>
                <a:gd name="T94" fmla="*/ 3948 w 9986"/>
                <a:gd name="T95" fmla="*/ 4459 h 5085"/>
                <a:gd name="T96" fmla="*/ 3405 w 9986"/>
                <a:gd name="T97" fmla="*/ 4531 h 5085"/>
                <a:gd name="T98" fmla="*/ 3205 w 9986"/>
                <a:gd name="T99" fmla="*/ 4459 h 5085"/>
                <a:gd name="T100" fmla="*/ 2844 w 9986"/>
                <a:gd name="T101" fmla="*/ 4291 h 5085"/>
                <a:gd name="T102" fmla="*/ 2753 w 9986"/>
                <a:gd name="T103" fmla="*/ 4435 h 5085"/>
                <a:gd name="T104" fmla="*/ 2577 w 9986"/>
                <a:gd name="T105" fmla="*/ 4531 h 5085"/>
                <a:gd name="T106" fmla="*/ 2001 w 9986"/>
                <a:gd name="T107" fmla="*/ 4693 h 5085"/>
                <a:gd name="T108" fmla="*/ 1969 w 9986"/>
                <a:gd name="T109" fmla="*/ 4796 h 5085"/>
                <a:gd name="T110" fmla="*/ 1912 w 9986"/>
                <a:gd name="T111" fmla="*/ 4439 h 5085"/>
                <a:gd name="T112" fmla="*/ 1500 w 9986"/>
                <a:gd name="T113" fmla="*/ 4439 h 5085"/>
                <a:gd name="T114" fmla="*/ 965 w 9986"/>
                <a:gd name="T115" fmla="*/ 4513 h 5085"/>
                <a:gd name="T116" fmla="*/ 753 w 9986"/>
                <a:gd name="T117" fmla="*/ 4882 h 5085"/>
                <a:gd name="T118" fmla="*/ 1083 w 9986"/>
                <a:gd name="T119" fmla="*/ 4796 h 5085"/>
                <a:gd name="T120" fmla="*/ 159 w 9986"/>
                <a:gd name="T121" fmla="*/ 4653 h 5085"/>
                <a:gd name="T122" fmla="*/ 93 w 9986"/>
                <a:gd name="T123" fmla="*/ 4908 h 5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986" h="5085">
                  <a:moveTo>
                    <a:pt x="9986" y="81"/>
                  </a:moveTo>
                  <a:cubicBezTo>
                    <a:pt x="9986" y="41"/>
                    <a:pt x="9953" y="8"/>
                    <a:pt x="9913" y="8"/>
                  </a:cubicBezTo>
                  <a:lnTo>
                    <a:pt x="9093" y="8"/>
                  </a:lnTo>
                  <a:cubicBezTo>
                    <a:pt x="9053" y="8"/>
                    <a:pt x="9020" y="40"/>
                    <a:pt x="9020" y="81"/>
                  </a:cubicBezTo>
                  <a:cubicBezTo>
                    <a:pt x="9020" y="121"/>
                    <a:pt x="9051" y="153"/>
                    <a:pt x="9093" y="153"/>
                  </a:cubicBezTo>
                  <a:lnTo>
                    <a:pt x="9438" y="153"/>
                  </a:lnTo>
                  <a:lnTo>
                    <a:pt x="9438" y="1468"/>
                  </a:lnTo>
                  <a:lnTo>
                    <a:pt x="9572" y="1468"/>
                  </a:lnTo>
                  <a:lnTo>
                    <a:pt x="9572" y="153"/>
                  </a:lnTo>
                  <a:lnTo>
                    <a:pt x="9915" y="153"/>
                  </a:lnTo>
                  <a:cubicBezTo>
                    <a:pt x="9955" y="155"/>
                    <a:pt x="9986" y="121"/>
                    <a:pt x="9986" y="81"/>
                  </a:cubicBezTo>
                  <a:close/>
                  <a:moveTo>
                    <a:pt x="7113" y="1"/>
                  </a:moveTo>
                  <a:cubicBezTo>
                    <a:pt x="7085" y="1"/>
                    <a:pt x="7065" y="20"/>
                    <a:pt x="7051" y="43"/>
                  </a:cubicBezTo>
                  <a:cubicBezTo>
                    <a:pt x="7040" y="66"/>
                    <a:pt x="6505" y="1386"/>
                    <a:pt x="6505" y="1386"/>
                  </a:cubicBezTo>
                  <a:cubicBezTo>
                    <a:pt x="6501" y="1395"/>
                    <a:pt x="6500" y="1403"/>
                    <a:pt x="6500" y="1411"/>
                  </a:cubicBezTo>
                  <a:cubicBezTo>
                    <a:pt x="6500" y="1448"/>
                    <a:pt x="6528" y="1476"/>
                    <a:pt x="6565" y="1476"/>
                  </a:cubicBezTo>
                  <a:cubicBezTo>
                    <a:pt x="6593" y="1476"/>
                    <a:pt x="6617" y="1460"/>
                    <a:pt x="6626" y="1435"/>
                  </a:cubicBezTo>
                  <a:lnTo>
                    <a:pt x="6835" y="925"/>
                  </a:lnTo>
                  <a:lnTo>
                    <a:pt x="7393" y="925"/>
                  </a:lnTo>
                  <a:lnTo>
                    <a:pt x="7615" y="1468"/>
                  </a:lnTo>
                  <a:lnTo>
                    <a:pt x="7756" y="1468"/>
                  </a:lnTo>
                  <a:cubicBezTo>
                    <a:pt x="7756" y="1468"/>
                    <a:pt x="7188" y="65"/>
                    <a:pt x="7176" y="41"/>
                  </a:cubicBezTo>
                  <a:cubicBezTo>
                    <a:pt x="7163" y="20"/>
                    <a:pt x="7142" y="1"/>
                    <a:pt x="7113" y="1"/>
                  </a:cubicBezTo>
                  <a:moveTo>
                    <a:pt x="6895" y="780"/>
                  </a:moveTo>
                  <a:lnTo>
                    <a:pt x="7115" y="240"/>
                  </a:lnTo>
                  <a:lnTo>
                    <a:pt x="7335" y="780"/>
                  </a:lnTo>
                  <a:lnTo>
                    <a:pt x="6895" y="780"/>
                  </a:lnTo>
                  <a:close/>
                  <a:moveTo>
                    <a:pt x="4490" y="1"/>
                  </a:moveTo>
                  <a:cubicBezTo>
                    <a:pt x="4463" y="1"/>
                    <a:pt x="4441" y="20"/>
                    <a:pt x="4430" y="41"/>
                  </a:cubicBezTo>
                  <a:cubicBezTo>
                    <a:pt x="4418" y="65"/>
                    <a:pt x="3995" y="1108"/>
                    <a:pt x="3995" y="1108"/>
                  </a:cubicBezTo>
                  <a:cubicBezTo>
                    <a:pt x="3995" y="1108"/>
                    <a:pt x="3572" y="63"/>
                    <a:pt x="3560" y="41"/>
                  </a:cubicBezTo>
                  <a:cubicBezTo>
                    <a:pt x="3548" y="18"/>
                    <a:pt x="3526" y="1"/>
                    <a:pt x="3500" y="1"/>
                  </a:cubicBezTo>
                  <a:cubicBezTo>
                    <a:pt x="3468" y="1"/>
                    <a:pt x="3443" y="25"/>
                    <a:pt x="3435" y="55"/>
                  </a:cubicBezTo>
                  <a:cubicBezTo>
                    <a:pt x="3426" y="85"/>
                    <a:pt x="3188" y="1400"/>
                    <a:pt x="3188" y="1400"/>
                  </a:cubicBezTo>
                  <a:cubicBezTo>
                    <a:pt x="3188" y="1405"/>
                    <a:pt x="3186" y="1408"/>
                    <a:pt x="3186" y="1413"/>
                  </a:cubicBezTo>
                  <a:cubicBezTo>
                    <a:pt x="3186" y="1450"/>
                    <a:pt x="3216" y="1478"/>
                    <a:pt x="3251" y="1478"/>
                  </a:cubicBezTo>
                  <a:cubicBezTo>
                    <a:pt x="3283" y="1478"/>
                    <a:pt x="3310" y="1455"/>
                    <a:pt x="3316" y="1425"/>
                  </a:cubicBezTo>
                  <a:lnTo>
                    <a:pt x="3523" y="300"/>
                  </a:lnTo>
                  <a:cubicBezTo>
                    <a:pt x="3523" y="300"/>
                    <a:pt x="3921" y="1283"/>
                    <a:pt x="3933" y="1306"/>
                  </a:cubicBezTo>
                  <a:cubicBezTo>
                    <a:pt x="3945" y="1330"/>
                    <a:pt x="3966" y="1348"/>
                    <a:pt x="3995" y="1348"/>
                  </a:cubicBezTo>
                  <a:cubicBezTo>
                    <a:pt x="4022" y="1348"/>
                    <a:pt x="4045" y="1330"/>
                    <a:pt x="4056" y="1306"/>
                  </a:cubicBezTo>
                  <a:cubicBezTo>
                    <a:pt x="4068" y="1283"/>
                    <a:pt x="4466" y="300"/>
                    <a:pt x="4466" y="300"/>
                  </a:cubicBezTo>
                  <a:lnTo>
                    <a:pt x="4681" y="1470"/>
                  </a:lnTo>
                  <a:lnTo>
                    <a:pt x="4815" y="1470"/>
                  </a:lnTo>
                  <a:cubicBezTo>
                    <a:pt x="4815" y="1470"/>
                    <a:pt x="4563" y="85"/>
                    <a:pt x="4555" y="55"/>
                  </a:cubicBezTo>
                  <a:cubicBezTo>
                    <a:pt x="4545" y="25"/>
                    <a:pt x="4522" y="1"/>
                    <a:pt x="4490" y="1"/>
                  </a:cubicBezTo>
                  <a:moveTo>
                    <a:pt x="5740" y="146"/>
                  </a:moveTo>
                  <a:cubicBezTo>
                    <a:pt x="5898" y="146"/>
                    <a:pt x="6047" y="208"/>
                    <a:pt x="6158" y="320"/>
                  </a:cubicBezTo>
                  <a:cubicBezTo>
                    <a:pt x="6185" y="346"/>
                    <a:pt x="6235" y="346"/>
                    <a:pt x="6261" y="320"/>
                  </a:cubicBezTo>
                  <a:cubicBezTo>
                    <a:pt x="6275" y="306"/>
                    <a:pt x="6283" y="288"/>
                    <a:pt x="6283" y="268"/>
                  </a:cubicBezTo>
                  <a:cubicBezTo>
                    <a:pt x="6283" y="248"/>
                    <a:pt x="6275" y="230"/>
                    <a:pt x="6261" y="216"/>
                  </a:cubicBezTo>
                  <a:lnTo>
                    <a:pt x="6253" y="208"/>
                  </a:lnTo>
                  <a:cubicBezTo>
                    <a:pt x="6115" y="75"/>
                    <a:pt x="5933" y="1"/>
                    <a:pt x="5740" y="1"/>
                  </a:cubicBezTo>
                  <a:cubicBezTo>
                    <a:pt x="5333" y="1"/>
                    <a:pt x="5001" y="333"/>
                    <a:pt x="5001" y="740"/>
                  </a:cubicBezTo>
                  <a:cubicBezTo>
                    <a:pt x="5001" y="1146"/>
                    <a:pt x="5333" y="1478"/>
                    <a:pt x="5740" y="1478"/>
                  </a:cubicBezTo>
                  <a:cubicBezTo>
                    <a:pt x="5955" y="1478"/>
                    <a:pt x="6148" y="1386"/>
                    <a:pt x="6283" y="1238"/>
                  </a:cubicBezTo>
                  <a:lnTo>
                    <a:pt x="6180" y="1135"/>
                  </a:lnTo>
                  <a:cubicBezTo>
                    <a:pt x="6072" y="1255"/>
                    <a:pt x="5915" y="1331"/>
                    <a:pt x="5740" y="1331"/>
                  </a:cubicBezTo>
                  <a:cubicBezTo>
                    <a:pt x="5413" y="1331"/>
                    <a:pt x="5147" y="1065"/>
                    <a:pt x="5147" y="738"/>
                  </a:cubicBezTo>
                  <a:cubicBezTo>
                    <a:pt x="5147" y="413"/>
                    <a:pt x="5413" y="146"/>
                    <a:pt x="5740" y="146"/>
                  </a:cubicBezTo>
                  <a:moveTo>
                    <a:pt x="736" y="146"/>
                  </a:moveTo>
                  <a:cubicBezTo>
                    <a:pt x="895" y="146"/>
                    <a:pt x="1043" y="208"/>
                    <a:pt x="1156" y="320"/>
                  </a:cubicBezTo>
                  <a:cubicBezTo>
                    <a:pt x="1183" y="346"/>
                    <a:pt x="1233" y="346"/>
                    <a:pt x="1260" y="320"/>
                  </a:cubicBezTo>
                  <a:cubicBezTo>
                    <a:pt x="1273" y="306"/>
                    <a:pt x="1281" y="288"/>
                    <a:pt x="1281" y="268"/>
                  </a:cubicBezTo>
                  <a:cubicBezTo>
                    <a:pt x="1281" y="248"/>
                    <a:pt x="1275" y="230"/>
                    <a:pt x="1260" y="216"/>
                  </a:cubicBezTo>
                  <a:lnTo>
                    <a:pt x="1251" y="208"/>
                  </a:lnTo>
                  <a:cubicBezTo>
                    <a:pt x="1113" y="75"/>
                    <a:pt x="931" y="1"/>
                    <a:pt x="738" y="1"/>
                  </a:cubicBezTo>
                  <a:cubicBezTo>
                    <a:pt x="331" y="1"/>
                    <a:pt x="0" y="333"/>
                    <a:pt x="0" y="740"/>
                  </a:cubicBezTo>
                  <a:cubicBezTo>
                    <a:pt x="0" y="1146"/>
                    <a:pt x="331" y="1478"/>
                    <a:pt x="738" y="1478"/>
                  </a:cubicBezTo>
                  <a:cubicBezTo>
                    <a:pt x="953" y="1478"/>
                    <a:pt x="1147" y="1386"/>
                    <a:pt x="1281" y="1238"/>
                  </a:cubicBezTo>
                  <a:lnTo>
                    <a:pt x="1178" y="1135"/>
                  </a:lnTo>
                  <a:cubicBezTo>
                    <a:pt x="1070" y="1255"/>
                    <a:pt x="911" y="1331"/>
                    <a:pt x="738" y="1331"/>
                  </a:cubicBezTo>
                  <a:cubicBezTo>
                    <a:pt x="411" y="1331"/>
                    <a:pt x="145" y="1065"/>
                    <a:pt x="145" y="738"/>
                  </a:cubicBezTo>
                  <a:cubicBezTo>
                    <a:pt x="143" y="413"/>
                    <a:pt x="410" y="146"/>
                    <a:pt x="736" y="146"/>
                  </a:cubicBezTo>
                  <a:moveTo>
                    <a:pt x="8613" y="748"/>
                  </a:moveTo>
                  <a:cubicBezTo>
                    <a:pt x="8573" y="728"/>
                    <a:pt x="8333" y="603"/>
                    <a:pt x="8298" y="585"/>
                  </a:cubicBezTo>
                  <a:cubicBezTo>
                    <a:pt x="8172" y="520"/>
                    <a:pt x="8126" y="463"/>
                    <a:pt x="8126" y="366"/>
                  </a:cubicBezTo>
                  <a:cubicBezTo>
                    <a:pt x="8126" y="231"/>
                    <a:pt x="8236" y="145"/>
                    <a:pt x="8408" y="145"/>
                  </a:cubicBezTo>
                  <a:cubicBezTo>
                    <a:pt x="8508" y="145"/>
                    <a:pt x="8606" y="188"/>
                    <a:pt x="8663" y="221"/>
                  </a:cubicBezTo>
                  <a:cubicBezTo>
                    <a:pt x="8673" y="226"/>
                    <a:pt x="8686" y="230"/>
                    <a:pt x="8698" y="230"/>
                  </a:cubicBezTo>
                  <a:cubicBezTo>
                    <a:pt x="8738" y="230"/>
                    <a:pt x="8772" y="198"/>
                    <a:pt x="8772" y="158"/>
                  </a:cubicBezTo>
                  <a:cubicBezTo>
                    <a:pt x="8772" y="131"/>
                    <a:pt x="8756" y="108"/>
                    <a:pt x="8735" y="95"/>
                  </a:cubicBezTo>
                  <a:cubicBezTo>
                    <a:pt x="8663" y="55"/>
                    <a:pt x="8542" y="0"/>
                    <a:pt x="8410" y="0"/>
                  </a:cubicBezTo>
                  <a:cubicBezTo>
                    <a:pt x="8158" y="0"/>
                    <a:pt x="7983" y="150"/>
                    <a:pt x="7983" y="366"/>
                  </a:cubicBezTo>
                  <a:cubicBezTo>
                    <a:pt x="7983" y="560"/>
                    <a:pt x="8110" y="651"/>
                    <a:pt x="8235" y="715"/>
                  </a:cubicBezTo>
                  <a:cubicBezTo>
                    <a:pt x="8270" y="733"/>
                    <a:pt x="8513" y="858"/>
                    <a:pt x="8550" y="878"/>
                  </a:cubicBezTo>
                  <a:cubicBezTo>
                    <a:pt x="8647" y="928"/>
                    <a:pt x="8700" y="1005"/>
                    <a:pt x="8700" y="1091"/>
                  </a:cubicBezTo>
                  <a:cubicBezTo>
                    <a:pt x="8700" y="1208"/>
                    <a:pt x="8601" y="1331"/>
                    <a:pt x="8418" y="1331"/>
                  </a:cubicBezTo>
                  <a:cubicBezTo>
                    <a:pt x="8240" y="1331"/>
                    <a:pt x="8101" y="1211"/>
                    <a:pt x="8065" y="1175"/>
                  </a:cubicBezTo>
                  <a:lnTo>
                    <a:pt x="8053" y="1163"/>
                  </a:lnTo>
                  <a:lnTo>
                    <a:pt x="7945" y="1261"/>
                  </a:lnTo>
                  <a:lnTo>
                    <a:pt x="7958" y="1273"/>
                  </a:lnTo>
                  <a:cubicBezTo>
                    <a:pt x="8006" y="1320"/>
                    <a:pt x="8180" y="1475"/>
                    <a:pt x="8418" y="1475"/>
                  </a:cubicBezTo>
                  <a:cubicBezTo>
                    <a:pt x="8685" y="1475"/>
                    <a:pt x="8845" y="1278"/>
                    <a:pt x="8845" y="1088"/>
                  </a:cubicBezTo>
                  <a:cubicBezTo>
                    <a:pt x="8843" y="950"/>
                    <a:pt x="8760" y="825"/>
                    <a:pt x="8613" y="748"/>
                  </a:cubicBezTo>
                  <a:moveTo>
                    <a:pt x="2250" y="1"/>
                  </a:moveTo>
                  <a:cubicBezTo>
                    <a:pt x="1843" y="1"/>
                    <a:pt x="1511" y="333"/>
                    <a:pt x="1511" y="740"/>
                  </a:cubicBezTo>
                  <a:cubicBezTo>
                    <a:pt x="1511" y="1146"/>
                    <a:pt x="1843" y="1478"/>
                    <a:pt x="2250" y="1478"/>
                  </a:cubicBezTo>
                  <a:cubicBezTo>
                    <a:pt x="2656" y="1478"/>
                    <a:pt x="2988" y="1146"/>
                    <a:pt x="2988" y="740"/>
                  </a:cubicBezTo>
                  <a:cubicBezTo>
                    <a:pt x="2988" y="333"/>
                    <a:pt x="2656" y="1"/>
                    <a:pt x="2250" y="1"/>
                  </a:cubicBezTo>
                  <a:moveTo>
                    <a:pt x="2250" y="1331"/>
                  </a:moveTo>
                  <a:cubicBezTo>
                    <a:pt x="1923" y="1331"/>
                    <a:pt x="1656" y="1065"/>
                    <a:pt x="1656" y="738"/>
                  </a:cubicBezTo>
                  <a:cubicBezTo>
                    <a:pt x="1656" y="411"/>
                    <a:pt x="1923" y="145"/>
                    <a:pt x="2250" y="145"/>
                  </a:cubicBezTo>
                  <a:cubicBezTo>
                    <a:pt x="2576" y="145"/>
                    <a:pt x="2843" y="411"/>
                    <a:pt x="2843" y="738"/>
                  </a:cubicBezTo>
                  <a:cubicBezTo>
                    <a:pt x="2841" y="1066"/>
                    <a:pt x="2576" y="1331"/>
                    <a:pt x="2250" y="1331"/>
                  </a:cubicBezTo>
                  <a:close/>
                  <a:moveTo>
                    <a:pt x="9887" y="4438"/>
                  </a:moveTo>
                  <a:lnTo>
                    <a:pt x="9886" y="4303"/>
                  </a:lnTo>
                  <a:lnTo>
                    <a:pt x="9814" y="4415"/>
                  </a:lnTo>
                  <a:lnTo>
                    <a:pt x="9799" y="4415"/>
                  </a:lnTo>
                  <a:lnTo>
                    <a:pt x="9726" y="4306"/>
                  </a:lnTo>
                  <a:lnTo>
                    <a:pt x="9726" y="4438"/>
                  </a:lnTo>
                  <a:lnTo>
                    <a:pt x="9694" y="4438"/>
                  </a:lnTo>
                  <a:lnTo>
                    <a:pt x="9694" y="4246"/>
                  </a:lnTo>
                  <a:lnTo>
                    <a:pt x="9721" y="4246"/>
                  </a:lnTo>
                  <a:lnTo>
                    <a:pt x="9807" y="4377"/>
                  </a:lnTo>
                  <a:lnTo>
                    <a:pt x="9891" y="4246"/>
                  </a:lnTo>
                  <a:lnTo>
                    <a:pt x="9918" y="4246"/>
                  </a:lnTo>
                  <a:lnTo>
                    <a:pt x="9918" y="4438"/>
                  </a:lnTo>
                  <a:lnTo>
                    <a:pt x="9887" y="4438"/>
                  </a:lnTo>
                  <a:close/>
                  <a:moveTo>
                    <a:pt x="9492" y="4246"/>
                  </a:moveTo>
                  <a:lnTo>
                    <a:pt x="9666" y="4246"/>
                  </a:lnTo>
                  <a:lnTo>
                    <a:pt x="9666" y="4273"/>
                  </a:lnTo>
                  <a:lnTo>
                    <a:pt x="9596" y="4273"/>
                  </a:lnTo>
                  <a:lnTo>
                    <a:pt x="9596" y="4438"/>
                  </a:lnTo>
                  <a:lnTo>
                    <a:pt x="9562" y="4438"/>
                  </a:lnTo>
                  <a:lnTo>
                    <a:pt x="9562" y="4273"/>
                  </a:lnTo>
                  <a:lnTo>
                    <a:pt x="9492" y="4273"/>
                  </a:lnTo>
                  <a:lnTo>
                    <a:pt x="9492" y="4246"/>
                  </a:lnTo>
                  <a:close/>
                  <a:moveTo>
                    <a:pt x="9167" y="4896"/>
                  </a:moveTo>
                  <a:cubicBezTo>
                    <a:pt x="9133" y="4885"/>
                    <a:pt x="9105" y="4871"/>
                    <a:pt x="9086" y="4854"/>
                  </a:cubicBezTo>
                  <a:lnTo>
                    <a:pt x="9114" y="4804"/>
                  </a:lnTo>
                  <a:cubicBezTo>
                    <a:pt x="9134" y="4820"/>
                    <a:pt x="9159" y="4833"/>
                    <a:pt x="9188" y="4842"/>
                  </a:cubicBezTo>
                  <a:cubicBezTo>
                    <a:pt x="9218" y="4852"/>
                    <a:pt x="9249" y="4857"/>
                    <a:pt x="9281" y="4857"/>
                  </a:cubicBezTo>
                  <a:cubicBezTo>
                    <a:pt x="9324" y="4857"/>
                    <a:pt x="9356" y="4850"/>
                    <a:pt x="9377" y="4837"/>
                  </a:cubicBezTo>
                  <a:cubicBezTo>
                    <a:pt x="9397" y="4824"/>
                    <a:pt x="9408" y="4805"/>
                    <a:pt x="9408" y="4780"/>
                  </a:cubicBezTo>
                  <a:cubicBezTo>
                    <a:pt x="9408" y="4763"/>
                    <a:pt x="9402" y="4750"/>
                    <a:pt x="9390" y="4740"/>
                  </a:cubicBezTo>
                  <a:cubicBezTo>
                    <a:pt x="9379" y="4730"/>
                    <a:pt x="9365" y="4723"/>
                    <a:pt x="9348" y="4717"/>
                  </a:cubicBezTo>
                  <a:cubicBezTo>
                    <a:pt x="9330" y="4712"/>
                    <a:pt x="9307" y="4708"/>
                    <a:pt x="9279" y="4703"/>
                  </a:cubicBezTo>
                  <a:cubicBezTo>
                    <a:pt x="9241" y="4696"/>
                    <a:pt x="9210" y="4688"/>
                    <a:pt x="9187" y="4681"/>
                  </a:cubicBezTo>
                  <a:cubicBezTo>
                    <a:pt x="9163" y="4674"/>
                    <a:pt x="9144" y="4661"/>
                    <a:pt x="9127" y="4643"/>
                  </a:cubicBezTo>
                  <a:cubicBezTo>
                    <a:pt x="9111" y="4625"/>
                    <a:pt x="9103" y="4601"/>
                    <a:pt x="9103" y="4569"/>
                  </a:cubicBezTo>
                  <a:cubicBezTo>
                    <a:pt x="9103" y="4530"/>
                    <a:pt x="9119" y="4498"/>
                    <a:pt x="9152" y="4473"/>
                  </a:cubicBezTo>
                  <a:cubicBezTo>
                    <a:pt x="9185" y="4448"/>
                    <a:pt x="9230" y="4435"/>
                    <a:pt x="9289" y="4435"/>
                  </a:cubicBezTo>
                  <a:cubicBezTo>
                    <a:pt x="9319" y="4435"/>
                    <a:pt x="9349" y="4439"/>
                    <a:pt x="9380" y="4447"/>
                  </a:cubicBezTo>
                  <a:cubicBezTo>
                    <a:pt x="9410" y="4455"/>
                    <a:pt x="9435" y="4466"/>
                    <a:pt x="9455" y="4479"/>
                  </a:cubicBezTo>
                  <a:lnTo>
                    <a:pt x="9427" y="4530"/>
                  </a:lnTo>
                  <a:cubicBezTo>
                    <a:pt x="9388" y="4503"/>
                    <a:pt x="9342" y="4490"/>
                    <a:pt x="9289" y="4490"/>
                  </a:cubicBezTo>
                  <a:cubicBezTo>
                    <a:pt x="9248" y="4490"/>
                    <a:pt x="9218" y="4497"/>
                    <a:pt x="9197" y="4511"/>
                  </a:cubicBezTo>
                  <a:cubicBezTo>
                    <a:pt x="9176" y="4525"/>
                    <a:pt x="9166" y="4544"/>
                    <a:pt x="9166" y="4567"/>
                  </a:cubicBezTo>
                  <a:cubicBezTo>
                    <a:pt x="9166" y="4585"/>
                    <a:pt x="9172" y="4599"/>
                    <a:pt x="9184" y="4610"/>
                  </a:cubicBezTo>
                  <a:cubicBezTo>
                    <a:pt x="9195" y="4621"/>
                    <a:pt x="9210" y="4629"/>
                    <a:pt x="9227" y="4634"/>
                  </a:cubicBezTo>
                  <a:cubicBezTo>
                    <a:pt x="9244" y="4639"/>
                    <a:pt x="9268" y="4644"/>
                    <a:pt x="9298" y="4649"/>
                  </a:cubicBezTo>
                  <a:cubicBezTo>
                    <a:pt x="9336" y="4656"/>
                    <a:pt x="9366" y="4664"/>
                    <a:pt x="9389" y="4671"/>
                  </a:cubicBezTo>
                  <a:cubicBezTo>
                    <a:pt x="9411" y="4678"/>
                    <a:pt x="9431" y="4690"/>
                    <a:pt x="9447" y="4707"/>
                  </a:cubicBezTo>
                  <a:cubicBezTo>
                    <a:pt x="9463" y="4724"/>
                    <a:pt x="9471" y="4748"/>
                    <a:pt x="9471" y="4779"/>
                  </a:cubicBezTo>
                  <a:cubicBezTo>
                    <a:pt x="9471" y="4820"/>
                    <a:pt x="9454" y="4852"/>
                    <a:pt x="9420" y="4876"/>
                  </a:cubicBezTo>
                  <a:cubicBezTo>
                    <a:pt x="9385" y="4900"/>
                    <a:pt x="9338" y="4912"/>
                    <a:pt x="9277" y="4912"/>
                  </a:cubicBezTo>
                  <a:cubicBezTo>
                    <a:pt x="9239" y="4912"/>
                    <a:pt x="9202" y="4907"/>
                    <a:pt x="9167" y="4896"/>
                  </a:cubicBezTo>
                  <a:moveTo>
                    <a:pt x="8688" y="4533"/>
                  </a:moveTo>
                  <a:cubicBezTo>
                    <a:pt x="8658" y="4562"/>
                    <a:pt x="8640" y="4599"/>
                    <a:pt x="8636" y="4646"/>
                  </a:cubicBezTo>
                  <a:lnTo>
                    <a:pt x="8969" y="4646"/>
                  </a:lnTo>
                  <a:cubicBezTo>
                    <a:pt x="8965" y="4599"/>
                    <a:pt x="8948" y="4562"/>
                    <a:pt x="8917" y="4533"/>
                  </a:cubicBezTo>
                  <a:cubicBezTo>
                    <a:pt x="8886" y="4504"/>
                    <a:pt x="8848" y="4490"/>
                    <a:pt x="8802" y="4490"/>
                  </a:cubicBezTo>
                  <a:cubicBezTo>
                    <a:pt x="8757" y="4490"/>
                    <a:pt x="8719" y="4504"/>
                    <a:pt x="8688" y="4533"/>
                  </a:cubicBezTo>
                  <a:close/>
                  <a:moveTo>
                    <a:pt x="9029" y="4693"/>
                  </a:moveTo>
                  <a:lnTo>
                    <a:pt x="8636" y="4693"/>
                  </a:lnTo>
                  <a:cubicBezTo>
                    <a:pt x="8640" y="4742"/>
                    <a:pt x="8658" y="4781"/>
                    <a:pt x="8692" y="4811"/>
                  </a:cubicBezTo>
                  <a:cubicBezTo>
                    <a:pt x="8726" y="4841"/>
                    <a:pt x="8769" y="4856"/>
                    <a:pt x="8821" y="4856"/>
                  </a:cubicBezTo>
                  <a:cubicBezTo>
                    <a:pt x="8850" y="4856"/>
                    <a:pt x="8877" y="4851"/>
                    <a:pt x="8901" y="4841"/>
                  </a:cubicBezTo>
                  <a:cubicBezTo>
                    <a:pt x="8926" y="4830"/>
                    <a:pt x="8947" y="4815"/>
                    <a:pt x="8965" y="4795"/>
                  </a:cubicBezTo>
                  <a:lnTo>
                    <a:pt x="9001" y="4836"/>
                  </a:lnTo>
                  <a:cubicBezTo>
                    <a:pt x="8980" y="4861"/>
                    <a:pt x="8954" y="4880"/>
                    <a:pt x="8922" y="4893"/>
                  </a:cubicBezTo>
                  <a:cubicBezTo>
                    <a:pt x="8891" y="4906"/>
                    <a:pt x="8857" y="4912"/>
                    <a:pt x="8819" y="4912"/>
                  </a:cubicBezTo>
                  <a:cubicBezTo>
                    <a:pt x="8771" y="4912"/>
                    <a:pt x="8728" y="4902"/>
                    <a:pt x="8691" y="4882"/>
                  </a:cubicBezTo>
                  <a:cubicBezTo>
                    <a:pt x="8654" y="4861"/>
                    <a:pt x="8625" y="4833"/>
                    <a:pt x="8604" y="4796"/>
                  </a:cubicBezTo>
                  <a:cubicBezTo>
                    <a:pt x="8583" y="4760"/>
                    <a:pt x="8572" y="4719"/>
                    <a:pt x="8572" y="4673"/>
                  </a:cubicBezTo>
                  <a:cubicBezTo>
                    <a:pt x="8572" y="4628"/>
                    <a:pt x="8582" y="4587"/>
                    <a:pt x="8602" y="4550"/>
                  </a:cubicBezTo>
                  <a:cubicBezTo>
                    <a:pt x="8622" y="4514"/>
                    <a:pt x="8650" y="4486"/>
                    <a:pt x="8685" y="4466"/>
                  </a:cubicBezTo>
                  <a:cubicBezTo>
                    <a:pt x="8720" y="4445"/>
                    <a:pt x="8759" y="4435"/>
                    <a:pt x="8802" y="4435"/>
                  </a:cubicBezTo>
                  <a:cubicBezTo>
                    <a:pt x="8846" y="4435"/>
                    <a:pt x="8885" y="4445"/>
                    <a:pt x="8919" y="4466"/>
                  </a:cubicBezTo>
                  <a:cubicBezTo>
                    <a:pt x="8954" y="4486"/>
                    <a:pt x="8981" y="4514"/>
                    <a:pt x="9001" y="4550"/>
                  </a:cubicBezTo>
                  <a:cubicBezTo>
                    <a:pt x="9020" y="4586"/>
                    <a:pt x="9030" y="4627"/>
                    <a:pt x="9030" y="4673"/>
                  </a:cubicBezTo>
                  <a:lnTo>
                    <a:pt x="9029" y="4693"/>
                  </a:lnTo>
                  <a:close/>
                  <a:moveTo>
                    <a:pt x="8388" y="4439"/>
                  </a:moveTo>
                  <a:lnTo>
                    <a:pt x="8452" y="4439"/>
                  </a:lnTo>
                  <a:lnTo>
                    <a:pt x="8452" y="4908"/>
                  </a:lnTo>
                  <a:lnTo>
                    <a:pt x="8388" y="4908"/>
                  </a:lnTo>
                  <a:lnTo>
                    <a:pt x="8388" y="4439"/>
                  </a:lnTo>
                  <a:close/>
                  <a:moveTo>
                    <a:pt x="8387" y="4323"/>
                  </a:moveTo>
                  <a:cubicBezTo>
                    <a:pt x="8378" y="4314"/>
                    <a:pt x="8374" y="4303"/>
                    <a:pt x="8374" y="4291"/>
                  </a:cubicBezTo>
                  <a:cubicBezTo>
                    <a:pt x="8374" y="4279"/>
                    <a:pt x="8378" y="4268"/>
                    <a:pt x="8387" y="4260"/>
                  </a:cubicBezTo>
                  <a:cubicBezTo>
                    <a:pt x="8396" y="4251"/>
                    <a:pt x="8407" y="4246"/>
                    <a:pt x="8420" y="4246"/>
                  </a:cubicBezTo>
                  <a:cubicBezTo>
                    <a:pt x="8434" y="4246"/>
                    <a:pt x="8445" y="4250"/>
                    <a:pt x="8454" y="4259"/>
                  </a:cubicBezTo>
                  <a:cubicBezTo>
                    <a:pt x="8462" y="4268"/>
                    <a:pt x="8467" y="4278"/>
                    <a:pt x="8467" y="4290"/>
                  </a:cubicBezTo>
                  <a:cubicBezTo>
                    <a:pt x="8467" y="4303"/>
                    <a:pt x="8462" y="4314"/>
                    <a:pt x="8454" y="4323"/>
                  </a:cubicBezTo>
                  <a:cubicBezTo>
                    <a:pt x="8445" y="4332"/>
                    <a:pt x="8434" y="4336"/>
                    <a:pt x="8420" y="4336"/>
                  </a:cubicBezTo>
                  <a:cubicBezTo>
                    <a:pt x="8407" y="4336"/>
                    <a:pt x="8396" y="4332"/>
                    <a:pt x="8387" y="4323"/>
                  </a:cubicBezTo>
                  <a:close/>
                  <a:moveTo>
                    <a:pt x="8282" y="4879"/>
                  </a:moveTo>
                  <a:cubicBezTo>
                    <a:pt x="8270" y="4890"/>
                    <a:pt x="8255" y="4898"/>
                    <a:pt x="8238" y="4904"/>
                  </a:cubicBezTo>
                  <a:cubicBezTo>
                    <a:pt x="8220" y="4910"/>
                    <a:pt x="8202" y="4912"/>
                    <a:pt x="8183" y="4912"/>
                  </a:cubicBezTo>
                  <a:cubicBezTo>
                    <a:pt x="8139" y="4912"/>
                    <a:pt x="8105" y="4900"/>
                    <a:pt x="8081" y="4877"/>
                  </a:cubicBezTo>
                  <a:cubicBezTo>
                    <a:pt x="8057" y="4853"/>
                    <a:pt x="8045" y="4819"/>
                    <a:pt x="8045" y="4776"/>
                  </a:cubicBezTo>
                  <a:lnTo>
                    <a:pt x="8045" y="4492"/>
                  </a:lnTo>
                  <a:lnTo>
                    <a:pt x="7961" y="4492"/>
                  </a:lnTo>
                  <a:lnTo>
                    <a:pt x="7961" y="4439"/>
                  </a:lnTo>
                  <a:lnTo>
                    <a:pt x="8045" y="4439"/>
                  </a:lnTo>
                  <a:lnTo>
                    <a:pt x="8045" y="4336"/>
                  </a:lnTo>
                  <a:lnTo>
                    <a:pt x="8108" y="4336"/>
                  </a:lnTo>
                  <a:lnTo>
                    <a:pt x="8108" y="4439"/>
                  </a:lnTo>
                  <a:lnTo>
                    <a:pt x="8251" y="4439"/>
                  </a:lnTo>
                  <a:lnTo>
                    <a:pt x="8251" y="4492"/>
                  </a:lnTo>
                  <a:lnTo>
                    <a:pt x="8108" y="4492"/>
                  </a:lnTo>
                  <a:lnTo>
                    <a:pt x="8108" y="4772"/>
                  </a:lnTo>
                  <a:cubicBezTo>
                    <a:pt x="8108" y="4800"/>
                    <a:pt x="8115" y="4822"/>
                    <a:pt x="8129" y="4836"/>
                  </a:cubicBezTo>
                  <a:cubicBezTo>
                    <a:pt x="8143" y="4851"/>
                    <a:pt x="8164" y="4858"/>
                    <a:pt x="8190" y="4858"/>
                  </a:cubicBezTo>
                  <a:cubicBezTo>
                    <a:pt x="8203" y="4858"/>
                    <a:pt x="8216" y="4856"/>
                    <a:pt x="8228" y="4852"/>
                  </a:cubicBezTo>
                  <a:cubicBezTo>
                    <a:pt x="8240" y="4848"/>
                    <a:pt x="8251" y="4842"/>
                    <a:pt x="8260" y="4834"/>
                  </a:cubicBezTo>
                  <a:lnTo>
                    <a:pt x="8282" y="4879"/>
                  </a:lnTo>
                  <a:close/>
                  <a:moveTo>
                    <a:pt x="7803" y="4439"/>
                  </a:moveTo>
                  <a:lnTo>
                    <a:pt x="7866" y="4439"/>
                  </a:lnTo>
                  <a:lnTo>
                    <a:pt x="7866" y="4908"/>
                  </a:lnTo>
                  <a:lnTo>
                    <a:pt x="7803" y="4908"/>
                  </a:lnTo>
                  <a:lnTo>
                    <a:pt x="7803" y="4439"/>
                  </a:lnTo>
                  <a:close/>
                  <a:moveTo>
                    <a:pt x="7802" y="4323"/>
                  </a:moveTo>
                  <a:cubicBezTo>
                    <a:pt x="7793" y="4314"/>
                    <a:pt x="7788" y="4303"/>
                    <a:pt x="7788" y="4291"/>
                  </a:cubicBezTo>
                  <a:cubicBezTo>
                    <a:pt x="7788" y="4279"/>
                    <a:pt x="7793" y="4268"/>
                    <a:pt x="7802" y="4260"/>
                  </a:cubicBezTo>
                  <a:cubicBezTo>
                    <a:pt x="7811" y="4251"/>
                    <a:pt x="7822" y="4246"/>
                    <a:pt x="7835" y="4246"/>
                  </a:cubicBezTo>
                  <a:cubicBezTo>
                    <a:pt x="7848" y="4246"/>
                    <a:pt x="7859" y="4250"/>
                    <a:pt x="7868" y="4259"/>
                  </a:cubicBezTo>
                  <a:cubicBezTo>
                    <a:pt x="7877" y="4268"/>
                    <a:pt x="7881" y="4278"/>
                    <a:pt x="7881" y="4290"/>
                  </a:cubicBezTo>
                  <a:cubicBezTo>
                    <a:pt x="7881" y="4303"/>
                    <a:pt x="7877" y="4314"/>
                    <a:pt x="7868" y="4323"/>
                  </a:cubicBezTo>
                  <a:cubicBezTo>
                    <a:pt x="7859" y="4332"/>
                    <a:pt x="7848" y="4336"/>
                    <a:pt x="7835" y="4336"/>
                  </a:cubicBezTo>
                  <a:cubicBezTo>
                    <a:pt x="7822" y="4336"/>
                    <a:pt x="7811" y="4332"/>
                    <a:pt x="7802" y="4323"/>
                  </a:cubicBezTo>
                  <a:close/>
                  <a:moveTo>
                    <a:pt x="7571" y="4246"/>
                  </a:moveTo>
                  <a:lnTo>
                    <a:pt x="7635" y="4246"/>
                  </a:lnTo>
                  <a:lnTo>
                    <a:pt x="7635" y="4908"/>
                  </a:lnTo>
                  <a:lnTo>
                    <a:pt x="7571" y="4908"/>
                  </a:lnTo>
                  <a:lnTo>
                    <a:pt x="7571" y="4246"/>
                  </a:lnTo>
                  <a:close/>
                  <a:moveTo>
                    <a:pt x="7340" y="4439"/>
                  </a:moveTo>
                  <a:lnTo>
                    <a:pt x="7403" y="4439"/>
                  </a:lnTo>
                  <a:lnTo>
                    <a:pt x="7403" y="4908"/>
                  </a:lnTo>
                  <a:lnTo>
                    <a:pt x="7340" y="4908"/>
                  </a:lnTo>
                  <a:lnTo>
                    <a:pt x="7340" y="4439"/>
                  </a:lnTo>
                  <a:close/>
                  <a:moveTo>
                    <a:pt x="7339" y="4323"/>
                  </a:moveTo>
                  <a:cubicBezTo>
                    <a:pt x="7330" y="4314"/>
                    <a:pt x="7325" y="4303"/>
                    <a:pt x="7325" y="4291"/>
                  </a:cubicBezTo>
                  <a:cubicBezTo>
                    <a:pt x="7325" y="4279"/>
                    <a:pt x="7330" y="4268"/>
                    <a:pt x="7339" y="4260"/>
                  </a:cubicBezTo>
                  <a:cubicBezTo>
                    <a:pt x="7348" y="4251"/>
                    <a:pt x="7359" y="4246"/>
                    <a:pt x="7372" y="4246"/>
                  </a:cubicBezTo>
                  <a:cubicBezTo>
                    <a:pt x="7385" y="4246"/>
                    <a:pt x="7396" y="4250"/>
                    <a:pt x="7405" y="4259"/>
                  </a:cubicBezTo>
                  <a:cubicBezTo>
                    <a:pt x="7414" y="4268"/>
                    <a:pt x="7418" y="4278"/>
                    <a:pt x="7418" y="4290"/>
                  </a:cubicBezTo>
                  <a:cubicBezTo>
                    <a:pt x="7418" y="4303"/>
                    <a:pt x="7414" y="4314"/>
                    <a:pt x="7405" y="4323"/>
                  </a:cubicBezTo>
                  <a:cubicBezTo>
                    <a:pt x="7396" y="4332"/>
                    <a:pt x="7385" y="4336"/>
                    <a:pt x="7372" y="4336"/>
                  </a:cubicBezTo>
                  <a:cubicBezTo>
                    <a:pt x="7359" y="4336"/>
                    <a:pt x="7348" y="4332"/>
                    <a:pt x="7339" y="4323"/>
                  </a:cubicBezTo>
                  <a:close/>
                  <a:moveTo>
                    <a:pt x="7070" y="4833"/>
                  </a:moveTo>
                  <a:cubicBezTo>
                    <a:pt x="7096" y="4818"/>
                    <a:pt x="7117" y="4797"/>
                    <a:pt x="7133" y="4769"/>
                  </a:cubicBezTo>
                  <a:cubicBezTo>
                    <a:pt x="7148" y="4741"/>
                    <a:pt x="7155" y="4709"/>
                    <a:pt x="7155" y="4673"/>
                  </a:cubicBezTo>
                  <a:cubicBezTo>
                    <a:pt x="7155" y="4638"/>
                    <a:pt x="7148" y="4606"/>
                    <a:pt x="7133" y="4578"/>
                  </a:cubicBezTo>
                  <a:cubicBezTo>
                    <a:pt x="7117" y="4550"/>
                    <a:pt x="7096" y="4528"/>
                    <a:pt x="7070" y="4513"/>
                  </a:cubicBezTo>
                  <a:cubicBezTo>
                    <a:pt x="7043" y="4498"/>
                    <a:pt x="7013" y="4491"/>
                    <a:pt x="6980" y="4491"/>
                  </a:cubicBezTo>
                  <a:cubicBezTo>
                    <a:pt x="6947" y="4491"/>
                    <a:pt x="6917" y="4498"/>
                    <a:pt x="6890" y="4513"/>
                  </a:cubicBezTo>
                  <a:cubicBezTo>
                    <a:pt x="6864" y="4528"/>
                    <a:pt x="6843" y="4550"/>
                    <a:pt x="6828" y="4578"/>
                  </a:cubicBezTo>
                  <a:cubicBezTo>
                    <a:pt x="6813" y="4606"/>
                    <a:pt x="6805" y="4638"/>
                    <a:pt x="6805" y="4673"/>
                  </a:cubicBezTo>
                  <a:cubicBezTo>
                    <a:pt x="6805" y="4709"/>
                    <a:pt x="6813" y="4741"/>
                    <a:pt x="6828" y="4769"/>
                  </a:cubicBezTo>
                  <a:cubicBezTo>
                    <a:pt x="6843" y="4797"/>
                    <a:pt x="6864" y="4818"/>
                    <a:pt x="6890" y="4833"/>
                  </a:cubicBezTo>
                  <a:cubicBezTo>
                    <a:pt x="6917" y="4849"/>
                    <a:pt x="6947" y="4856"/>
                    <a:pt x="6980" y="4856"/>
                  </a:cubicBezTo>
                  <a:cubicBezTo>
                    <a:pt x="7013" y="4856"/>
                    <a:pt x="7043" y="4849"/>
                    <a:pt x="7070" y="4833"/>
                  </a:cubicBezTo>
                  <a:close/>
                  <a:moveTo>
                    <a:pt x="7104" y="4465"/>
                  </a:moveTo>
                  <a:cubicBezTo>
                    <a:pt x="7140" y="4485"/>
                    <a:pt x="7168" y="4513"/>
                    <a:pt x="7188" y="4549"/>
                  </a:cubicBezTo>
                  <a:cubicBezTo>
                    <a:pt x="7209" y="4586"/>
                    <a:pt x="7219" y="4627"/>
                    <a:pt x="7219" y="4673"/>
                  </a:cubicBezTo>
                  <a:cubicBezTo>
                    <a:pt x="7219" y="4720"/>
                    <a:pt x="7209" y="4761"/>
                    <a:pt x="7188" y="4797"/>
                  </a:cubicBezTo>
                  <a:cubicBezTo>
                    <a:pt x="7168" y="4834"/>
                    <a:pt x="7140" y="4862"/>
                    <a:pt x="7104" y="4882"/>
                  </a:cubicBezTo>
                  <a:cubicBezTo>
                    <a:pt x="7069" y="4902"/>
                    <a:pt x="7029" y="4912"/>
                    <a:pt x="6985" y="4912"/>
                  </a:cubicBezTo>
                  <a:cubicBezTo>
                    <a:pt x="6945" y="4912"/>
                    <a:pt x="6910" y="4904"/>
                    <a:pt x="6879" y="4887"/>
                  </a:cubicBezTo>
                  <a:cubicBezTo>
                    <a:pt x="6847" y="4871"/>
                    <a:pt x="6822" y="4847"/>
                    <a:pt x="6803" y="4815"/>
                  </a:cubicBezTo>
                  <a:lnTo>
                    <a:pt x="6803" y="4908"/>
                  </a:lnTo>
                  <a:lnTo>
                    <a:pt x="6742" y="4908"/>
                  </a:lnTo>
                  <a:lnTo>
                    <a:pt x="6742" y="4246"/>
                  </a:lnTo>
                  <a:lnTo>
                    <a:pt x="6806" y="4246"/>
                  </a:lnTo>
                  <a:lnTo>
                    <a:pt x="6806" y="4528"/>
                  </a:lnTo>
                  <a:cubicBezTo>
                    <a:pt x="6825" y="4498"/>
                    <a:pt x="6851" y="4475"/>
                    <a:pt x="6881" y="4459"/>
                  </a:cubicBezTo>
                  <a:cubicBezTo>
                    <a:pt x="6912" y="4443"/>
                    <a:pt x="6946" y="4435"/>
                    <a:pt x="6985" y="4435"/>
                  </a:cubicBezTo>
                  <a:cubicBezTo>
                    <a:pt x="7029" y="4435"/>
                    <a:pt x="7069" y="4445"/>
                    <a:pt x="7104" y="4465"/>
                  </a:cubicBezTo>
                  <a:close/>
                  <a:moveTo>
                    <a:pt x="6511" y="4439"/>
                  </a:moveTo>
                  <a:lnTo>
                    <a:pt x="6574" y="4439"/>
                  </a:lnTo>
                  <a:lnTo>
                    <a:pt x="6574" y="4908"/>
                  </a:lnTo>
                  <a:lnTo>
                    <a:pt x="6511" y="4908"/>
                  </a:lnTo>
                  <a:lnTo>
                    <a:pt x="6511" y="4439"/>
                  </a:lnTo>
                  <a:close/>
                  <a:moveTo>
                    <a:pt x="6510" y="4323"/>
                  </a:moveTo>
                  <a:cubicBezTo>
                    <a:pt x="6501" y="4314"/>
                    <a:pt x="6496" y="4303"/>
                    <a:pt x="6496" y="4291"/>
                  </a:cubicBezTo>
                  <a:cubicBezTo>
                    <a:pt x="6496" y="4279"/>
                    <a:pt x="6501" y="4268"/>
                    <a:pt x="6510" y="4260"/>
                  </a:cubicBezTo>
                  <a:cubicBezTo>
                    <a:pt x="6519" y="4251"/>
                    <a:pt x="6530" y="4246"/>
                    <a:pt x="6543" y="4246"/>
                  </a:cubicBezTo>
                  <a:cubicBezTo>
                    <a:pt x="6556" y="4246"/>
                    <a:pt x="6567" y="4250"/>
                    <a:pt x="6576" y="4259"/>
                  </a:cubicBezTo>
                  <a:cubicBezTo>
                    <a:pt x="6585" y="4268"/>
                    <a:pt x="6589" y="4278"/>
                    <a:pt x="6589" y="4290"/>
                  </a:cubicBezTo>
                  <a:cubicBezTo>
                    <a:pt x="6589" y="4303"/>
                    <a:pt x="6585" y="4314"/>
                    <a:pt x="6576" y="4323"/>
                  </a:cubicBezTo>
                  <a:cubicBezTo>
                    <a:pt x="6567" y="4332"/>
                    <a:pt x="6556" y="4336"/>
                    <a:pt x="6543" y="4336"/>
                  </a:cubicBezTo>
                  <a:cubicBezTo>
                    <a:pt x="6530" y="4336"/>
                    <a:pt x="6519" y="4332"/>
                    <a:pt x="6510" y="4323"/>
                  </a:cubicBezTo>
                  <a:close/>
                  <a:moveTo>
                    <a:pt x="6099" y="4896"/>
                  </a:moveTo>
                  <a:cubicBezTo>
                    <a:pt x="6064" y="4885"/>
                    <a:pt x="6037" y="4871"/>
                    <a:pt x="6017" y="4854"/>
                  </a:cubicBezTo>
                  <a:lnTo>
                    <a:pt x="6046" y="4804"/>
                  </a:lnTo>
                  <a:cubicBezTo>
                    <a:pt x="6066" y="4820"/>
                    <a:pt x="6090" y="4833"/>
                    <a:pt x="6120" y="4842"/>
                  </a:cubicBezTo>
                  <a:cubicBezTo>
                    <a:pt x="6150" y="4852"/>
                    <a:pt x="6181" y="4857"/>
                    <a:pt x="6213" y="4857"/>
                  </a:cubicBezTo>
                  <a:cubicBezTo>
                    <a:pt x="6256" y="4857"/>
                    <a:pt x="6288" y="4850"/>
                    <a:pt x="6308" y="4837"/>
                  </a:cubicBezTo>
                  <a:cubicBezTo>
                    <a:pt x="6329" y="4824"/>
                    <a:pt x="6339" y="4805"/>
                    <a:pt x="6339" y="4780"/>
                  </a:cubicBezTo>
                  <a:cubicBezTo>
                    <a:pt x="6339" y="4763"/>
                    <a:pt x="6333" y="4750"/>
                    <a:pt x="6322" y="4740"/>
                  </a:cubicBezTo>
                  <a:cubicBezTo>
                    <a:pt x="6311" y="4730"/>
                    <a:pt x="6296" y="4723"/>
                    <a:pt x="6279" y="4717"/>
                  </a:cubicBezTo>
                  <a:cubicBezTo>
                    <a:pt x="6262" y="4712"/>
                    <a:pt x="6239" y="4708"/>
                    <a:pt x="6210" y="4703"/>
                  </a:cubicBezTo>
                  <a:cubicBezTo>
                    <a:pt x="6172" y="4696"/>
                    <a:pt x="6141" y="4688"/>
                    <a:pt x="6118" y="4681"/>
                  </a:cubicBezTo>
                  <a:cubicBezTo>
                    <a:pt x="6095" y="4674"/>
                    <a:pt x="6075" y="4661"/>
                    <a:pt x="6059" y="4643"/>
                  </a:cubicBezTo>
                  <a:cubicBezTo>
                    <a:pt x="6042" y="4625"/>
                    <a:pt x="6034" y="4601"/>
                    <a:pt x="6034" y="4569"/>
                  </a:cubicBezTo>
                  <a:cubicBezTo>
                    <a:pt x="6034" y="4530"/>
                    <a:pt x="6051" y="4498"/>
                    <a:pt x="6083" y="4473"/>
                  </a:cubicBezTo>
                  <a:cubicBezTo>
                    <a:pt x="6116" y="4448"/>
                    <a:pt x="6162" y="4435"/>
                    <a:pt x="6220" y="4435"/>
                  </a:cubicBezTo>
                  <a:cubicBezTo>
                    <a:pt x="6251" y="4435"/>
                    <a:pt x="6281" y="4439"/>
                    <a:pt x="6311" y="4447"/>
                  </a:cubicBezTo>
                  <a:cubicBezTo>
                    <a:pt x="6342" y="4455"/>
                    <a:pt x="6367" y="4466"/>
                    <a:pt x="6386" y="4479"/>
                  </a:cubicBezTo>
                  <a:lnTo>
                    <a:pt x="6359" y="4530"/>
                  </a:lnTo>
                  <a:cubicBezTo>
                    <a:pt x="6320" y="4503"/>
                    <a:pt x="6274" y="4490"/>
                    <a:pt x="6220" y="4490"/>
                  </a:cubicBezTo>
                  <a:cubicBezTo>
                    <a:pt x="6180" y="4490"/>
                    <a:pt x="6149" y="4497"/>
                    <a:pt x="6129" y="4511"/>
                  </a:cubicBezTo>
                  <a:cubicBezTo>
                    <a:pt x="6108" y="4525"/>
                    <a:pt x="6098" y="4544"/>
                    <a:pt x="6098" y="4567"/>
                  </a:cubicBezTo>
                  <a:cubicBezTo>
                    <a:pt x="6098" y="4585"/>
                    <a:pt x="6104" y="4599"/>
                    <a:pt x="6115" y="4610"/>
                  </a:cubicBezTo>
                  <a:cubicBezTo>
                    <a:pt x="6127" y="4621"/>
                    <a:pt x="6141" y="4629"/>
                    <a:pt x="6158" y="4634"/>
                  </a:cubicBezTo>
                  <a:cubicBezTo>
                    <a:pt x="6176" y="4639"/>
                    <a:pt x="6200" y="4644"/>
                    <a:pt x="6230" y="4649"/>
                  </a:cubicBezTo>
                  <a:cubicBezTo>
                    <a:pt x="6268" y="4656"/>
                    <a:pt x="6298" y="4664"/>
                    <a:pt x="6320" y="4671"/>
                  </a:cubicBezTo>
                  <a:cubicBezTo>
                    <a:pt x="6343" y="4678"/>
                    <a:pt x="6362" y="4690"/>
                    <a:pt x="6378" y="4707"/>
                  </a:cubicBezTo>
                  <a:cubicBezTo>
                    <a:pt x="6395" y="4724"/>
                    <a:pt x="6403" y="4748"/>
                    <a:pt x="6403" y="4779"/>
                  </a:cubicBezTo>
                  <a:cubicBezTo>
                    <a:pt x="6403" y="4820"/>
                    <a:pt x="6385" y="4852"/>
                    <a:pt x="6351" y="4876"/>
                  </a:cubicBezTo>
                  <a:cubicBezTo>
                    <a:pt x="6317" y="4900"/>
                    <a:pt x="6269" y="4912"/>
                    <a:pt x="6209" y="4912"/>
                  </a:cubicBezTo>
                  <a:cubicBezTo>
                    <a:pt x="6170" y="4912"/>
                    <a:pt x="6134" y="4907"/>
                    <a:pt x="6099" y="4896"/>
                  </a:cubicBezTo>
                  <a:moveTo>
                    <a:pt x="5653" y="4896"/>
                  </a:moveTo>
                  <a:cubicBezTo>
                    <a:pt x="5618" y="4885"/>
                    <a:pt x="5591" y="4871"/>
                    <a:pt x="5571" y="4854"/>
                  </a:cubicBezTo>
                  <a:lnTo>
                    <a:pt x="5600" y="4804"/>
                  </a:lnTo>
                  <a:cubicBezTo>
                    <a:pt x="5619" y="4820"/>
                    <a:pt x="5644" y="4833"/>
                    <a:pt x="5674" y="4842"/>
                  </a:cubicBezTo>
                  <a:cubicBezTo>
                    <a:pt x="5704" y="4852"/>
                    <a:pt x="5735" y="4857"/>
                    <a:pt x="5767" y="4857"/>
                  </a:cubicBezTo>
                  <a:cubicBezTo>
                    <a:pt x="5810" y="4857"/>
                    <a:pt x="5842" y="4850"/>
                    <a:pt x="5862" y="4837"/>
                  </a:cubicBezTo>
                  <a:cubicBezTo>
                    <a:pt x="5883" y="4824"/>
                    <a:pt x="5893" y="4805"/>
                    <a:pt x="5893" y="4780"/>
                  </a:cubicBezTo>
                  <a:cubicBezTo>
                    <a:pt x="5893" y="4763"/>
                    <a:pt x="5887" y="4750"/>
                    <a:pt x="5876" y="4740"/>
                  </a:cubicBezTo>
                  <a:cubicBezTo>
                    <a:pt x="5865" y="4730"/>
                    <a:pt x="5850" y="4723"/>
                    <a:pt x="5833" y="4717"/>
                  </a:cubicBezTo>
                  <a:cubicBezTo>
                    <a:pt x="5816" y="4712"/>
                    <a:pt x="5793" y="4708"/>
                    <a:pt x="5764" y="4703"/>
                  </a:cubicBezTo>
                  <a:cubicBezTo>
                    <a:pt x="5726" y="4696"/>
                    <a:pt x="5695" y="4688"/>
                    <a:pt x="5672" y="4681"/>
                  </a:cubicBezTo>
                  <a:cubicBezTo>
                    <a:pt x="5649" y="4674"/>
                    <a:pt x="5629" y="4661"/>
                    <a:pt x="5613" y="4643"/>
                  </a:cubicBezTo>
                  <a:cubicBezTo>
                    <a:pt x="5596" y="4625"/>
                    <a:pt x="5588" y="4601"/>
                    <a:pt x="5588" y="4569"/>
                  </a:cubicBezTo>
                  <a:cubicBezTo>
                    <a:pt x="5588" y="4530"/>
                    <a:pt x="5604" y="4498"/>
                    <a:pt x="5637" y="4473"/>
                  </a:cubicBezTo>
                  <a:cubicBezTo>
                    <a:pt x="5670" y="4448"/>
                    <a:pt x="5716" y="4435"/>
                    <a:pt x="5774" y="4435"/>
                  </a:cubicBezTo>
                  <a:cubicBezTo>
                    <a:pt x="5804" y="4435"/>
                    <a:pt x="5835" y="4439"/>
                    <a:pt x="5865" y="4447"/>
                  </a:cubicBezTo>
                  <a:cubicBezTo>
                    <a:pt x="5896" y="4455"/>
                    <a:pt x="5921" y="4466"/>
                    <a:pt x="5940" y="4479"/>
                  </a:cubicBezTo>
                  <a:lnTo>
                    <a:pt x="5913" y="4530"/>
                  </a:lnTo>
                  <a:cubicBezTo>
                    <a:pt x="5874" y="4503"/>
                    <a:pt x="5828" y="4490"/>
                    <a:pt x="5774" y="4490"/>
                  </a:cubicBezTo>
                  <a:cubicBezTo>
                    <a:pt x="5734" y="4490"/>
                    <a:pt x="5703" y="4497"/>
                    <a:pt x="5682" y="4511"/>
                  </a:cubicBezTo>
                  <a:cubicBezTo>
                    <a:pt x="5662" y="4525"/>
                    <a:pt x="5652" y="4544"/>
                    <a:pt x="5652" y="4567"/>
                  </a:cubicBezTo>
                  <a:cubicBezTo>
                    <a:pt x="5652" y="4585"/>
                    <a:pt x="5657" y="4599"/>
                    <a:pt x="5669" y="4610"/>
                  </a:cubicBezTo>
                  <a:cubicBezTo>
                    <a:pt x="5681" y="4621"/>
                    <a:pt x="5695" y="4629"/>
                    <a:pt x="5712" y="4634"/>
                  </a:cubicBezTo>
                  <a:cubicBezTo>
                    <a:pt x="5730" y="4639"/>
                    <a:pt x="5754" y="4644"/>
                    <a:pt x="5784" y="4649"/>
                  </a:cubicBezTo>
                  <a:cubicBezTo>
                    <a:pt x="5821" y="4656"/>
                    <a:pt x="5852" y="4664"/>
                    <a:pt x="5874" y="4671"/>
                  </a:cubicBezTo>
                  <a:cubicBezTo>
                    <a:pt x="5897" y="4678"/>
                    <a:pt x="5916" y="4690"/>
                    <a:pt x="5932" y="4707"/>
                  </a:cubicBezTo>
                  <a:cubicBezTo>
                    <a:pt x="5948" y="4724"/>
                    <a:pt x="5956" y="4748"/>
                    <a:pt x="5956" y="4779"/>
                  </a:cubicBezTo>
                  <a:cubicBezTo>
                    <a:pt x="5956" y="4820"/>
                    <a:pt x="5939" y="4852"/>
                    <a:pt x="5905" y="4876"/>
                  </a:cubicBezTo>
                  <a:cubicBezTo>
                    <a:pt x="5871" y="4900"/>
                    <a:pt x="5823" y="4912"/>
                    <a:pt x="5762" y="4912"/>
                  </a:cubicBezTo>
                  <a:cubicBezTo>
                    <a:pt x="5724" y="4912"/>
                    <a:pt x="5688" y="4907"/>
                    <a:pt x="5653" y="4896"/>
                  </a:cubicBezTo>
                  <a:moveTo>
                    <a:pt x="5367" y="4833"/>
                  </a:moveTo>
                  <a:cubicBezTo>
                    <a:pt x="5393" y="4818"/>
                    <a:pt x="5414" y="4797"/>
                    <a:pt x="5429" y="4769"/>
                  </a:cubicBezTo>
                  <a:cubicBezTo>
                    <a:pt x="5444" y="4741"/>
                    <a:pt x="5451" y="4709"/>
                    <a:pt x="5451" y="4673"/>
                  </a:cubicBezTo>
                  <a:cubicBezTo>
                    <a:pt x="5451" y="4638"/>
                    <a:pt x="5444" y="4606"/>
                    <a:pt x="5429" y="4578"/>
                  </a:cubicBezTo>
                  <a:cubicBezTo>
                    <a:pt x="5414" y="4550"/>
                    <a:pt x="5393" y="4528"/>
                    <a:pt x="5367" y="4513"/>
                  </a:cubicBezTo>
                  <a:cubicBezTo>
                    <a:pt x="5340" y="4498"/>
                    <a:pt x="5310" y="4491"/>
                    <a:pt x="5277" y="4491"/>
                  </a:cubicBezTo>
                  <a:cubicBezTo>
                    <a:pt x="5244" y="4491"/>
                    <a:pt x="5214" y="4498"/>
                    <a:pt x="5187" y="4513"/>
                  </a:cubicBezTo>
                  <a:cubicBezTo>
                    <a:pt x="5161" y="4528"/>
                    <a:pt x="5140" y="4550"/>
                    <a:pt x="5124" y="4578"/>
                  </a:cubicBezTo>
                  <a:cubicBezTo>
                    <a:pt x="5109" y="4606"/>
                    <a:pt x="5102" y="4638"/>
                    <a:pt x="5102" y="4673"/>
                  </a:cubicBezTo>
                  <a:cubicBezTo>
                    <a:pt x="5102" y="4709"/>
                    <a:pt x="5109" y="4741"/>
                    <a:pt x="5124" y="4769"/>
                  </a:cubicBezTo>
                  <a:cubicBezTo>
                    <a:pt x="5140" y="4797"/>
                    <a:pt x="5161" y="4818"/>
                    <a:pt x="5187" y="4833"/>
                  </a:cubicBezTo>
                  <a:cubicBezTo>
                    <a:pt x="5214" y="4849"/>
                    <a:pt x="5244" y="4856"/>
                    <a:pt x="5277" y="4856"/>
                  </a:cubicBezTo>
                  <a:cubicBezTo>
                    <a:pt x="5310" y="4856"/>
                    <a:pt x="5340" y="4849"/>
                    <a:pt x="5367" y="4833"/>
                  </a:cubicBezTo>
                  <a:close/>
                  <a:moveTo>
                    <a:pt x="5154" y="4882"/>
                  </a:moveTo>
                  <a:cubicBezTo>
                    <a:pt x="5118" y="4861"/>
                    <a:pt x="5089" y="4833"/>
                    <a:pt x="5069" y="4796"/>
                  </a:cubicBezTo>
                  <a:cubicBezTo>
                    <a:pt x="5048" y="4760"/>
                    <a:pt x="5037" y="4719"/>
                    <a:pt x="5037" y="4673"/>
                  </a:cubicBezTo>
                  <a:cubicBezTo>
                    <a:pt x="5037" y="4628"/>
                    <a:pt x="5048" y="4587"/>
                    <a:pt x="5069" y="4550"/>
                  </a:cubicBezTo>
                  <a:cubicBezTo>
                    <a:pt x="5089" y="4514"/>
                    <a:pt x="5118" y="4486"/>
                    <a:pt x="5154" y="4466"/>
                  </a:cubicBezTo>
                  <a:cubicBezTo>
                    <a:pt x="5191" y="4445"/>
                    <a:pt x="5232" y="4435"/>
                    <a:pt x="5277" y="4435"/>
                  </a:cubicBezTo>
                  <a:cubicBezTo>
                    <a:pt x="5322" y="4435"/>
                    <a:pt x="5363" y="4445"/>
                    <a:pt x="5399" y="4466"/>
                  </a:cubicBezTo>
                  <a:cubicBezTo>
                    <a:pt x="5436" y="4486"/>
                    <a:pt x="5464" y="4514"/>
                    <a:pt x="5485" y="4550"/>
                  </a:cubicBezTo>
                  <a:cubicBezTo>
                    <a:pt x="5505" y="4587"/>
                    <a:pt x="5516" y="4628"/>
                    <a:pt x="5516" y="4673"/>
                  </a:cubicBezTo>
                  <a:cubicBezTo>
                    <a:pt x="5516" y="4719"/>
                    <a:pt x="5505" y="4760"/>
                    <a:pt x="5485" y="4796"/>
                  </a:cubicBezTo>
                  <a:cubicBezTo>
                    <a:pt x="5464" y="4833"/>
                    <a:pt x="5436" y="4861"/>
                    <a:pt x="5399" y="4882"/>
                  </a:cubicBezTo>
                  <a:cubicBezTo>
                    <a:pt x="5363" y="4902"/>
                    <a:pt x="5322" y="4912"/>
                    <a:pt x="5277" y="4912"/>
                  </a:cubicBezTo>
                  <a:cubicBezTo>
                    <a:pt x="5232" y="4912"/>
                    <a:pt x="5191" y="4902"/>
                    <a:pt x="5154" y="4882"/>
                  </a:cubicBezTo>
                  <a:close/>
                  <a:moveTo>
                    <a:pt x="4869" y="4612"/>
                  </a:moveTo>
                  <a:cubicBezTo>
                    <a:pt x="4902" y="4585"/>
                    <a:pt x="4918" y="4547"/>
                    <a:pt x="4918" y="4498"/>
                  </a:cubicBezTo>
                  <a:cubicBezTo>
                    <a:pt x="4918" y="4447"/>
                    <a:pt x="4902" y="4408"/>
                    <a:pt x="4869" y="4381"/>
                  </a:cubicBezTo>
                  <a:cubicBezTo>
                    <a:pt x="4836" y="4354"/>
                    <a:pt x="4789" y="4341"/>
                    <a:pt x="4727" y="4341"/>
                  </a:cubicBezTo>
                  <a:lnTo>
                    <a:pt x="4561" y="4341"/>
                  </a:lnTo>
                  <a:lnTo>
                    <a:pt x="4561" y="4653"/>
                  </a:lnTo>
                  <a:lnTo>
                    <a:pt x="4727" y="4653"/>
                  </a:lnTo>
                  <a:cubicBezTo>
                    <a:pt x="4789" y="4653"/>
                    <a:pt x="4836" y="4639"/>
                    <a:pt x="4869" y="4612"/>
                  </a:cubicBezTo>
                  <a:close/>
                  <a:moveTo>
                    <a:pt x="4917" y="4341"/>
                  </a:moveTo>
                  <a:cubicBezTo>
                    <a:pt x="4962" y="4379"/>
                    <a:pt x="4985" y="4431"/>
                    <a:pt x="4985" y="4498"/>
                  </a:cubicBezTo>
                  <a:cubicBezTo>
                    <a:pt x="4985" y="4564"/>
                    <a:pt x="4962" y="4616"/>
                    <a:pt x="4917" y="4654"/>
                  </a:cubicBezTo>
                  <a:cubicBezTo>
                    <a:pt x="4871" y="4692"/>
                    <a:pt x="4809" y="4711"/>
                    <a:pt x="4729" y="4711"/>
                  </a:cubicBezTo>
                  <a:lnTo>
                    <a:pt x="4561" y="4711"/>
                  </a:lnTo>
                  <a:lnTo>
                    <a:pt x="4561" y="4908"/>
                  </a:lnTo>
                  <a:lnTo>
                    <a:pt x="4495" y="4908"/>
                  </a:lnTo>
                  <a:lnTo>
                    <a:pt x="4495" y="4284"/>
                  </a:lnTo>
                  <a:lnTo>
                    <a:pt x="4729" y="4284"/>
                  </a:lnTo>
                  <a:cubicBezTo>
                    <a:pt x="4809" y="4284"/>
                    <a:pt x="4871" y="4303"/>
                    <a:pt x="4917" y="4341"/>
                  </a:cubicBezTo>
                  <a:moveTo>
                    <a:pt x="3939" y="4812"/>
                  </a:moveTo>
                  <a:cubicBezTo>
                    <a:pt x="3966" y="4797"/>
                    <a:pt x="3987" y="4777"/>
                    <a:pt x="4002" y="4751"/>
                  </a:cubicBezTo>
                  <a:cubicBezTo>
                    <a:pt x="4018" y="4725"/>
                    <a:pt x="4025" y="4695"/>
                    <a:pt x="4025" y="4662"/>
                  </a:cubicBezTo>
                  <a:cubicBezTo>
                    <a:pt x="4025" y="4628"/>
                    <a:pt x="4018" y="4599"/>
                    <a:pt x="4002" y="4573"/>
                  </a:cubicBezTo>
                  <a:cubicBezTo>
                    <a:pt x="3987" y="4547"/>
                    <a:pt x="3966" y="4527"/>
                    <a:pt x="3939" y="4512"/>
                  </a:cubicBezTo>
                  <a:cubicBezTo>
                    <a:pt x="3912" y="4498"/>
                    <a:pt x="3881" y="4491"/>
                    <a:pt x="3846" y="4491"/>
                  </a:cubicBezTo>
                  <a:cubicBezTo>
                    <a:pt x="3812" y="4491"/>
                    <a:pt x="3782" y="4498"/>
                    <a:pt x="3755" y="4512"/>
                  </a:cubicBezTo>
                  <a:cubicBezTo>
                    <a:pt x="3728" y="4526"/>
                    <a:pt x="3707" y="4546"/>
                    <a:pt x="3691" y="4573"/>
                  </a:cubicBezTo>
                  <a:cubicBezTo>
                    <a:pt x="3676" y="4599"/>
                    <a:pt x="3669" y="4628"/>
                    <a:pt x="3669" y="4662"/>
                  </a:cubicBezTo>
                  <a:cubicBezTo>
                    <a:pt x="3669" y="4695"/>
                    <a:pt x="3676" y="4725"/>
                    <a:pt x="3691" y="4751"/>
                  </a:cubicBezTo>
                  <a:cubicBezTo>
                    <a:pt x="3707" y="4777"/>
                    <a:pt x="3728" y="4797"/>
                    <a:pt x="3755" y="4812"/>
                  </a:cubicBezTo>
                  <a:cubicBezTo>
                    <a:pt x="3782" y="4827"/>
                    <a:pt x="3812" y="4834"/>
                    <a:pt x="3846" y="4834"/>
                  </a:cubicBezTo>
                  <a:cubicBezTo>
                    <a:pt x="3880" y="4834"/>
                    <a:pt x="3911" y="4827"/>
                    <a:pt x="3939" y="4812"/>
                  </a:cubicBezTo>
                  <a:moveTo>
                    <a:pt x="4087" y="4439"/>
                  </a:moveTo>
                  <a:lnTo>
                    <a:pt x="4087" y="4851"/>
                  </a:lnTo>
                  <a:cubicBezTo>
                    <a:pt x="4087" y="4930"/>
                    <a:pt x="4067" y="4990"/>
                    <a:pt x="4028" y="5028"/>
                  </a:cubicBezTo>
                  <a:cubicBezTo>
                    <a:pt x="3989" y="5066"/>
                    <a:pt x="3930" y="5085"/>
                    <a:pt x="3852" y="5085"/>
                  </a:cubicBezTo>
                  <a:cubicBezTo>
                    <a:pt x="3808" y="5085"/>
                    <a:pt x="3767" y="5079"/>
                    <a:pt x="3728" y="5066"/>
                  </a:cubicBezTo>
                  <a:cubicBezTo>
                    <a:pt x="3689" y="5053"/>
                    <a:pt x="3657" y="5036"/>
                    <a:pt x="3633" y="5013"/>
                  </a:cubicBezTo>
                  <a:lnTo>
                    <a:pt x="3665" y="4965"/>
                  </a:lnTo>
                  <a:cubicBezTo>
                    <a:pt x="3688" y="4985"/>
                    <a:pt x="3715" y="5001"/>
                    <a:pt x="3748" y="5012"/>
                  </a:cubicBezTo>
                  <a:cubicBezTo>
                    <a:pt x="3780" y="5024"/>
                    <a:pt x="3814" y="5029"/>
                    <a:pt x="3850" y="5029"/>
                  </a:cubicBezTo>
                  <a:cubicBezTo>
                    <a:pt x="3910" y="5029"/>
                    <a:pt x="3953" y="5015"/>
                    <a:pt x="3981" y="4988"/>
                  </a:cubicBezTo>
                  <a:cubicBezTo>
                    <a:pt x="4009" y="4960"/>
                    <a:pt x="4023" y="4917"/>
                    <a:pt x="4023" y="4859"/>
                  </a:cubicBezTo>
                  <a:lnTo>
                    <a:pt x="4023" y="4799"/>
                  </a:lnTo>
                  <a:cubicBezTo>
                    <a:pt x="4004" y="4829"/>
                    <a:pt x="3978" y="4851"/>
                    <a:pt x="3946" y="4867"/>
                  </a:cubicBezTo>
                  <a:cubicBezTo>
                    <a:pt x="3914" y="4882"/>
                    <a:pt x="3879" y="4890"/>
                    <a:pt x="3840" y="4890"/>
                  </a:cubicBezTo>
                  <a:cubicBezTo>
                    <a:pt x="3796" y="4890"/>
                    <a:pt x="3756" y="4880"/>
                    <a:pt x="3720" y="4861"/>
                  </a:cubicBezTo>
                  <a:cubicBezTo>
                    <a:pt x="3684" y="4842"/>
                    <a:pt x="3656" y="4815"/>
                    <a:pt x="3635" y="4780"/>
                  </a:cubicBezTo>
                  <a:cubicBezTo>
                    <a:pt x="3614" y="4745"/>
                    <a:pt x="3604" y="4706"/>
                    <a:pt x="3604" y="4662"/>
                  </a:cubicBezTo>
                  <a:cubicBezTo>
                    <a:pt x="3604" y="4618"/>
                    <a:pt x="3614" y="4578"/>
                    <a:pt x="3635" y="4544"/>
                  </a:cubicBezTo>
                  <a:cubicBezTo>
                    <a:pt x="3656" y="4510"/>
                    <a:pt x="3684" y="4483"/>
                    <a:pt x="3719" y="4464"/>
                  </a:cubicBezTo>
                  <a:cubicBezTo>
                    <a:pt x="3755" y="4445"/>
                    <a:pt x="3795" y="4435"/>
                    <a:pt x="3840" y="4435"/>
                  </a:cubicBezTo>
                  <a:cubicBezTo>
                    <a:pt x="3880" y="4435"/>
                    <a:pt x="3916" y="4443"/>
                    <a:pt x="3948" y="4459"/>
                  </a:cubicBezTo>
                  <a:cubicBezTo>
                    <a:pt x="3981" y="4475"/>
                    <a:pt x="4006" y="4499"/>
                    <a:pt x="4026" y="4529"/>
                  </a:cubicBezTo>
                  <a:lnTo>
                    <a:pt x="4026" y="4439"/>
                  </a:lnTo>
                  <a:lnTo>
                    <a:pt x="4087" y="4439"/>
                  </a:lnTo>
                  <a:close/>
                  <a:moveTo>
                    <a:pt x="3453" y="4487"/>
                  </a:moveTo>
                  <a:cubicBezTo>
                    <a:pt x="3487" y="4521"/>
                    <a:pt x="3505" y="4570"/>
                    <a:pt x="3505" y="4636"/>
                  </a:cubicBezTo>
                  <a:lnTo>
                    <a:pt x="3505" y="4908"/>
                  </a:lnTo>
                  <a:lnTo>
                    <a:pt x="3441" y="4908"/>
                  </a:lnTo>
                  <a:lnTo>
                    <a:pt x="3441" y="4642"/>
                  </a:lnTo>
                  <a:cubicBezTo>
                    <a:pt x="3441" y="4593"/>
                    <a:pt x="3429" y="4556"/>
                    <a:pt x="3405" y="4531"/>
                  </a:cubicBezTo>
                  <a:cubicBezTo>
                    <a:pt x="3380" y="4505"/>
                    <a:pt x="3345" y="4492"/>
                    <a:pt x="3300" y="4492"/>
                  </a:cubicBezTo>
                  <a:cubicBezTo>
                    <a:pt x="3249" y="4492"/>
                    <a:pt x="3209" y="4507"/>
                    <a:pt x="3180" y="4537"/>
                  </a:cubicBezTo>
                  <a:cubicBezTo>
                    <a:pt x="3150" y="4567"/>
                    <a:pt x="3136" y="4609"/>
                    <a:pt x="3136" y="4662"/>
                  </a:cubicBezTo>
                  <a:lnTo>
                    <a:pt x="3136" y="4908"/>
                  </a:lnTo>
                  <a:lnTo>
                    <a:pt x="3072" y="4908"/>
                  </a:lnTo>
                  <a:lnTo>
                    <a:pt x="3072" y="4439"/>
                  </a:lnTo>
                  <a:lnTo>
                    <a:pt x="3133" y="4439"/>
                  </a:lnTo>
                  <a:lnTo>
                    <a:pt x="3133" y="4525"/>
                  </a:lnTo>
                  <a:cubicBezTo>
                    <a:pt x="3150" y="4497"/>
                    <a:pt x="3174" y="4475"/>
                    <a:pt x="3205" y="4459"/>
                  </a:cubicBezTo>
                  <a:cubicBezTo>
                    <a:pt x="3236" y="4443"/>
                    <a:pt x="3271" y="4435"/>
                    <a:pt x="3312" y="4435"/>
                  </a:cubicBezTo>
                  <a:cubicBezTo>
                    <a:pt x="3371" y="4435"/>
                    <a:pt x="3418" y="4452"/>
                    <a:pt x="3453" y="4487"/>
                  </a:cubicBezTo>
                  <a:close/>
                  <a:moveTo>
                    <a:pt x="2858" y="4439"/>
                  </a:moveTo>
                  <a:lnTo>
                    <a:pt x="2922" y="4439"/>
                  </a:lnTo>
                  <a:lnTo>
                    <a:pt x="2922" y="4908"/>
                  </a:lnTo>
                  <a:lnTo>
                    <a:pt x="2858" y="4908"/>
                  </a:lnTo>
                  <a:lnTo>
                    <a:pt x="2858" y="4439"/>
                  </a:lnTo>
                  <a:close/>
                  <a:moveTo>
                    <a:pt x="2858" y="4323"/>
                  </a:moveTo>
                  <a:cubicBezTo>
                    <a:pt x="2849" y="4314"/>
                    <a:pt x="2844" y="4303"/>
                    <a:pt x="2844" y="4291"/>
                  </a:cubicBezTo>
                  <a:cubicBezTo>
                    <a:pt x="2844" y="4279"/>
                    <a:pt x="2849" y="4268"/>
                    <a:pt x="2858" y="4260"/>
                  </a:cubicBezTo>
                  <a:cubicBezTo>
                    <a:pt x="2867" y="4251"/>
                    <a:pt x="2878" y="4246"/>
                    <a:pt x="2891" y="4246"/>
                  </a:cubicBezTo>
                  <a:cubicBezTo>
                    <a:pt x="2904" y="4246"/>
                    <a:pt x="2915" y="4250"/>
                    <a:pt x="2924" y="4259"/>
                  </a:cubicBezTo>
                  <a:cubicBezTo>
                    <a:pt x="2933" y="4268"/>
                    <a:pt x="2937" y="4278"/>
                    <a:pt x="2937" y="4290"/>
                  </a:cubicBezTo>
                  <a:cubicBezTo>
                    <a:pt x="2937" y="4303"/>
                    <a:pt x="2933" y="4314"/>
                    <a:pt x="2924" y="4323"/>
                  </a:cubicBezTo>
                  <a:cubicBezTo>
                    <a:pt x="2915" y="4332"/>
                    <a:pt x="2904" y="4336"/>
                    <a:pt x="2891" y="4336"/>
                  </a:cubicBezTo>
                  <a:cubicBezTo>
                    <a:pt x="2878" y="4336"/>
                    <a:pt x="2867" y="4332"/>
                    <a:pt x="2858" y="4323"/>
                  </a:cubicBezTo>
                  <a:close/>
                  <a:moveTo>
                    <a:pt x="2643" y="4459"/>
                  </a:moveTo>
                  <a:cubicBezTo>
                    <a:pt x="2673" y="4443"/>
                    <a:pt x="2710" y="4435"/>
                    <a:pt x="2753" y="4435"/>
                  </a:cubicBezTo>
                  <a:lnTo>
                    <a:pt x="2753" y="4497"/>
                  </a:lnTo>
                  <a:lnTo>
                    <a:pt x="2738" y="4496"/>
                  </a:lnTo>
                  <a:cubicBezTo>
                    <a:pt x="2688" y="4496"/>
                    <a:pt x="2650" y="4511"/>
                    <a:pt x="2622" y="4541"/>
                  </a:cubicBezTo>
                  <a:cubicBezTo>
                    <a:pt x="2594" y="4572"/>
                    <a:pt x="2580" y="4614"/>
                    <a:pt x="2580" y="4669"/>
                  </a:cubicBezTo>
                  <a:lnTo>
                    <a:pt x="2580" y="4908"/>
                  </a:lnTo>
                  <a:lnTo>
                    <a:pt x="2516" y="4908"/>
                  </a:lnTo>
                  <a:lnTo>
                    <a:pt x="2516" y="4439"/>
                  </a:lnTo>
                  <a:lnTo>
                    <a:pt x="2577" y="4439"/>
                  </a:lnTo>
                  <a:lnTo>
                    <a:pt x="2577" y="4531"/>
                  </a:lnTo>
                  <a:cubicBezTo>
                    <a:pt x="2592" y="4499"/>
                    <a:pt x="2614" y="4475"/>
                    <a:pt x="2643" y="4459"/>
                  </a:cubicBezTo>
                  <a:close/>
                  <a:moveTo>
                    <a:pt x="2053" y="4533"/>
                  </a:moveTo>
                  <a:cubicBezTo>
                    <a:pt x="2023" y="4562"/>
                    <a:pt x="2005" y="4599"/>
                    <a:pt x="2001" y="4646"/>
                  </a:cubicBezTo>
                  <a:lnTo>
                    <a:pt x="2335" y="4646"/>
                  </a:lnTo>
                  <a:cubicBezTo>
                    <a:pt x="2330" y="4599"/>
                    <a:pt x="2313" y="4562"/>
                    <a:pt x="2282" y="4533"/>
                  </a:cubicBezTo>
                  <a:cubicBezTo>
                    <a:pt x="2252" y="4504"/>
                    <a:pt x="2213" y="4490"/>
                    <a:pt x="2167" y="4490"/>
                  </a:cubicBezTo>
                  <a:cubicBezTo>
                    <a:pt x="2122" y="4490"/>
                    <a:pt x="2084" y="4504"/>
                    <a:pt x="2053" y="4533"/>
                  </a:cubicBezTo>
                  <a:close/>
                  <a:moveTo>
                    <a:pt x="2395" y="4693"/>
                  </a:moveTo>
                  <a:lnTo>
                    <a:pt x="2001" y="4693"/>
                  </a:lnTo>
                  <a:cubicBezTo>
                    <a:pt x="2005" y="4742"/>
                    <a:pt x="2023" y="4781"/>
                    <a:pt x="2057" y="4811"/>
                  </a:cubicBezTo>
                  <a:cubicBezTo>
                    <a:pt x="2091" y="4841"/>
                    <a:pt x="2134" y="4856"/>
                    <a:pt x="2186" y="4856"/>
                  </a:cubicBezTo>
                  <a:cubicBezTo>
                    <a:pt x="2215" y="4856"/>
                    <a:pt x="2242" y="4851"/>
                    <a:pt x="2267" y="4841"/>
                  </a:cubicBezTo>
                  <a:cubicBezTo>
                    <a:pt x="2291" y="4830"/>
                    <a:pt x="2312" y="4815"/>
                    <a:pt x="2330" y="4795"/>
                  </a:cubicBezTo>
                  <a:lnTo>
                    <a:pt x="2366" y="4836"/>
                  </a:lnTo>
                  <a:cubicBezTo>
                    <a:pt x="2345" y="4861"/>
                    <a:pt x="2319" y="4880"/>
                    <a:pt x="2288" y="4893"/>
                  </a:cubicBezTo>
                  <a:cubicBezTo>
                    <a:pt x="2256" y="4906"/>
                    <a:pt x="2222" y="4912"/>
                    <a:pt x="2184" y="4912"/>
                  </a:cubicBezTo>
                  <a:cubicBezTo>
                    <a:pt x="2136" y="4912"/>
                    <a:pt x="2093" y="4902"/>
                    <a:pt x="2056" y="4882"/>
                  </a:cubicBezTo>
                  <a:cubicBezTo>
                    <a:pt x="2019" y="4861"/>
                    <a:pt x="1990" y="4833"/>
                    <a:pt x="1969" y="4796"/>
                  </a:cubicBezTo>
                  <a:cubicBezTo>
                    <a:pt x="1948" y="4760"/>
                    <a:pt x="1938" y="4719"/>
                    <a:pt x="1938" y="4673"/>
                  </a:cubicBezTo>
                  <a:cubicBezTo>
                    <a:pt x="1938" y="4628"/>
                    <a:pt x="1948" y="4587"/>
                    <a:pt x="1968" y="4550"/>
                  </a:cubicBezTo>
                  <a:cubicBezTo>
                    <a:pt x="1988" y="4514"/>
                    <a:pt x="2015" y="4486"/>
                    <a:pt x="2050" y="4466"/>
                  </a:cubicBezTo>
                  <a:cubicBezTo>
                    <a:pt x="2085" y="4445"/>
                    <a:pt x="2124" y="4435"/>
                    <a:pt x="2167" y="4435"/>
                  </a:cubicBezTo>
                  <a:cubicBezTo>
                    <a:pt x="2211" y="4435"/>
                    <a:pt x="2250" y="4445"/>
                    <a:pt x="2285" y="4466"/>
                  </a:cubicBezTo>
                  <a:cubicBezTo>
                    <a:pt x="2319" y="4486"/>
                    <a:pt x="2346" y="4514"/>
                    <a:pt x="2366" y="4550"/>
                  </a:cubicBezTo>
                  <a:cubicBezTo>
                    <a:pt x="2386" y="4586"/>
                    <a:pt x="2395" y="4627"/>
                    <a:pt x="2395" y="4673"/>
                  </a:cubicBezTo>
                  <a:lnTo>
                    <a:pt x="2395" y="4693"/>
                  </a:lnTo>
                  <a:close/>
                  <a:moveTo>
                    <a:pt x="1912" y="4439"/>
                  </a:moveTo>
                  <a:lnTo>
                    <a:pt x="1734" y="4908"/>
                  </a:lnTo>
                  <a:lnTo>
                    <a:pt x="1674" y="4908"/>
                  </a:lnTo>
                  <a:lnTo>
                    <a:pt x="1525" y="4524"/>
                  </a:lnTo>
                  <a:lnTo>
                    <a:pt x="1377" y="4908"/>
                  </a:lnTo>
                  <a:lnTo>
                    <a:pt x="1317" y="4908"/>
                  </a:lnTo>
                  <a:lnTo>
                    <a:pt x="1140" y="4439"/>
                  </a:lnTo>
                  <a:lnTo>
                    <a:pt x="1201" y="4439"/>
                  </a:lnTo>
                  <a:lnTo>
                    <a:pt x="1348" y="4837"/>
                  </a:lnTo>
                  <a:lnTo>
                    <a:pt x="1500" y="4439"/>
                  </a:lnTo>
                  <a:lnTo>
                    <a:pt x="1554" y="4439"/>
                  </a:lnTo>
                  <a:lnTo>
                    <a:pt x="1704" y="4837"/>
                  </a:lnTo>
                  <a:lnTo>
                    <a:pt x="1854" y="4439"/>
                  </a:lnTo>
                  <a:lnTo>
                    <a:pt x="1912" y="4439"/>
                  </a:lnTo>
                  <a:close/>
                  <a:moveTo>
                    <a:pt x="965" y="4833"/>
                  </a:moveTo>
                  <a:cubicBezTo>
                    <a:pt x="992" y="4818"/>
                    <a:pt x="1013" y="4797"/>
                    <a:pt x="1027" y="4769"/>
                  </a:cubicBezTo>
                  <a:cubicBezTo>
                    <a:pt x="1042" y="4741"/>
                    <a:pt x="1050" y="4709"/>
                    <a:pt x="1050" y="4673"/>
                  </a:cubicBezTo>
                  <a:cubicBezTo>
                    <a:pt x="1050" y="4638"/>
                    <a:pt x="1042" y="4606"/>
                    <a:pt x="1027" y="4578"/>
                  </a:cubicBezTo>
                  <a:cubicBezTo>
                    <a:pt x="1013" y="4550"/>
                    <a:pt x="992" y="4528"/>
                    <a:pt x="965" y="4513"/>
                  </a:cubicBezTo>
                  <a:cubicBezTo>
                    <a:pt x="939" y="4498"/>
                    <a:pt x="909" y="4491"/>
                    <a:pt x="875" y="4491"/>
                  </a:cubicBezTo>
                  <a:cubicBezTo>
                    <a:pt x="842" y="4491"/>
                    <a:pt x="812" y="4498"/>
                    <a:pt x="786" y="4513"/>
                  </a:cubicBezTo>
                  <a:cubicBezTo>
                    <a:pt x="759" y="4528"/>
                    <a:pt x="738" y="4550"/>
                    <a:pt x="723" y="4578"/>
                  </a:cubicBezTo>
                  <a:cubicBezTo>
                    <a:pt x="708" y="4606"/>
                    <a:pt x="700" y="4638"/>
                    <a:pt x="700" y="4673"/>
                  </a:cubicBezTo>
                  <a:cubicBezTo>
                    <a:pt x="700" y="4709"/>
                    <a:pt x="708" y="4741"/>
                    <a:pt x="723" y="4769"/>
                  </a:cubicBezTo>
                  <a:cubicBezTo>
                    <a:pt x="738" y="4797"/>
                    <a:pt x="759" y="4818"/>
                    <a:pt x="786" y="4833"/>
                  </a:cubicBezTo>
                  <a:cubicBezTo>
                    <a:pt x="812" y="4849"/>
                    <a:pt x="842" y="4856"/>
                    <a:pt x="875" y="4856"/>
                  </a:cubicBezTo>
                  <a:cubicBezTo>
                    <a:pt x="909" y="4856"/>
                    <a:pt x="939" y="4849"/>
                    <a:pt x="965" y="4833"/>
                  </a:cubicBezTo>
                  <a:close/>
                  <a:moveTo>
                    <a:pt x="753" y="4882"/>
                  </a:moveTo>
                  <a:cubicBezTo>
                    <a:pt x="717" y="4861"/>
                    <a:pt x="688" y="4833"/>
                    <a:pt x="667" y="4796"/>
                  </a:cubicBezTo>
                  <a:cubicBezTo>
                    <a:pt x="646" y="4760"/>
                    <a:pt x="636" y="4719"/>
                    <a:pt x="636" y="4673"/>
                  </a:cubicBezTo>
                  <a:cubicBezTo>
                    <a:pt x="636" y="4628"/>
                    <a:pt x="646" y="4587"/>
                    <a:pt x="667" y="4550"/>
                  </a:cubicBezTo>
                  <a:cubicBezTo>
                    <a:pt x="688" y="4514"/>
                    <a:pt x="717" y="4486"/>
                    <a:pt x="753" y="4466"/>
                  </a:cubicBezTo>
                  <a:cubicBezTo>
                    <a:pt x="789" y="4445"/>
                    <a:pt x="830" y="4435"/>
                    <a:pt x="875" y="4435"/>
                  </a:cubicBezTo>
                  <a:cubicBezTo>
                    <a:pt x="921" y="4435"/>
                    <a:pt x="962" y="4445"/>
                    <a:pt x="998" y="4466"/>
                  </a:cubicBezTo>
                  <a:cubicBezTo>
                    <a:pt x="1034" y="4486"/>
                    <a:pt x="1063" y="4514"/>
                    <a:pt x="1083" y="4550"/>
                  </a:cubicBezTo>
                  <a:cubicBezTo>
                    <a:pt x="1104" y="4587"/>
                    <a:pt x="1114" y="4628"/>
                    <a:pt x="1114" y="4673"/>
                  </a:cubicBezTo>
                  <a:cubicBezTo>
                    <a:pt x="1114" y="4719"/>
                    <a:pt x="1104" y="4760"/>
                    <a:pt x="1083" y="4796"/>
                  </a:cubicBezTo>
                  <a:cubicBezTo>
                    <a:pt x="1063" y="4833"/>
                    <a:pt x="1034" y="4861"/>
                    <a:pt x="998" y="4882"/>
                  </a:cubicBezTo>
                  <a:cubicBezTo>
                    <a:pt x="962" y="4902"/>
                    <a:pt x="921" y="4912"/>
                    <a:pt x="875" y="4912"/>
                  </a:cubicBezTo>
                  <a:cubicBezTo>
                    <a:pt x="830" y="4912"/>
                    <a:pt x="789" y="4902"/>
                    <a:pt x="753" y="4882"/>
                  </a:cubicBezTo>
                  <a:close/>
                  <a:moveTo>
                    <a:pt x="468" y="4612"/>
                  </a:moveTo>
                  <a:cubicBezTo>
                    <a:pt x="501" y="4585"/>
                    <a:pt x="517" y="4547"/>
                    <a:pt x="517" y="4498"/>
                  </a:cubicBezTo>
                  <a:cubicBezTo>
                    <a:pt x="517" y="4447"/>
                    <a:pt x="501" y="4408"/>
                    <a:pt x="468" y="4381"/>
                  </a:cubicBezTo>
                  <a:cubicBezTo>
                    <a:pt x="435" y="4354"/>
                    <a:pt x="388" y="4341"/>
                    <a:pt x="326" y="4341"/>
                  </a:cubicBezTo>
                  <a:lnTo>
                    <a:pt x="159" y="4341"/>
                  </a:lnTo>
                  <a:lnTo>
                    <a:pt x="159" y="4653"/>
                  </a:lnTo>
                  <a:lnTo>
                    <a:pt x="326" y="4653"/>
                  </a:lnTo>
                  <a:cubicBezTo>
                    <a:pt x="388" y="4653"/>
                    <a:pt x="435" y="4639"/>
                    <a:pt x="468" y="4612"/>
                  </a:cubicBezTo>
                  <a:moveTo>
                    <a:pt x="515" y="4341"/>
                  </a:moveTo>
                  <a:cubicBezTo>
                    <a:pt x="560" y="4379"/>
                    <a:pt x="583" y="4431"/>
                    <a:pt x="583" y="4498"/>
                  </a:cubicBezTo>
                  <a:cubicBezTo>
                    <a:pt x="583" y="4564"/>
                    <a:pt x="560" y="4616"/>
                    <a:pt x="515" y="4654"/>
                  </a:cubicBezTo>
                  <a:cubicBezTo>
                    <a:pt x="470" y="4692"/>
                    <a:pt x="407" y="4711"/>
                    <a:pt x="327" y="4711"/>
                  </a:cubicBezTo>
                  <a:lnTo>
                    <a:pt x="159" y="4711"/>
                  </a:lnTo>
                  <a:lnTo>
                    <a:pt x="159" y="4908"/>
                  </a:lnTo>
                  <a:lnTo>
                    <a:pt x="93" y="4908"/>
                  </a:lnTo>
                  <a:lnTo>
                    <a:pt x="93" y="4284"/>
                  </a:lnTo>
                  <a:lnTo>
                    <a:pt x="327" y="4284"/>
                  </a:lnTo>
                  <a:cubicBezTo>
                    <a:pt x="407" y="4284"/>
                    <a:pt x="470" y="4303"/>
                    <a:pt x="515" y="4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6">
              <a:extLst>
                <a:ext uri="{FF2B5EF4-FFF2-40B4-BE49-F238E27FC236}">
                  <a16:creationId xmlns:a16="http://schemas.microsoft.com/office/drawing/2014/main" id="{B59E78C6-4112-4713-B107-013961FC5E00}"/>
                </a:ext>
              </a:extLst>
            </p:cNvPr>
            <p:cNvSpPr>
              <a:spLocks noEditPoints="1"/>
            </p:cNvSpPr>
            <p:nvPr userDrawn="1"/>
          </p:nvSpPr>
          <p:spPr bwMode="auto">
            <a:xfrm>
              <a:off x="1321" y="3148"/>
              <a:ext cx="4755" cy="713"/>
            </a:xfrm>
            <a:custGeom>
              <a:avLst/>
              <a:gdLst>
                <a:gd name="T0" fmla="*/ 9402 w 9905"/>
                <a:gd name="T1" fmla="*/ 1485 h 1485"/>
                <a:gd name="T2" fmla="*/ 9609 w 9905"/>
                <a:gd name="T3" fmla="*/ 673 h 1485"/>
                <a:gd name="T4" fmla="*/ 9235 w 9905"/>
                <a:gd name="T5" fmla="*/ 387 h 1485"/>
                <a:gd name="T6" fmla="*/ 9645 w 9905"/>
                <a:gd name="T7" fmla="*/ 272 h 1485"/>
                <a:gd name="T8" fmla="*/ 9852 w 9905"/>
                <a:gd name="T9" fmla="*/ 188 h 1485"/>
                <a:gd name="T10" fmla="*/ 9440 w 9905"/>
                <a:gd name="T11" fmla="*/ 0 h 1485"/>
                <a:gd name="T12" fmla="*/ 9297 w 9905"/>
                <a:gd name="T13" fmla="*/ 792 h 1485"/>
                <a:gd name="T14" fmla="*/ 9655 w 9905"/>
                <a:gd name="T15" fmla="*/ 1077 h 1485"/>
                <a:gd name="T16" fmla="*/ 9102 w 9905"/>
                <a:gd name="T17" fmla="*/ 1105 h 1485"/>
                <a:gd name="T18" fmla="*/ 7727 w 9905"/>
                <a:gd name="T19" fmla="*/ 1267 h 1485"/>
                <a:gd name="T20" fmla="*/ 8704 w 9905"/>
                <a:gd name="T21" fmla="*/ 1072 h 1485"/>
                <a:gd name="T22" fmla="*/ 8168 w 9905"/>
                <a:gd name="T23" fmla="*/ 558 h 1485"/>
                <a:gd name="T24" fmla="*/ 8252 w 9905"/>
                <a:gd name="T25" fmla="*/ 227 h 1485"/>
                <a:gd name="T26" fmla="*/ 8543 w 9905"/>
                <a:gd name="T27" fmla="*/ 300 h 1485"/>
                <a:gd name="T28" fmla="*/ 8567 w 9905"/>
                <a:gd name="T29" fmla="*/ 73 h 1485"/>
                <a:gd name="T30" fmla="*/ 7785 w 9905"/>
                <a:gd name="T31" fmla="*/ 395 h 1485"/>
                <a:gd name="T32" fmla="*/ 8292 w 9905"/>
                <a:gd name="T33" fmla="*/ 885 h 1485"/>
                <a:gd name="T34" fmla="*/ 8225 w 9905"/>
                <a:gd name="T35" fmla="*/ 1257 h 1485"/>
                <a:gd name="T36" fmla="*/ 7727 w 9905"/>
                <a:gd name="T37" fmla="*/ 1267 h 1485"/>
                <a:gd name="T38" fmla="*/ 3354 w 9905"/>
                <a:gd name="T39" fmla="*/ 1485 h 1485"/>
                <a:gd name="T40" fmla="*/ 3560 w 9905"/>
                <a:gd name="T41" fmla="*/ 673 h 1485"/>
                <a:gd name="T42" fmla="*/ 3187 w 9905"/>
                <a:gd name="T43" fmla="*/ 387 h 1485"/>
                <a:gd name="T44" fmla="*/ 3597 w 9905"/>
                <a:gd name="T45" fmla="*/ 272 h 1485"/>
                <a:gd name="T46" fmla="*/ 3805 w 9905"/>
                <a:gd name="T47" fmla="*/ 188 h 1485"/>
                <a:gd name="T48" fmla="*/ 3393 w 9905"/>
                <a:gd name="T49" fmla="*/ 0 h 1485"/>
                <a:gd name="T50" fmla="*/ 3250 w 9905"/>
                <a:gd name="T51" fmla="*/ 792 h 1485"/>
                <a:gd name="T52" fmla="*/ 3609 w 9905"/>
                <a:gd name="T53" fmla="*/ 1077 h 1485"/>
                <a:gd name="T54" fmla="*/ 3055 w 9905"/>
                <a:gd name="T55" fmla="*/ 1105 h 1485"/>
                <a:gd name="T56" fmla="*/ 5023 w 9905"/>
                <a:gd name="T57" fmla="*/ 0 h 1485"/>
                <a:gd name="T58" fmla="*/ 4905 w 9905"/>
                <a:gd name="T59" fmla="*/ 1370 h 1485"/>
                <a:gd name="T60" fmla="*/ 5140 w 9905"/>
                <a:gd name="T61" fmla="*/ 1370 h 1485"/>
                <a:gd name="T62" fmla="*/ 5868 w 9905"/>
                <a:gd name="T63" fmla="*/ 1395 h 1485"/>
                <a:gd name="T64" fmla="*/ 6117 w 9905"/>
                <a:gd name="T65" fmla="*/ 1372 h 1485"/>
                <a:gd name="T66" fmla="*/ 5884 w 9905"/>
                <a:gd name="T67" fmla="*/ 10 h 1485"/>
                <a:gd name="T68" fmla="*/ 5152 w 9905"/>
                <a:gd name="T69" fmla="*/ 88 h 1485"/>
                <a:gd name="T70" fmla="*/ 882 w 9905"/>
                <a:gd name="T71" fmla="*/ 682 h 1485"/>
                <a:gd name="T72" fmla="*/ 652 w 9905"/>
                <a:gd name="T73" fmla="*/ 1475 h 1485"/>
                <a:gd name="T74" fmla="*/ 0 w 9905"/>
                <a:gd name="T75" fmla="*/ 122 h 1485"/>
                <a:gd name="T76" fmla="*/ 622 w 9905"/>
                <a:gd name="T77" fmla="*/ 7 h 1485"/>
                <a:gd name="T78" fmla="*/ 882 w 9905"/>
                <a:gd name="T79" fmla="*/ 682 h 1485"/>
                <a:gd name="T80" fmla="*/ 592 w 9905"/>
                <a:gd name="T81" fmla="*/ 595 h 1485"/>
                <a:gd name="T82" fmla="*/ 592 w 9905"/>
                <a:gd name="T83" fmla="*/ 238 h 1485"/>
                <a:gd name="T84" fmla="*/ 237 w 9905"/>
                <a:gd name="T85" fmla="*/ 595 h 1485"/>
                <a:gd name="T86" fmla="*/ 859 w 9905"/>
                <a:gd name="T87" fmla="*/ 1032 h 1485"/>
                <a:gd name="T88" fmla="*/ 237 w 9905"/>
                <a:gd name="T89" fmla="*/ 812 h 1485"/>
                <a:gd name="T90" fmla="*/ 607 w 9905"/>
                <a:gd name="T91" fmla="*/ 1250 h 1485"/>
                <a:gd name="T92" fmla="*/ 7492 w 9905"/>
                <a:gd name="T93" fmla="*/ 125 h 1485"/>
                <a:gd name="T94" fmla="*/ 6642 w 9905"/>
                <a:gd name="T95" fmla="*/ 10 h 1485"/>
                <a:gd name="T96" fmla="*/ 6527 w 9905"/>
                <a:gd name="T97" fmla="*/ 1365 h 1485"/>
                <a:gd name="T98" fmla="*/ 7484 w 9905"/>
                <a:gd name="T99" fmla="*/ 1478 h 1485"/>
                <a:gd name="T100" fmla="*/ 6764 w 9905"/>
                <a:gd name="T101" fmla="*/ 1248 h 1485"/>
                <a:gd name="T102" fmla="*/ 7307 w 9905"/>
                <a:gd name="T103" fmla="*/ 822 h 1485"/>
                <a:gd name="T104" fmla="*/ 7307 w 9905"/>
                <a:gd name="T105" fmla="*/ 592 h 1485"/>
                <a:gd name="T106" fmla="*/ 6764 w 9905"/>
                <a:gd name="T107" fmla="*/ 240 h 1485"/>
                <a:gd name="T108" fmla="*/ 1635 w 9905"/>
                <a:gd name="T109" fmla="*/ 893 h 1485"/>
                <a:gd name="T110" fmla="*/ 1517 w 9905"/>
                <a:gd name="T111" fmla="*/ 0 h 1485"/>
                <a:gd name="T112" fmla="*/ 1399 w 9905"/>
                <a:gd name="T113" fmla="*/ 885 h 1485"/>
                <a:gd name="T114" fmla="*/ 2605 w 9905"/>
                <a:gd name="T115" fmla="*/ 885 h 1485"/>
                <a:gd name="T116" fmla="*/ 2367 w 9905"/>
                <a:gd name="T117" fmla="*/ 7 h 1485"/>
                <a:gd name="T118" fmla="*/ 2002 w 9905"/>
                <a:gd name="T119" fmla="*/ 1260 h 1485"/>
                <a:gd name="T120" fmla="*/ 4320 w 9905"/>
                <a:gd name="T121" fmla="*/ 0 h 1485"/>
                <a:gd name="T122" fmla="*/ 4439 w 9905"/>
                <a:gd name="T123" fmla="*/ 1477 h 1485"/>
                <a:gd name="T124" fmla="*/ 4202 w 9905"/>
                <a:gd name="T125" fmla="*/ 115 h 1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905" h="1485">
                  <a:moveTo>
                    <a:pt x="8929" y="1267"/>
                  </a:moveTo>
                  <a:cubicBezTo>
                    <a:pt x="8959" y="1305"/>
                    <a:pt x="9097" y="1485"/>
                    <a:pt x="9402" y="1485"/>
                  </a:cubicBezTo>
                  <a:cubicBezTo>
                    <a:pt x="9700" y="1485"/>
                    <a:pt x="9905" y="1313"/>
                    <a:pt x="9905" y="1072"/>
                  </a:cubicBezTo>
                  <a:cubicBezTo>
                    <a:pt x="9905" y="913"/>
                    <a:pt x="9842" y="787"/>
                    <a:pt x="9609" y="673"/>
                  </a:cubicBezTo>
                  <a:cubicBezTo>
                    <a:pt x="9545" y="643"/>
                    <a:pt x="9368" y="558"/>
                    <a:pt x="9368" y="558"/>
                  </a:cubicBezTo>
                  <a:cubicBezTo>
                    <a:pt x="9277" y="513"/>
                    <a:pt x="9235" y="460"/>
                    <a:pt x="9235" y="387"/>
                  </a:cubicBezTo>
                  <a:cubicBezTo>
                    <a:pt x="9235" y="310"/>
                    <a:pt x="9298" y="227"/>
                    <a:pt x="9452" y="227"/>
                  </a:cubicBezTo>
                  <a:cubicBezTo>
                    <a:pt x="9540" y="227"/>
                    <a:pt x="9609" y="255"/>
                    <a:pt x="9645" y="272"/>
                  </a:cubicBezTo>
                  <a:cubicBezTo>
                    <a:pt x="9662" y="280"/>
                    <a:pt x="9704" y="300"/>
                    <a:pt x="9743" y="300"/>
                  </a:cubicBezTo>
                  <a:cubicBezTo>
                    <a:pt x="9795" y="300"/>
                    <a:pt x="9852" y="263"/>
                    <a:pt x="9852" y="188"/>
                  </a:cubicBezTo>
                  <a:cubicBezTo>
                    <a:pt x="9852" y="125"/>
                    <a:pt x="9807" y="92"/>
                    <a:pt x="9767" y="73"/>
                  </a:cubicBezTo>
                  <a:cubicBezTo>
                    <a:pt x="9704" y="43"/>
                    <a:pt x="9605" y="0"/>
                    <a:pt x="9440" y="0"/>
                  </a:cubicBezTo>
                  <a:cubicBezTo>
                    <a:pt x="9179" y="0"/>
                    <a:pt x="8985" y="165"/>
                    <a:pt x="8985" y="395"/>
                  </a:cubicBezTo>
                  <a:cubicBezTo>
                    <a:pt x="8985" y="605"/>
                    <a:pt x="9125" y="710"/>
                    <a:pt x="9297" y="792"/>
                  </a:cubicBezTo>
                  <a:cubicBezTo>
                    <a:pt x="9329" y="807"/>
                    <a:pt x="9455" y="868"/>
                    <a:pt x="9490" y="885"/>
                  </a:cubicBezTo>
                  <a:cubicBezTo>
                    <a:pt x="9598" y="937"/>
                    <a:pt x="9655" y="987"/>
                    <a:pt x="9655" y="1077"/>
                  </a:cubicBezTo>
                  <a:cubicBezTo>
                    <a:pt x="9655" y="1175"/>
                    <a:pt x="9564" y="1257"/>
                    <a:pt x="9425" y="1257"/>
                  </a:cubicBezTo>
                  <a:cubicBezTo>
                    <a:pt x="9227" y="1257"/>
                    <a:pt x="9120" y="1127"/>
                    <a:pt x="9102" y="1105"/>
                  </a:cubicBezTo>
                  <a:lnTo>
                    <a:pt x="8929" y="1267"/>
                  </a:lnTo>
                  <a:close/>
                  <a:moveTo>
                    <a:pt x="7727" y="1267"/>
                  </a:moveTo>
                  <a:cubicBezTo>
                    <a:pt x="7757" y="1305"/>
                    <a:pt x="7897" y="1485"/>
                    <a:pt x="8202" y="1485"/>
                  </a:cubicBezTo>
                  <a:cubicBezTo>
                    <a:pt x="8500" y="1485"/>
                    <a:pt x="8704" y="1313"/>
                    <a:pt x="8704" y="1072"/>
                  </a:cubicBezTo>
                  <a:cubicBezTo>
                    <a:pt x="8704" y="913"/>
                    <a:pt x="8642" y="787"/>
                    <a:pt x="8407" y="673"/>
                  </a:cubicBezTo>
                  <a:cubicBezTo>
                    <a:pt x="8345" y="643"/>
                    <a:pt x="8168" y="558"/>
                    <a:pt x="8168" y="558"/>
                  </a:cubicBezTo>
                  <a:cubicBezTo>
                    <a:pt x="8075" y="513"/>
                    <a:pt x="8034" y="460"/>
                    <a:pt x="8034" y="387"/>
                  </a:cubicBezTo>
                  <a:cubicBezTo>
                    <a:pt x="8034" y="310"/>
                    <a:pt x="8097" y="227"/>
                    <a:pt x="8252" y="227"/>
                  </a:cubicBezTo>
                  <a:cubicBezTo>
                    <a:pt x="8340" y="227"/>
                    <a:pt x="8407" y="255"/>
                    <a:pt x="8443" y="272"/>
                  </a:cubicBezTo>
                  <a:cubicBezTo>
                    <a:pt x="8462" y="280"/>
                    <a:pt x="8504" y="300"/>
                    <a:pt x="8543" y="300"/>
                  </a:cubicBezTo>
                  <a:cubicBezTo>
                    <a:pt x="8595" y="300"/>
                    <a:pt x="8652" y="263"/>
                    <a:pt x="8652" y="188"/>
                  </a:cubicBezTo>
                  <a:cubicBezTo>
                    <a:pt x="8652" y="125"/>
                    <a:pt x="8607" y="92"/>
                    <a:pt x="8567" y="73"/>
                  </a:cubicBezTo>
                  <a:cubicBezTo>
                    <a:pt x="8504" y="43"/>
                    <a:pt x="8404" y="0"/>
                    <a:pt x="8240" y="0"/>
                  </a:cubicBezTo>
                  <a:cubicBezTo>
                    <a:pt x="7979" y="0"/>
                    <a:pt x="7785" y="165"/>
                    <a:pt x="7785" y="395"/>
                  </a:cubicBezTo>
                  <a:cubicBezTo>
                    <a:pt x="7785" y="605"/>
                    <a:pt x="7927" y="710"/>
                    <a:pt x="8097" y="792"/>
                  </a:cubicBezTo>
                  <a:cubicBezTo>
                    <a:pt x="8130" y="807"/>
                    <a:pt x="8257" y="868"/>
                    <a:pt x="8292" y="885"/>
                  </a:cubicBezTo>
                  <a:cubicBezTo>
                    <a:pt x="8398" y="937"/>
                    <a:pt x="8455" y="987"/>
                    <a:pt x="8455" y="1077"/>
                  </a:cubicBezTo>
                  <a:cubicBezTo>
                    <a:pt x="8455" y="1175"/>
                    <a:pt x="8364" y="1257"/>
                    <a:pt x="8225" y="1257"/>
                  </a:cubicBezTo>
                  <a:cubicBezTo>
                    <a:pt x="8025" y="1257"/>
                    <a:pt x="7920" y="1127"/>
                    <a:pt x="7902" y="1105"/>
                  </a:cubicBezTo>
                  <a:lnTo>
                    <a:pt x="7727" y="1267"/>
                  </a:lnTo>
                  <a:close/>
                  <a:moveTo>
                    <a:pt x="2880" y="1267"/>
                  </a:moveTo>
                  <a:cubicBezTo>
                    <a:pt x="2910" y="1305"/>
                    <a:pt x="3049" y="1485"/>
                    <a:pt x="3354" y="1485"/>
                  </a:cubicBezTo>
                  <a:cubicBezTo>
                    <a:pt x="3654" y="1485"/>
                    <a:pt x="3857" y="1313"/>
                    <a:pt x="3857" y="1072"/>
                  </a:cubicBezTo>
                  <a:cubicBezTo>
                    <a:pt x="3857" y="913"/>
                    <a:pt x="3795" y="787"/>
                    <a:pt x="3560" y="673"/>
                  </a:cubicBezTo>
                  <a:cubicBezTo>
                    <a:pt x="3497" y="643"/>
                    <a:pt x="3322" y="558"/>
                    <a:pt x="3322" y="558"/>
                  </a:cubicBezTo>
                  <a:cubicBezTo>
                    <a:pt x="3229" y="513"/>
                    <a:pt x="3187" y="460"/>
                    <a:pt x="3187" y="387"/>
                  </a:cubicBezTo>
                  <a:cubicBezTo>
                    <a:pt x="3187" y="310"/>
                    <a:pt x="3250" y="227"/>
                    <a:pt x="3405" y="227"/>
                  </a:cubicBezTo>
                  <a:cubicBezTo>
                    <a:pt x="3493" y="227"/>
                    <a:pt x="3562" y="255"/>
                    <a:pt x="3597" y="272"/>
                  </a:cubicBezTo>
                  <a:cubicBezTo>
                    <a:pt x="3615" y="280"/>
                    <a:pt x="3657" y="300"/>
                    <a:pt x="3697" y="300"/>
                  </a:cubicBezTo>
                  <a:cubicBezTo>
                    <a:pt x="3749" y="300"/>
                    <a:pt x="3805" y="263"/>
                    <a:pt x="3805" y="188"/>
                  </a:cubicBezTo>
                  <a:cubicBezTo>
                    <a:pt x="3805" y="125"/>
                    <a:pt x="3760" y="92"/>
                    <a:pt x="3720" y="73"/>
                  </a:cubicBezTo>
                  <a:cubicBezTo>
                    <a:pt x="3657" y="43"/>
                    <a:pt x="3559" y="0"/>
                    <a:pt x="3393" y="0"/>
                  </a:cubicBezTo>
                  <a:cubicBezTo>
                    <a:pt x="3132" y="0"/>
                    <a:pt x="2939" y="165"/>
                    <a:pt x="2939" y="395"/>
                  </a:cubicBezTo>
                  <a:cubicBezTo>
                    <a:pt x="2939" y="605"/>
                    <a:pt x="3080" y="710"/>
                    <a:pt x="3250" y="792"/>
                  </a:cubicBezTo>
                  <a:cubicBezTo>
                    <a:pt x="3282" y="807"/>
                    <a:pt x="3409" y="868"/>
                    <a:pt x="3443" y="885"/>
                  </a:cubicBezTo>
                  <a:cubicBezTo>
                    <a:pt x="3552" y="937"/>
                    <a:pt x="3609" y="987"/>
                    <a:pt x="3609" y="1077"/>
                  </a:cubicBezTo>
                  <a:cubicBezTo>
                    <a:pt x="3609" y="1175"/>
                    <a:pt x="3517" y="1257"/>
                    <a:pt x="3379" y="1257"/>
                  </a:cubicBezTo>
                  <a:cubicBezTo>
                    <a:pt x="3180" y="1257"/>
                    <a:pt x="3074" y="1127"/>
                    <a:pt x="3055" y="1105"/>
                  </a:cubicBezTo>
                  <a:lnTo>
                    <a:pt x="2880" y="1267"/>
                  </a:lnTo>
                  <a:close/>
                  <a:moveTo>
                    <a:pt x="5023" y="0"/>
                  </a:moveTo>
                  <a:cubicBezTo>
                    <a:pt x="4952" y="0"/>
                    <a:pt x="4905" y="52"/>
                    <a:pt x="4905" y="113"/>
                  </a:cubicBezTo>
                  <a:lnTo>
                    <a:pt x="4905" y="1370"/>
                  </a:lnTo>
                  <a:cubicBezTo>
                    <a:pt x="4905" y="1433"/>
                    <a:pt x="4960" y="1483"/>
                    <a:pt x="5023" y="1483"/>
                  </a:cubicBezTo>
                  <a:cubicBezTo>
                    <a:pt x="5085" y="1483"/>
                    <a:pt x="5140" y="1433"/>
                    <a:pt x="5140" y="1370"/>
                  </a:cubicBezTo>
                  <a:lnTo>
                    <a:pt x="5140" y="463"/>
                  </a:lnTo>
                  <a:cubicBezTo>
                    <a:pt x="5140" y="463"/>
                    <a:pt x="5717" y="1200"/>
                    <a:pt x="5868" y="1395"/>
                  </a:cubicBezTo>
                  <a:cubicBezTo>
                    <a:pt x="5907" y="1443"/>
                    <a:pt x="5934" y="1485"/>
                    <a:pt x="6002" y="1485"/>
                  </a:cubicBezTo>
                  <a:cubicBezTo>
                    <a:pt x="6070" y="1485"/>
                    <a:pt x="6117" y="1435"/>
                    <a:pt x="6117" y="1372"/>
                  </a:cubicBezTo>
                  <a:lnTo>
                    <a:pt x="6117" y="10"/>
                  </a:lnTo>
                  <a:lnTo>
                    <a:pt x="5884" y="10"/>
                  </a:lnTo>
                  <a:lnTo>
                    <a:pt x="5884" y="1027"/>
                  </a:lnTo>
                  <a:cubicBezTo>
                    <a:pt x="5884" y="1027"/>
                    <a:pt x="5242" y="203"/>
                    <a:pt x="5152" y="88"/>
                  </a:cubicBezTo>
                  <a:cubicBezTo>
                    <a:pt x="5110" y="35"/>
                    <a:pt x="5079" y="0"/>
                    <a:pt x="5023" y="0"/>
                  </a:cubicBezTo>
                  <a:close/>
                  <a:moveTo>
                    <a:pt x="882" y="682"/>
                  </a:moveTo>
                  <a:cubicBezTo>
                    <a:pt x="924" y="702"/>
                    <a:pt x="1099" y="777"/>
                    <a:pt x="1099" y="1037"/>
                  </a:cubicBezTo>
                  <a:cubicBezTo>
                    <a:pt x="1099" y="1283"/>
                    <a:pt x="915" y="1475"/>
                    <a:pt x="652" y="1475"/>
                  </a:cubicBezTo>
                  <a:lnTo>
                    <a:pt x="0" y="1475"/>
                  </a:lnTo>
                  <a:lnTo>
                    <a:pt x="0" y="122"/>
                  </a:lnTo>
                  <a:cubicBezTo>
                    <a:pt x="0" y="53"/>
                    <a:pt x="47" y="7"/>
                    <a:pt x="115" y="7"/>
                  </a:cubicBezTo>
                  <a:lnTo>
                    <a:pt x="622" y="7"/>
                  </a:lnTo>
                  <a:cubicBezTo>
                    <a:pt x="868" y="7"/>
                    <a:pt x="1030" y="155"/>
                    <a:pt x="1030" y="380"/>
                  </a:cubicBezTo>
                  <a:cubicBezTo>
                    <a:pt x="1030" y="572"/>
                    <a:pt x="922" y="657"/>
                    <a:pt x="882" y="682"/>
                  </a:cubicBezTo>
                  <a:moveTo>
                    <a:pt x="237" y="595"/>
                  </a:moveTo>
                  <a:lnTo>
                    <a:pt x="592" y="595"/>
                  </a:lnTo>
                  <a:cubicBezTo>
                    <a:pt x="718" y="595"/>
                    <a:pt x="790" y="515"/>
                    <a:pt x="790" y="417"/>
                  </a:cubicBezTo>
                  <a:cubicBezTo>
                    <a:pt x="790" y="318"/>
                    <a:pt x="725" y="238"/>
                    <a:pt x="592" y="238"/>
                  </a:cubicBezTo>
                  <a:lnTo>
                    <a:pt x="237" y="238"/>
                  </a:lnTo>
                  <a:lnTo>
                    <a:pt x="237" y="595"/>
                  </a:lnTo>
                  <a:close/>
                  <a:moveTo>
                    <a:pt x="607" y="1250"/>
                  </a:moveTo>
                  <a:cubicBezTo>
                    <a:pt x="774" y="1250"/>
                    <a:pt x="859" y="1152"/>
                    <a:pt x="859" y="1032"/>
                  </a:cubicBezTo>
                  <a:cubicBezTo>
                    <a:pt x="859" y="910"/>
                    <a:pt x="777" y="812"/>
                    <a:pt x="607" y="812"/>
                  </a:cubicBezTo>
                  <a:lnTo>
                    <a:pt x="237" y="812"/>
                  </a:lnTo>
                  <a:lnTo>
                    <a:pt x="237" y="1250"/>
                  </a:lnTo>
                  <a:lnTo>
                    <a:pt x="607" y="1250"/>
                  </a:lnTo>
                  <a:close/>
                  <a:moveTo>
                    <a:pt x="7367" y="240"/>
                  </a:moveTo>
                  <a:cubicBezTo>
                    <a:pt x="7445" y="240"/>
                    <a:pt x="7492" y="190"/>
                    <a:pt x="7492" y="125"/>
                  </a:cubicBezTo>
                  <a:cubicBezTo>
                    <a:pt x="7492" y="60"/>
                    <a:pt x="7443" y="10"/>
                    <a:pt x="7367" y="10"/>
                  </a:cubicBezTo>
                  <a:lnTo>
                    <a:pt x="6642" y="10"/>
                  </a:lnTo>
                  <a:cubicBezTo>
                    <a:pt x="6575" y="10"/>
                    <a:pt x="6527" y="58"/>
                    <a:pt x="6527" y="125"/>
                  </a:cubicBezTo>
                  <a:lnTo>
                    <a:pt x="6527" y="1365"/>
                  </a:lnTo>
                  <a:cubicBezTo>
                    <a:pt x="6527" y="1430"/>
                    <a:pt x="6575" y="1478"/>
                    <a:pt x="6642" y="1478"/>
                  </a:cubicBezTo>
                  <a:lnTo>
                    <a:pt x="7484" y="1478"/>
                  </a:lnTo>
                  <a:lnTo>
                    <a:pt x="7484" y="1248"/>
                  </a:lnTo>
                  <a:lnTo>
                    <a:pt x="6764" y="1248"/>
                  </a:lnTo>
                  <a:lnTo>
                    <a:pt x="6764" y="822"/>
                  </a:lnTo>
                  <a:lnTo>
                    <a:pt x="7307" y="822"/>
                  </a:lnTo>
                  <a:cubicBezTo>
                    <a:pt x="7389" y="822"/>
                    <a:pt x="7435" y="773"/>
                    <a:pt x="7435" y="707"/>
                  </a:cubicBezTo>
                  <a:cubicBezTo>
                    <a:pt x="7435" y="640"/>
                    <a:pt x="7390" y="592"/>
                    <a:pt x="7307" y="592"/>
                  </a:cubicBezTo>
                  <a:lnTo>
                    <a:pt x="6764" y="592"/>
                  </a:lnTo>
                  <a:lnTo>
                    <a:pt x="6764" y="240"/>
                  </a:lnTo>
                  <a:lnTo>
                    <a:pt x="7367" y="240"/>
                  </a:lnTo>
                  <a:close/>
                  <a:moveTo>
                    <a:pt x="1635" y="893"/>
                  </a:moveTo>
                  <a:lnTo>
                    <a:pt x="1635" y="115"/>
                  </a:lnTo>
                  <a:cubicBezTo>
                    <a:pt x="1635" y="52"/>
                    <a:pt x="1589" y="0"/>
                    <a:pt x="1517" y="0"/>
                  </a:cubicBezTo>
                  <a:cubicBezTo>
                    <a:pt x="1443" y="0"/>
                    <a:pt x="1399" y="52"/>
                    <a:pt x="1399" y="115"/>
                  </a:cubicBezTo>
                  <a:lnTo>
                    <a:pt x="1399" y="885"/>
                  </a:lnTo>
                  <a:cubicBezTo>
                    <a:pt x="1399" y="1215"/>
                    <a:pt x="1630" y="1483"/>
                    <a:pt x="2002" y="1483"/>
                  </a:cubicBezTo>
                  <a:cubicBezTo>
                    <a:pt x="2372" y="1483"/>
                    <a:pt x="2605" y="1215"/>
                    <a:pt x="2605" y="885"/>
                  </a:cubicBezTo>
                  <a:lnTo>
                    <a:pt x="2605" y="7"/>
                  </a:lnTo>
                  <a:lnTo>
                    <a:pt x="2367" y="7"/>
                  </a:lnTo>
                  <a:lnTo>
                    <a:pt x="2367" y="892"/>
                  </a:lnTo>
                  <a:cubicBezTo>
                    <a:pt x="2367" y="1087"/>
                    <a:pt x="2237" y="1260"/>
                    <a:pt x="2002" y="1260"/>
                  </a:cubicBezTo>
                  <a:cubicBezTo>
                    <a:pt x="1765" y="1262"/>
                    <a:pt x="1635" y="1088"/>
                    <a:pt x="1635" y="893"/>
                  </a:cubicBezTo>
                  <a:close/>
                  <a:moveTo>
                    <a:pt x="4320" y="0"/>
                  </a:moveTo>
                  <a:cubicBezTo>
                    <a:pt x="4393" y="0"/>
                    <a:pt x="4439" y="52"/>
                    <a:pt x="4439" y="115"/>
                  </a:cubicBezTo>
                  <a:lnTo>
                    <a:pt x="4439" y="1477"/>
                  </a:lnTo>
                  <a:lnTo>
                    <a:pt x="4202" y="1477"/>
                  </a:lnTo>
                  <a:lnTo>
                    <a:pt x="4202" y="115"/>
                  </a:lnTo>
                  <a:cubicBezTo>
                    <a:pt x="4202" y="52"/>
                    <a:pt x="4247" y="0"/>
                    <a:pt x="432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7786960"/>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Open / Clos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01715D-BBCC-4185-A6D8-5FD229113338}"/>
              </a:ext>
            </a:extLst>
          </p:cNvPr>
          <p:cNvSpPr>
            <a:spLocks noGrp="1"/>
          </p:cNvSpPr>
          <p:nvPr>
            <p:ph type="ctrTitle" hasCustomPrompt="1"/>
          </p:nvPr>
        </p:nvSpPr>
        <p:spPr>
          <a:xfrm>
            <a:off x="419286" y="1870075"/>
            <a:ext cx="8735827" cy="2286000"/>
          </a:xfrm>
        </p:spPr>
        <p:txBody>
          <a:bodyPr lIns="0" tIns="0" rIns="0" bIns="0" anchor="ctr">
            <a:noAutofit/>
          </a:bodyPr>
          <a:lstStyle>
            <a:lvl1pPr algn="l">
              <a:defRPr sz="8000">
                <a:solidFill>
                  <a:schemeClr val="accent1"/>
                </a:solidFill>
              </a:defRPr>
            </a:lvl1pPr>
          </a:lstStyle>
          <a:p>
            <a:r>
              <a:rPr lang="en-US"/>
              <a:t>Welcome/Thank You, 80pt </a:t>
            </a:r>
            <a:r>
              <a:rPr lang="en-GB"/>
              <a:t>Regular</a:t>
            </a:r>
            <a:endParaRPr lang="en-US"/>
          </a:p>
        </p:txBody>
      </p:sp>
      <p:grpSp>
        <p:nvGrpSpPr>
          <p:cNvPr id="9" name="Group 4">
            <a:extLst>
              <a:ext uri="{FF2B5EF4-FFF2-40B4-BE49-F238E27FC236}">
                <a16:creationId xmlns:a16="http://schemas.microsoft.com/office/drawing/2014/main" id="{287A7A37-C7B7-403C-8341-0565305278F5}"/>
              </a:ext>
            </a:extLst>
          </p:cNvPr>
          <p:cNvGrpSpPr>
            <a:grpSpLocks noChangeAspect="1"/>
          </p:cNvGrpSpPr>
          <p:nvPr userDrawn="1"/>
        </p:nvGrpSpPr>
        <p:grpSpPr bwMode="auto">
          <a:xfrm>
            <a:off x="457200" y="5518737"/>
            <a:ext cx="1581912" cy="804798"/>
            <a:chOff x="1436" y="934"/>
            <a:chExt cx="4800" cy="2442"/>
          </a:xfrm>
        </p:grpSpPr>
        <p:sp>
          <p:nvSpPr>
            <p:cNvPr id="10" name="Freeform 5">
              <a:extLst>
                <a:ext uri="{FF2B5EF4-FFF2-40B4-BE49-F238E27FC236}">
                  <a16:creationId xmlns:a16="http://schemas.microsoft.com/office/drawing/2014/main" id="{CD06D851-1B61-47DD-86BE-49C73A0CA509}"/>
                </a:ext>
              </a:extLst>
            </p:cNvPr>
            <p:cNvSpPr>
              <a:spLocks noEditPoints="1"/>
            </p:cNvSpPr>
            <p:nvPr userDrawn="1"/>
          </p:nvSpPr>
          <p:spPr bwMode="auto">
            <a:xfrm>
              <a:off x="1436" y="934"/>
              <a:ext cx="4794" cy="2442"/>
            </a:xfrm>
            <a:custGeom>
              <a:avLst/>
              <a:gdLst>
                <a:gd name="T0" fmla="*/ 9572 w 9986"/>
                <a:gd name="T1" fmla="*/ 153 h 5085"/>
                <a:gd name="T2" fmla="*/ 6835 w 9986"/>
                <a:gd name="T3" fmla="*/ 925 h 5085"/>
                <a:gd name="T4" fmla="*/ 6895 w 9986"/>
                <a:gd name="T5" fmla="*/ 780 h 5085"/>
                <a:gd name="T6" fmla="*/ 3251 w 9986"/>
                <a:gd name="T7" fmla="*/ 1478 h 5085"/>
                <a:gd name="T8" fmla="*/ 4555 w 9986"/>
                <a:gd name="T9" fmla="*/ 55 h 5085"/>
                <a:gd name="T10" fmla="*/ 5001 w 9986"/>
                <a:gd name="T11" fmla="*/ 740 h 5085"/>
                <a:gd name="T12" fmla="*/ 1260 w 9986"/>
                <a:gd name="T13" fmla="*/ 320 h 5085"/>
                <a:gd name="T14" fmla="*/ 738 w 9986"/>
                <a:gd name="T15" fmla="*/ 1331 h 5085"/>
                <a:gd name="T16" fmla="*/ 8772 w 9986"/>
                <a:gd name="T17" fmla="*/ 158 h 5085"/>
                <a:gd name="T18" fmla="*/ 8053 w 9986"/>
                <a:gd name="T19" fmla="*/ 1163 h 5085"/>
                <a:gd name="T20" fmla="*/ 2988 w 9986"/>
                <a:gd name="T21" fmla="*/ 740 h 5085"/>
                <a:gd name="T22" fmla="*/ 9814 w 9986"/>
                <a:gd name="T23" fmla="*/ 4415 h 5085"/>
                <a:gd name="T24" fmla="*/ 9918 w 9986"/>
                <a:gd name="T25" fmla="*/ 4246 h 5085"/>
                <a:gd name="T26" fmla="*/ 9562 w 9986"/>
                <a:gd name="T27" fmla="*/ 4273 h 5085"/>
                <a:gd name="T28" fmla="*/ 9408 w 9986"/>
                <a:gd name="T29" fmla="*/ 4780 h 5085"/>
                <a:gd name="T30" fmla="*/ 9380 w 9986"/>
                <a:gd name="T31" fmla="*/ 4447 h 5085"/>
                <a:gd name="T32" fmla="*/ 9389 w 9986"/>
                <a:gd name="T33" fmla="*/ 4671 h 5085"/>
                <a:gd name="T34" fmla="*/ 8917 w 9986"/>
                <a:gd name="T35" fmla="*/ 4533 h 5085"/>
                <a:gd name="T36" fmla="*/ 9001 w 9986"/>
                <a:gd name="T37" fmla="*/ 4836 h 5085"/>
                <a:gd name="T38" fmla="*/ 8919 w 9986"/>
                <a:gd name="T39" fmla="*/ 4466 h 5085"/>
                <a:gd name="T40" fmla="*/ 8387 w 9986"/>
                <a:gd name="T41" fmla="*/ 4323 h 5085"/>
                <a:gd name="T42" fmla="*/ 8282 w 9986"/>
                <a:gd name="T43" fmla="*/ 4879 h 5085"/>
                <a:gd name="T44" fmla="*/ 8045 w 9986"/>
                <a:gd name="T45" fmla="*/ 4336 h 5085"/>
                <a:gd name="T46" fmla="*/ 8228 w 9986"/>
                <a:gd name="T47" fmla="*/ 4852 h 5085"/>
                <a:gd name="T48" fmla="*/ 7788 w 9986"/>
                <a:gd name="T49" fmla="*/ 4291 h 5085"/>
                <a:gd name="T50" fmla="*/ 7635 w 9986"/>
                <a:gd name="T51" fmla="*/ 4246 h 5085"/>
                <a:gd name="T52" fmla="*/ 7339 w 9986"/>
                <a:gd name="T53" fmla="*/ 4323 h 5085"/>
                <a:gd name="T54" fmla="*/ 7070 w 9986"/>
                <a:gd name="T55" fmla="*/ 4833 h 5085"/>
                <a:gd name="T56" fmla="*/ 6828 w 9986"/>
                <a:gd name="T57" fmla="*/ 4769 h 5085"/>
                <a:gd name="T58" fmla="*/ 6985 w 9986"/>
                <a:gd name="T59" fmla="*/ 4912 h 5085"/>
                <a:gd name="T60" fmla="*/ 6985 w 9986"/>
                <a:gd name="T61" fmla="*/ 4435 h 5085"/>
                <a:gd name="T62" fmla="*/ 6510 w 9986"/>
                <a:gd name="T63" fmla="*/ 4260 h 5085"/>
                <a:gd name="T64" fmla="*/ 6046 w 9986"/>
                <a:gd name="T65" fmla="*/ 4804 h 5085"/>
                <a:gd name="T66" fmla="*/ 6059 w 9986"/>
                <a:gd name="T67" fmla="*/ 4643 h 5085"/>
                <a:gd name="T68" fmla="*/ 6098 w 9986"/>
                <a:gd name="T69" fmla="*/ 4567 h 5085"/>
                <a:gd name="T70" fmla="*/ 6099 w 9986"/>
                <a:gd name="T71" fmla="*/ 4896 h 5085"/>
                <a:gd name="T72" fmla="*/ 5833 w 9986"/>
                <a:gd name="T73" fmla="*/ 4717 h 5085"/>
                <a:gd name="T74" fmla="*/ 5913 w 9986"/>
                <a:gd name="T75" fmla="*/ 4530 h 5085"/>
                <a:gd name="T76" fmla="*/ 5956 w 9986"/>
                <a:gd name="T77" fmla="*/ 4779 h 5085"/>
                <a:gd name="T78" fmla="*/ 5277 w 9986"/>
                <a:gd name="T79" fmla="*/ 4491 h 5085"/>
                <a:gd name="T80" fmla="*/ 5069 w 9986"/>
                <a:gd name="T81" fmla="*/ 4796 h 5085"/>
                <a:gd name="T82" fmla="*/ 5399 w 9986"/>
                <a:gd name="T83" fmla="*/ 4882 h 5085"/>
                <a:gd name="T84" fmla="*/ 4727 w 9986"/>
                <a:gd name="T85" fmla="*/ 4653 h 5085"/>
                <a:gd name="T86" fmla="*/ 4495 w 9986"/>
                <a:gd name="T87" fmla="*/ 4284 h 5085"/>
                <a:gd name="T88" fmla="*/ 3755 w 9986"/>
                <a:gd name="T89" fmla="*/ 4512 h 5085"/>
                <a:gd name="T90" fmla="*/ 4028 w 9986"/>
                <a:gd name="T91" fmla="*/ 5028 h 5085"/>
                <a:gd name="T92" fmla="*/ 4023 w 9986"/>
                <a:gd name="T93" fmla="*/ 4799 h 5085"/>
                <a:gd name="T94" fmla="*/ 3948 w 9986"/>
                <a:gd name="T95" fmla="*/ 4459 h 5085"/>
                <a:gd name="T96" fmla="*/ 3405 w 9986"/>
                <a:gd name="T97" fmla="*/ 4531 h 5085"/>
                <a:gd name="T98" fmla="*/ 3205 w 9986"/>
                <a:gd name="T99" fmla="*/ 4459 h 5085"/>
                <a:gd name="T100" fmla="*/ 2844 w 9986"/>
                <a:gd name="T101" fmla="*/ 4291 h 5085"/>
                <a:gd name="T102" fmla="*/ 2753 w 9986"/>
                <a:gd name="T103" fmla="*/ 4435 h 5085"/>
                <a:gd name="T104" fmla="*/ 2577 w 9986"/>
                <a:gd name="T105" fmla="*/ 4531 h 5085"/>
                <a:gd name="T106" fmla="*/ 2001 w 9986"/>
                <a:gd name="T107" fmla="*/ 4693 h 5085"/>
                <a:gd name="T108" fmla="*/ 1969 w 9986"/>
                <a:gd name="T109" fmla="*/ 4796 h 5085"/>
                <a:gd name="T110" fmla="*/ 1912 w 9986"/>
                <a:gd name="T111" fmla="*/ 4439 h 5085"/>
                <a:gd name="T112" fmla="*/ 1500 w 9986"/>
                <a:gd name="T113" fmla="*/ 4439 h 5085"/>
                <a:gd name="T114" fmla="*/ 965 w 9986"/>
                <a:gd name="T115" fmla="*/ 4513 h 5085"/>
                <a:gd name="T116" fmla="*/ 753 w 9986"/>
                <a:gd name="T117" fmla="*/ 4882 h 5085"/>
                <a:gd name="T118" fmla="*/ 1083 w 9986"/>
                <a:gd name="T119" fmla="*/ 4796 h 5085"/>
                <a:gd name="T120" fmla="*/ 159 w 9986"/>
                <a:gd name="T121" fmla="*/ 4653 h 5085"/>
                <a:gd name="T122" fmla="*/ 93 w 9986"/>
                <a:gd name="T123" fmla="*/ 4908 h 5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986" h="5085">
                  <a:moveTo>
                    <a:pt x="9986" y="81"/>
                  </a:moveTo>
                  <a:cubicBezTo>
                    <a:pt x="9986" y="41"/>
                    <a:pt x="9953" y="8"/>
                    <a:pt x="9913" y="8"/>
                  </a:cubicBezTo>
                  <a:lnTo>
                    <a:pt x="9093" y="8"/>
                  </a:lnTo>
                  <a:cubicBezTo>
                    <a:pt x="9053" y="8"/>
                    <a:pt x="9020" y="40"/>
                    <a:pt x="9020" y="81"/>
                  </a:cubicBezTo>
                  <a:cubicBezTo>
                    <a:pt x="9020" y="121"/>
                    <a:pt x="9051" y="153"/>
                    <a:pt x="9093" y="153"/>
                  </a:cubicBezTo>
                  <a:lnTo>
                    <a:pt x="9438" y="153"/>
                  </a:lnTo>
                  <a:lnTo>
                    <a:pt x="9438" y="1468"/>
                  </a:lnTo>
                  <a:lnTo>
                    <a:pt x="9572" y="1468"/>
                  </a:lnTo>
                  <a:lnTo>
                    <a:pt x="9572" y="153"/>
                  </a:lnTo>
                  <a:lnTo>
                    <a:pt x="9915" y="153"/>
                  </a:lnTo>
                  <a:cubicBezTo>
                    <a:pt x="9955" y="155"/>
                    <a:pt x="9986" y="121"/>
                    <a:pt x="9986" y="81"/>
                  </a:cubicBezTo>
                  <a:close/>
                  <a:moveTo>
                    <a:pt x="7113" y="1"/>
                  </a:moveTo>
                  <a:cubicBezTo>
                    <a:pt x="7085" y="1"/>
                    <a:pt x="7065" y="20"/>
                    <a:pt x="7051" y="43"/>
                  </a:cubicBezTo>
                  <a:cubicBezTo>
                    <a:pt x="7040" y="66"/>
                    <a:pt x="6505" y="1386"/>
                    <a:pt x="6505" y="1386"/>
                  </a:cubicBezTo>
                  <a:cubicBezTo>
                    <a:pt x="6501" y="1395"/>
                    <a:pt x="6500" y="1403"/>
                    <a:pt x="6500" y="1411"/>
                  </a:cubicBezTo>
                  <a:cubicBezTo>
                    <a:pt x="6500" y="1448"/>
                    <a:pt x="6528" y="1476"/>
                    <a:pt x="6565" y="1476"/>
                  </a:cubicBezTo>
                  <a:cubicBezTo>
                    <a:pt x="6593" y="1476"/>
                    <a:pt x="6617" y="1460"/>
                    <a:pt x="6626" y="1435"/>
                  </a:cubicBezTo>
                  <a:lnTo>
                    <a:pt x="6835" y="925"/>
                  </a:lnTo>
                  <a:lnTo>
                    <a:pt x="7393" y="925"/>
                  </a:lnTo>
                  <a:lnTo>
                    <a:pt x="7615" y="1468"/>
                  </a:lnTo>
                  <a:lnTo>
                    <a:pt x="7756" y="1468"/>
                  </a:lnTo>
                  <a:cubicBezTo>
                    <a:pt x="7756" y="1468"/>
                    <a:pt x="7188" y="65"/>
                    <a:pt x="7176" y="41"/>
                  </a:cubicBezTo>
                  <a:cubicBezTo>
                    <a:pt x="7163" y="20"/>
                    <a:pt x="7142" y="1"/>
                    <a:pt x="7113" y="1"/>
                  </a:cubicBezTo>
                  <a:moveTo>
                    <a:pt x="6895" y="780"/>
                  </a:moveTo>
                  <a:lnTo>
                    <a:pt x="7115" y="240"/>
                  </a:lnTo>
                  <a:lnTo>
                    <a:pt x="7335" y="780"/>
                  </a:lnTo>
                  <a:lnTo>
                    <a:pt x="6895" y="780"/>
                  </a:lnTo>
                  <a:close/>
                  <a:moveTo>
                    <a:pt x="4490" y="1"/>
                  </a:moveTo>
                  <a:cubicBezTo>
                    <a:pt x="4463" y="1"/>
                    <a:pt x="4441" y="20"/>
                    <a:pt x="4430" y="41"/>
                  </a:cubicBezTo>
                  <a:cubicBezTo>
                    <a:pt x="4418" y="65"/>
                    <a:pt x="3995" y="1108"/>
                    <a:pt x="3995" y="1108"/>
                  </a:cubicBezTo>
                  <a:cubicBezTo>
                    <a:pt x="3995" y="1108"/>
                    <a:pt x="3572" y="63"/>
                    <a:pt x="3560" y="41"/>
                  </a:cubicBezTo>
                  <a:cubicBezTo>
                    <a:pt x="3548" y="18"/>
                    <a:pt x="3526" y="1"/>
                    <a:pt x="3500" y="1"/>
                  </a:cubicBezTo>
                  <a:cubicBezTo>
                    <a:pt x="3468" y="1"/>
                    <a:pt x="3443" y="25"/>
                    <a:pt x="3435" y="55"/>
                  </a:cubicBezTo>
                  <a:cubicBezTo>
                    <a:pt x="3426" y="85"/>
                    <a:pt x="3188" y="1400"/>
                    <a:pt x="3188" y="1400"/>
                  </a:cubicBezTo>
                  <a:cubicBezTo>
                    <a:pt x="3188" y="1405"/>
                    <a:pt x="3186" y="1408"/>
                    <a:pt x="3186" y="1413"/>
                  </a:cubicBezTo>
                  <a:cubicBezTo>
                    <a:pt x="3186" y="1450"/>
                    <a:pt x="3216" y="1478"/>
                    <a:pt x="3251" y="1478"/>
                  </a:cubicBezTo>
                  <a:cubicBezTo>
                    <a:pt x="3283" y="1478"/>
                    <a:pt x="3310" y="1455"/>
                    <a:pt x="3316" y="1425"/>
                  </a:cubicBezTo>
                  <a:lnTo>
                    <a:pt x="3523" y="300"/>
                  </a:lnTo>
                  <a:cubicBezTo>
                    <a:pt x="3523" y="300"/>
                    <a:pt x="3921" y="1283"/>
                    <a:pt x="3933" y="1306"/>
                  </a:cubicBezTo>
                  <a:cubicBezTo>
                    <a:pt x="3945" y="1330"/>
                    <a:pt x="3966" y="1348"/>
                    <a:pt x="3995" y="1348"/>
                  </a:cubicBezTo>
                  <a:cubicBezTo>
                    <a:pt x="4022" y="1348"/>
                    <a:pt x="4045" y="1330"/>
                    <a:pt x="4056" y="1306"/>
                  </a:cubicBezTo>
                  <a:cubicBezTo>
                    <a:pt x="4068" y="1283"/>
                    <a:pt x="4466" y="300"/>
                    <a:pt x="4466" y="300"/>
                  </a:cubicBezTo>
                  <a:lnTo>
                    <a:pt x="4681" y="1470"/>
                  </a:lnTo>
                  <a:lnTo>
                    <a:pt x="4815" y="1470"/>
                  </a:lnTo>
                  <a:cubicBezTo>
                    <a:pt x="4815" y="1470"/>
                    <a:pt x="4563" y="85"/>
                    <a:pt x="4555" y="55"/>
                  </a:cubicBezTo>
                  <a:cubicBezTo>
                    <a:pt x="4545" y="25"/>
                    <a:pt x="4522" y="1"/>
                    <a:pt x="4490" y="1"/>
                  </a:cubicBezTo>
                  <a:moveTo>
                    <a:pt x="5740" y="146"/>
                  </a:moveTo>
                  <a:cubicBezTo>
                    <a:pt x="5898" y="146"/>
                    <a:pt x="6047" y="208"/>
                    <a:pt x="6158" y="320"/>
                  </a:cubicBezTo>
                  <a:cubicBezTo>
                    <a:pt x="6185" y="346"/>
                    <a:pt x="6235" y="346"/>
                    <a:pt x="6261" y="320"/>
                  </a:cubicBezTo>
                  <a:cubicBezTo>
                    <a:pt x="6275" y="306"/>
                    <a:pt x="6283" y="288"/>
                    <a:pt x="6283" y="268"/>
                  </a:cubicBezTo>
                  <a:cubicBezTo>
                    <a:pt x="6283" y="248"/>
                    <a:pt x="6275" y="230"/>
                    <a:pt x="6261" y="216"/>
                  </a:cubicBezTo>
                  <a:lnTo>
                    <a:pt x="6253" y="208"/>
                  </a:lnTo>
                  <a:cubicBezTo>
                    <a:pt x="6115" y="75"/>
                    <a:pt x="5933" y="1"/>
                    <a:pt x="5740" y="1"/>
                  </a:cubicBezTo>
                  <a:cubicBezTo>
                    <a:pt x="5333" y="1"/>
                    <a:pt x="5001" y="333"/>
                    <a:pt x="5001" y="740"/>
                  </a:cubicBezTo>
                  <a:cubicBezTo>
                    <a:pt x="5001" y="1146"/>
                    <a:pt x="5333" y="1478"/>
                    <a:pt x="5740" y="1478"/>
                  </a:cubicBezTo>
                  <a:cubicBezTo>
                    <a:pt x="5955" y="1478"/>
                    <a:pt x="6148" y="1386"/>
                    <a:pt x="6283" y="1238"/>
                  </a:cubicBezTo>
                  <a:lnTo>
                    <a:pt x="6180" y="1135"/>
                  </a:lnTo>
                  <a:cubicBezTo>
                    <a:pt x="6072" y="1255"/>
                    <a:pt x="5915" y="1331"/>
                    <a:pt x="5740" y="1331"/>
                  </a:cubicBezTo>
                  <a:cubicBezTo>
                    <a:pt x="5413" y="1331"/>
                    <a:pt x="5147" y="1065"/>
                    <a:pt x="5147" y="738"/>
                  </a:cubicBezTo>
                  <a:cubicBezTo>
                    <a:pt x="5147" y="413"/>
                    <a:pt x="5413" y="146"/>
                    <a:pt x="5740" y="146"/>
                  </a:cubicBezTo>
                  <a:moveTo>
                    <a:pt x="736" y="146"/>
                  </a:moveTo>
                  <a:cubicBezTo>
                    <a:pt x="895" y="146"/>
                    <a:pt x="1043" y="208"/>
                    <a:pt x="1156" y="320"/>
                  </a:cubicBezTo>
                  <a:cubicBezTo>
                    <a:pt x="1183" y="346"/>
                    <a:pt x="1233" y="346"/>
                    <a:pt x="1260" y="320"/>
                  </a:cubicBezTo>
                  <a:cubicBezTo>
                    <a:pt x="1273" y="306"/>
                    <a:pt x="1281" y="288"/>
                    <a:pt x="1281" y="268"/>
                  </a:cubicBezTo>
                  <a:cubicBezTo>
                    <a:pt x="1281" y="248"/>
                    <a:pt x="1275" y="230"/>
                    <a:pt x="1260" y="216"/>
                  </a:cubicBezTo>
                  <a:lnTo>
                    <a:pt x="1251" y="208"/>
                  </a:lnTo>
                  <a:cubicBezTo>
                    <a:pt x="1113" y="75"/>
                    <a:pt x="931" y="1"/>
                    <a:pt x="738" y="1"/>
                  </a:cubicBezTo>
                  <a:cubicBezTo>
                    <a:pt x="331" y="1"/>
                    <a:pt x="0" y="333"/>
                    <a:pt x="0" y="740"/>
                  </a:cubicBezTo>
                  <a:cubicBezTo>
                    <a:pt x="0" y="1146"/>
                    <a:pt x="331" y="1478"/>
                    <a:pt x="738" y="1478"/>
                  </a:cubicBezTo>
                  <a:cubicBezTo>
                    <a:pt x="953" y="1478"/>
                    <a:pt x="1147" y="1386"/>
                    <a:pt x="1281" y="1238"/>
                  </a:cubicBezTo>
                  <a:lnTo>
                    <a:pt x="1178" y="1135"/>
                  </a:lnTo>
                  <a:cubicBezTo>
                    <a:pt x="1070" y="1255"/>
                    <a:pt x="911" y="1331"/>
                    <a:pt x="738" y="1331"/>
                  </a:cubicBezTo>
                  <a:cubicBezTo>
                    <a:pt x="411" y="1331"/>
                    <a:pt x="145" y="1065"/>
                    <a:pt x="145" y="738"/>
                  </a:cubicBezTo>
                  <a:cubicBezTo>
                    <a:pt x="143" y="413"/>
                    <a:pt x="410" y="146"/>
                    <a:pt x="736" y="146"/>
                  </a:cubicBezTo>
                  <a:moveTo>
                    <a:pt x="8613" y="748"/>
                  </a:moveTo>
                  <a:cubicBezTo>
                    <a:pt x="8573" y="728"/>
                    <a:pt x="8333" y="603"/>
                    <a:pt x="8298" y="585"/>
                  </a:cubicBezTo>
                  <a:cubicBezTo>
                    <a:pt x="8172" y="520"/>
                    <a:pt x="8126" y="463"/>
                    <a:pt x="8126" y="366"/>
                  </a:cubicBezTo>
                  <a:cubicBezTo>
                    <a:pt x="8126" y="231"/>
                    <a:pt x="8236" y="145"/>
                    <a:pt x="8408" y="145"/>
                  </a:cubicBezTo>
                  <a:cubicBezTo>
                    <a:pt x="8508" y="145"/>
                    <a:pt x="8606" y="188"/>
                    <a:pt x="8663" y="221"/>
                  </a:cubicBezTo>
                  <a:cubicBezTo>
                    <a:pt x="8673" y="226"/>
                    <a:pt x="8686" y="230"/>
                    <a:pt x="8698" y="230"/>
                  </a:cubicBezTo>
                  <a:cubicBezTo>
                    <a:pt x="8738" y="230"/>
                    <a:pt x="8772" y="198"/>
                    <a:pt x="8772" y="158"/>
                  </a:cubicBezTo>
                  <a:cubicBezTo>
                    <a:pt x="8772" y="131"/>
                    <a:pt x="8756" y="108"/>
                    <a:pt x="8735" y="95"/>
                  </a:cubicBezTo>
                  <a:cubicBezTo>
                    <a:pt x="8663" y="55"/>
                    <a:pt x="8542" y="0"/>
                    <a:pt x="8410" y="0"/>
                  </a:cubicBezTo>
                  <a:cubicBezTo>
                    <a:pt x="8158" y="0"/>
                    <a:pt x="7983" y="150"/>
                    <a:pt x="7983" y="366"/>
                  </a:cubicBezTo>
                  <a:cubicBezTo>
                    <a:pt x="7983" y="560"/>
                    <a:pt x="8110" y="651"/>
                    <a:pt x="8235" y="715"/>
                  </a:cubicBezTo>
                  <a:cubicBezTo>
                    <a:pt x="8270" y="733"/>
                    <a:pt x="8513" y="858"/>
                    <a:pt x="8550" y="878"/>
                  </a:cubicBezTo>
                  <a:cubicBezTo>
                    <a:pt x="8647" y="928"/>
                    <a:pt x="8700" y="1005"/>
                    <a:pt x="8700" y="1091"/>
                  </a:cubicBezTo>
                  <a:cubicBezTo>
                    <a:pt x="8700" y="1208"/>
                    <a:pt x="8601" y="1331"/>
                    <a:pt x="8418" y="1331"/>
                  </a:cubicBezTo>
                  <a:cubicBezTo>
                    <a:pt x="8240" y="1331"/>
                    <a:pt x="8101" y="1211"/>
                    <a:pt x="8065" y="1175"/>
                  </a:cubicBezTo>
                  <a:lnTo>
                    <a:pt x="8053" y="1163"/>
                  </a:lnTo>
                  <a:lnTo>
                    <a:pt x="7945" y="1261"/>
                  </a:lnTo>
                  <a:lnTo>
                    <a:pt x="7958" y="1273"/>
                  </a:lnTo>
                  <a:cubicBezTo>
                    <a:pt x="8006" y="1320"/>
                    <a:pt x="8180" y="1475"/>
                    <a:pt x="8418" y="1475"/>
                  </a:cubicBezTo>
                  <a:cubicBezTo>
                    <a:pt x="8685" y="1475"/>
                    <a:pt x="8845" y="1278"/>
                    <a:pt x="8845" y="1088"/>
                  </a:cubicBezTo>
                  <a:cubicBezTo>
                    <a:pt x="8843" y="950"/>
                    <a:pt x="8760" y="825"/>
                    <a:pt x="8613" y="748"/>
                  </a:cubicBezTo>
                  <a:moveTo>
                    <a:pt x="2250" y="1"/>
                  </a:moveTo>
                  <a:cubicBezTo>
                    <a:pt x="1843" y="1"/>
                    <a:pt x="1511" y="333"/>
                    <a:pt x="1511" y="740"/>
                  </a:cubicBezTo>
                  <a:cubicBezTo>
                    <a:pt x="1511" y="1146"/>
                    <a:pt x="1843" y="1478"/>
                    <a:pt x="2250" y="1478"/>
                  </a:cubicBezTo>
                  <a:cubicBezTo>
                    <a:pt x="2656" y="1478"/>
                    <a:pt x="2988" y="1146"/>
                    <a:pt x="2988" y="740"/>
                  </a:cubicBezTo>
                  <a:cubicBezTo>
                    <a:pt x="2988" y="333"/>
                    <a:pt x="2656" y="1"/>
                    <a:pt x="2250" y="1"/>
                  </a:cubicBezTo>
                  <a:moveTo>
                    <a:pt x="2250" y="1331"/>
                  </a:moveTo>
                  <a:cubicBezTo>
                    <a:pt x="1923" y="1331"/>
                    <a:pt x="1656" y="1065"/>
                    <a:pt x="1656" y="738"/>
                  </a:cubicBezTo>
                  <a:cubicBezTo>
                    <a:pt x="1656" y="411"/>
                    <a:pt x="1923" y="145"/>
                    <a:pt x="2250" y="145"/>
                  </a:cubicBezTo>
                  <a:cubicBezTo>
                    <a:pt x="2576" y="145"/>
                    <a:pt x="2843" y="411"/>
                    <a:pt x="2843" y="738"/>
                  </a:cubicBezTo>
                  <a:cubicBezTo>
                    <a:pt x="2841" y="1066"/>
                    <a:pt x="2576" y="1331"/>
                    <a:pt x="2250" y="1331"/>
                  </a:cubicBezTo>
                  <a:close/>
                  <a:moveTo>
                    <a:pt x="9887" y="4438"/>
                  </a:moveTo>
                  <a:lnTo>
                    <a:pt x="9886" y="4303"/>
                  </a:lnTo>
                  <a:lnTo>
                    <a:pt x="9814" y="4415"/>
                  </a:lnTo>
                  <a:lnTo>
                    <a:pt x="9799" y="4415"/>
                  </a:lnTo>
                  <a:lnTo>
                    <a:pt x="9726" y="4306"/>
                  </a:lnTo>
                  <a:lnTo>
                    <a:pt x="9726" y="4438"/>
                  </a:lnTo>
                  <a:lnTo>
                    <a:pt x="9694" y="4438"/>
                  </a:lnTo>
                  <a:lnTo>
                    <a:pt x="9694" y="4246"/>
                  </a:lnTo>
                  <a:lnTo>
                    <a:pt x="9721" y="4246"/>
                  </a:lnTo>
                  <a:lnTo>
                    <a:pt x="9807" y="4377"/>
                  </a:lnTo>
                  <a:lnTo>
                    <a:pt x="9891" y="4246"/>
                  </a:lnTo>
                  <a:lnTo>
                    <a:pt x="9918" y="4246"/>
                  </a:lnTo>
                  <a:lnTo>
                    <a:pt x="9918" y="4438"/>
                  </a:lnTo>
                  <a:lnTo>
                    <a:pt x="9887" y="4438"/>
                  </a:lnTo>
                  <a:close/>
                  <a:moveTo>
                    <a:pt x="9492" y="4246"/>
                  </a:moveTo>
                  <a:lnTo>
                    <a:pt x="9666" y="4246"/>
                  </a:lnTo>
                  <a:lnTo>
                    <a:pt x="9666" y="4273"/>
                  </a:lnTo>
                  <a:lnTo>
                    <a:pt x="9596" y="4273"/>
                  </a:lnTo>
                  <a:lnTo>
                    <a:pt x="9596" y="4438"/>
                  </a:lnTo>
                  <a:lnTo>
                    <a:pt x="9562" y="4438"/>
                  </a:lnTo>
                  <a:lnTo>
                    <a:pt x="9562" y="4273"/>
                  </a:lnTo>
                  <a:lnTo>
                    <a:pt x="9492" y="4273"/>
                  </a:lnTo>
                  <a:lnTo>
                    <a:pt x="9492" y="4246"/>
                  </a:lnTo>
                  <a:close/>
                  <a:moveTo>
                    <a:pt x="9167" y="4896"/>
                  </a:moveTo>
                  <a:cubicBezTo>
                    <a:pt x="9133" y="4885"/>
                    <a:pt x="9105" y="4871"/>
                    <a:pt x="9086" y="4854"/>
                  </a:cubicBezTo>
                  <a:lnTo>
                    <a:pt x="9114" y="4804"/>
                  </a:lnTo>
                  <a:cubicBezTo>
                    <a:pt x="9134" y="4820"/>
                    <a:pt x="9159" y="4833"/>
                    <a:pt x="9188" y="4842"/>
                  </a:cubicBezTo>
                  <a:cubicBezTo>
                    <a:pt x="9218" y="4852"/>
                    <a:pt x="9249" y="4857"/>
                    <a:pt x="9281" y="4857"/>
                  </a:cubicBezTo>
                  <a:cubicBezTo>
                    <a:pt x="9324" y="4857"/>
                    <a:pt x="9356" y="4850"/>
                    <a:pt x="9377" y="4837"/>
                  </a:cubicBezTo>
                  <a:cubicBezTo>
                    <a:pt x="9397" y="4824"/>
                    <a:pt x="9408" y="4805"/>
                    <a:pt x="9408" y="4780"/>
                  </a:cubicBezTo>
                  <a:cubicBezTo>
                    <a:pt x="9408" y="4763"/>
                    <a:pt x="9402" y="4750"/>
                    <a:pt x="9390" y="4740"/>
                  </a:cubicBezTo>
                  <a:cubicBezTo>
                    <a:pt x="9379" y="4730"/>
                    <a:pt x="9365" y="4723"/>
                    <a:pt x="9348" y="4717"/>
                  </a:cubicBezTo>
                  <a:cubicBezTo>
                    <a:pt x="9330" y="4712"/>
                    <a:pt x="9307" y="4708"/>
                    <a:pt x="9279" y="4703"/>
                  </a:cubicBezTo>
                  <a:cubicBezTo>
                    <a:pt x="9241" y="4696"/>
                    <a:pt x="9210" y="4688"/>
                    <a:pt x="9187" y="4681"/>
                  </a:cubicBezTo>
                  <a:cubicBezTo>
                    <a:pt x="9163" y="4674"/>
                    <a:pt x="9144" y="4661"/>
                    <a:pt x="9127" y="4643"/>
                  </a:cubicBezTo>
                  <a:cubicBezTo>
                    <a:pt x="9111" y="4625"/>
                    <a:pt x="9103" y="4601"/>
                    <a:pt x="9103" y="4569"/>
                  </a:cubicBezTo>
                  <a:cubicBezTo>
                    <a:pt x="9103" y="4530"/>
                    <a:pt x="9119" y="4498"/>
                    <a:pt x="9152" y="4473"/>
                  </a:cubicBezTo>
                  <a:cubicBezTo>
                    <a:pt x="9185" y="4448"/>
                    <a:pt x="9230" y="4435"/>
                    <a:pt x="9289" y="4435"/>
                  </a:cubicBezTo>
                  <a:cubicBezTo>
                    <a:pt x="9319" y="4435"/>
                    <a:pt x="9349" y="4439"/>
                    <a:pt x="9380" y="4447"/>
                  </a:cubicBezTo>
                  <a:cubicBezTo>
                    <a:pt x="9410" y="4455"/>
                    <a:pt x="9435" y="4466"/>
                    <a:pt x="9455" y="4479"/>
                  </a:cubicBezTo>
                  <a:lnTo>
                    <a:pt x="9427" y="4530"/>
                  </a:lnTo>
                  <a:cubicBezTo>
                    <a:pt x="9388" y="4503"/>
                    <a:pt x="9342" y="4490"/>
                    <a:pt x="9289" y="4490"/>
                  </a:cubicBezTo>
                  <a:cubicBezTo>
                    <a:pt x="9248" y="4490"/>
                    <a:pt x="9218" y="4497"/>
                    <a:pt x="9197" y="4511"/>
                  </a:cubicBezTo>
                  <a:cubicBezTo>
                    <a:pt x="9176" y="4525"/>
                    <a:pt x="9166" y="4544"/>
                    <a:pt x="9166" y="4567"/>
                  </a:cubicBezTo>
                  <a:cubicBezTo>
                    <a:pt x="9166" y="4585"/>
                    <a:pt x="9172" y="4599"/>
                    <a:pt x="9184" y="4610"/>
                  </a:cubicBezTo>
                  <a:cubicBezTo>
                    <a:pt x="9195" y="4621"/>
                    <a:pt x="9210" y="4629"/>
                    <a:pt x="9227" y="4634"/>
                  </a:cubicBezTo>
                  <a:cubicBezTo>
                    <a:pt x="9244" y="4639"/>
                    <a:pt x="9268" y="4644"/>
                    <a:pt x="9298" y="4649"/>
                  </a:cubicBezTo>
                  <a:cubicBezTo>
                    <a:pt x="9336" y="4656"/>
                    <a:pt x="9366" y="4664"/>
                    <a:pt x="9389" y="4671"/>
                  </a:cubicBezTo>
                  <a:cubicBezTo>
                    <a:pt x="9411" y="4678"/>
                    <a:pt x="9431" y="4690"/>
                    <a:pt x="9447" y="4707"/>
                  </a:cubicBezTo>
                  <a:cubicBezTo>
                    <a:pt x="9463" y="4724"/>
                    <a:pt x="9471" y="4748"/>
                    <a:pt x="9471" y="4779"/>
                  </a:cubicBezTo>
                  <a:cubicBezTo>
                    <a:pt x="9471" y="4820"/>
                    <a:pt x="9454" y="4852"/>
                    <a:pt x="9420" y="4876"/>
                  </a:cubicBezTo>
                  <a:cubicBezTo>
                    <a:pt x="9385" y="4900"/>
                    <a:pt x="9338" y="4912"/>
                    <a:pt x="9277" y="4912"/>
                  </a:cubicBezTo>
                  <a:cubicBezTo>
                    <a:pt x="9239" y="4912"/>
                    <a:pt x="9202" y="4907"/>
                    <a:pt x="9167" y="4896"/>
                  </a:cubicBezTo>
                  <a:moveTo>
                    <a:pt x="8688" y="4533"/>
                  </a:moveTo>
                  <a:cubicBezTo>
                    <a:pt x="8658" y="4562"/>
                    <a:pt x="8640" y="4599"/>
                    <a:pt x="8636" y="4646"/>
                  </a:cubicBezTo>
                  <a:lnTo>
                    <a:pt x="8969" y="4646"/>
                  </a:lnTo>
                  <a:cubicBezTo>
                    <a:pt x="8965" y="4599"/>
                    <a:pt x="8948" y="4562"/>
                    <a:pt x="8917" y="4533"/>
                  </a:cubicBezTo>
                  <a:cubicBezTo>
                    <a:pt x="8886" y="4504"/>
                    <a:pt x="8848" y="4490"/>
                    <a:pt x="8802" y="4490"/>
                  </a:cubicBezTo>
                  <a:cubicBezTo>
                    <a:pt x="8757" y="4490"/>
                    <a:pt x="8719" y="4504"/>
                    <a:pt x="8688" y="4533"/>
                  </a:cubicBezTo>
                  <a:close/>
                  <a:moveTo>
                    <a:pt x="9029" y="4693"/>
                  </a:moveTo>
                  <a:lnTo>
                    <a:pt x="8636" y="4693"/>
                  </a:lnTo>
                  <a:cubicBezTo>
                    <a:pt x="8640" y="4742"/>
                    <a:pt x="8658" y="4781"/>
                    <a:pt x="8692" y="4811"/>
                  </a:cubicBezTo>
                  <a:cubicBezTo>
                    <a:pt x="8726" y="4841"/>
                    <a:pt x="8769" y="4856"/>
                    <a:pt x="8821" y="4856"/>
                  </a:cubicBezTo>
                  <a:cubicBezTo>
                    <a:pt x="8850" y="4856"/>
                    <a:pt x="8877" y="4851"/>
                    <a:pt x="8901" y="4841"/>
                  </a:cubicBezTo>
                  <a:cubicBezTo>
                    <a:pt x="8926" y="4830"/>
                    <a:pt x="8947" y="4815"/>
                    <a:pt x="8965" y="4795"/>
                  </a:cubicBezTo>
                  <a:lnTo>
                    <a:pt x="9001" y="4836"/>
                  </a:lnTo>
                  <a:cubicBezTo>
                    <a:pt x="8980" y="4861"/>
                    <a:pt x="8954" y="4880"/>
                    <a:pt x="8922" y="4893"/>
                  </a:cubicBezTo>
                  <a:cubicBezTo>
                    <a:pt x="8891" y="4906"/>
                    <a:pt x="8857" y="4912"/>
                    <a:pt x="8819" y="4912"/>
                  </a:cubicBezTo>
                  <a:cubicBezTo>
                    <a:pt x="8771" y="4912"/>
                    <a:pt x="8728" y="4902"/>
                    <a:pt x="8691" y="4882"/>
                  </a:cubicBezTo>
                  <a:cubicBezTo>
                    <a:pt x="8654" y="4861"/>
                    <a:pt x="8625" y="4833"/>
                    <a:pt x="8604" y="4796"/>
                  </a:cubicBezTo>
                  <a:cubicBezTo>
                    <a:pt x="8583" y="4760"/>
                    <a:pt x="8572" y="4719"/>
                    <a:pt x="8572" y="4673"/>
                  </a:cubicBezTo>
                  <a:cubicBezTo>
                    <a:pt x="8572" y="4628"/>
                    <a:pt x="8582" y="4587"/>
                    <a:pt x="8602" y="4550"/>
                  </a:cubicBezTo>
                  <a:cubicBezTo>
                    <a:pt x="8622" y="4514"/>
                    <a:pt x="8650" y="4486"/>
                    <a:pt x="8685" y="4466"/>
                  </a:cubicBezTo>
                  <a:cubicBezTo>
                    <a:pt x="8720" y="4445"/>
                    <a:pt x="8759" y="4435"/>
                    <a:pt x="8802" y="4435"/>
                  </a:cubicBezTo>
                  <a:cubicBezTo>
                    <a:pt x="8846" y="4435"/>
                    <a:pt x="8885" y="4445"/>
                    <a:pt x="8919" y="4466"/>
                  </a:cubicBezTo>
                  <a:cubicBezTo>
                    <a:pt x="8954" y="4486"/>
                    <a:pt x="8981" y="4514"/>
                    <a:pt x="9001" y="4550"/>
                  </a:cubicBezTo>
                  <a:cubicBezTo>
                    <a:pt x="9020" y="4586"/>
                    <a:pt x="9030" y="4627"/>
                    <a:pt x="9030" y="4673"/>
                  </a:cubicBezTo>
                  <a:lnTo>
                    <a:pt x="9029" y="4693"/>
                  </a:lnTo>
                  <a:close/>
                  <a:moveTo>
                    <a:pt x="8388" y="4439"/>
                  </a:moveTo>
                  <a:lnTo>
                    <a:pt x="8452" y="4439"/>
                  </a:lnTo>
                  <a:lnTo>
                    <a:pt x="8452" y="4908"/>
                  </a:lnTo>
                  <a:lnTo>
                    <a:pt x="8388" y="4908"/>
                  </a:lnTo>
                  <a:lnTo>
                    <a:pt x="8388" y="4439"/>
                  </a:lnTo>
                  <a:close/>
                  <a:moveTo>
                    <a:pt x="8387" y="4323"/>
                  </a:moveTo>
                  <a:cubicBezTo>
                    <a:pt x="8378" y="4314"/>
                    <a:pt x="8374" y="4303"/>
                    <a:pt x="8374" y="4291"/>
                  </a:cubicBezTo>
                  <a:cubicBezTo>
                    <a:pt x="8374" y="4279"/>
                    <a:pt x="8378" y="4268"/>
                    <a:pt x="8387" y="4260"/>
                  </a:cubicBezTo>
                  <a:cubicBezTo>
                    <a:pt x="8396" y="4251"/>
                    <a:pt x="8407" y="4246"/>
                    <a:pt x="8420" y="4246"/>
                  </a:cubicBezTo>
                  <a:cubicBezTo>
                    <a:pt x="8434" y="4246"/>
                    <a:pt x="8445" y="4250"/>
                    <a:pt x="8454" y="4259"/>
                  </a:cubicBezTo>
                  <a:cubicBezTo>
                    <a:pt x="8462" y="4268"/>
                    <a:pt x="8467" y="4278"/>
                    <a:pt x="8467" y="4290"/>
                  </a:cubicBezTo>
                  <a:cubicBezTo>
                    <a:pt x="8467" y="4303"/>
                    <a:pt x="8462" y="4314"/>
                    <a:pt x="8454" y="4323"/>
                  </a:cubicBezTo>
                  <a:cubicBezTo>
                    <a:pt x="8445" y="4332"/>
                    <a:pt x="8434" y="4336"/>
                    <a:pt x="8420" y="4336"/>
                  </a:cubicBezTo>
                  <a:cubicBezTo>
                    <a:pt x="8407" y="4336"/>
                    <a:pt x="8396" y="4332"/>
                    <a:pt x="8387" y="4323"/>
                  </a:cubicBezTo>
                  <a:close/>
                  <a:moveTo>
                    <a:pt x="8282" y="4879"/>
                  </a:moveTo>
                  <a:cubicBezTo>
                    <a:pt x="8270" y="4890"/>
                    <a:pt x="8255" y="4898"/>
                    <a:pt x="8238" y="4904"/>
                  </a:cubicBezTo>
                  <a:cubicBezTo>
                    <a:pt x="8220" y="4910"/>
                    <a:pt x="8202" y="4912"/>
                    <a:pt x="8183" y="4912"/>
                  </a:cubicBezTo>
                  <a:cubicBezTo>
                    <a:pt x="8139" y="4912"/>
                    <a:pt x="8105" y="4900"/>
                    <a:pt x="8081" y="4877"/>
                  </a:cubicBezTo>
                  <a:cubicBezTo>
                    <a:pt x="8057" y="4853"/>
                    <a:pt x="8045" y="4819"/>
                    <a:pt x="8045" y="4776"/>
                  </a:cubicBezTo>
                  <a:lnTo>
                    <a:pt x="8045" y="4492"/>
                  </a:lnTo>
                  <a:lnTo>
                    <a:pt x="7961" y="4492"/>
                  </a:lnTo>
                  <a:lnTo>
                    <a:pt x="7961" y="4439"/>
                  </a:lnTo>
                  <a:lnTo>
                    <a:pt x="8045" y="4439"/>
                  </a:lnTo>
                  <a:lnTo>
                    <a:pt x="8045" y="4336"/>
                  </a:lnTo>
                  <a:lnTo>
                    <a:pt x="8108" y="4336"/>
                  </a:lnTo>
                  <a:lnTo>
                    <a:pt x="8108" y="4439"/>
                  </a:lnTo>
                  <a:lnTo>
                    <a:pt x="8251" y="4439"/>
                  </a:lnTo>
                  <a:lnTo>
                    <a:pt x="8251" y="4492"/>
                  </a:lnTo>
                  <a:lnTo>
                    <a:pt x="8108" y="4492"/>
                  </a:lnTo>
                  <a:lnTo>
                    <a:pt x="8108" y="4772"/>
                  </a:lnTo>
                  <a:cubicBezTo>
                    <a:pt x="8108" y="4800"/>
                    <a:pt x="8115" y="4822"/>
                    <a:pt x="8129" y="4836"/>
                  </a:cubicBezTo>
                  <a:cubicBezTo>
                    <a:pt x="8143" y="4851"/>
                    <a:pt x="8164" y="4858"/>
                    <a:pt x="8190" y="4858"/>
                  </a:cubicBezTo>
                  <a:cubicBezTo>
                    <a:pt x="8203" y="4858"/>
                    <a:pt x="8216" y="4856"/>
                    <a:pt x="8228" y="4852"/>
                  </a:cubicBezTo>
                  <a:cubicBezTo>
                    <a:pt x="8240" y="4848"/>
                    <a:pt x="8251" y="4842"/>
                    <a:pt x="8260" y="4834"/>
                  </a:cubicBezTo>
                  <a:lnTo>
                    <a:pt x="8282" y="4879"/>
                  </a:lnTo>
                  <a:close/>
                  <a:moveTo>
                    <a:pt x="7803" y="4439"/>
                  </a:moveTo>
                  <a:lnTo>
                    <a:pt x="7866" y="4439"/>
                  </a:lnTo>
                  <a:lnTo>
                    <a:pt x="7866" y="4908"/>
                  </a:lnTo>
                  <a:lnTo>
                    <a:pt x="7803" y="4908"/>
                  </a:lnTo>
                  <a:lnTo>
                    <a:pt x="7803" y="4439"/>
                  </a:lnTo>
                  <a:close/>
                  <a:moveTo>
                    <a:pt x="7802" y="4323"/>
                  </a:moveTo>
                  <a:cubicBezTo>
                    <a:pt x="7793" y="4314"/>
                    <a:pt x="7788" y="4303"/>
                    <a:pt x="7788" y="4291"/>
                  </a:cubicBezTo>
                  <a:cubicBezTo>
                    <a:pt x="7788" y="4279"/>
                    <a:pt x="7793" y="4268"/>
                    <a:pt x="7802" y="4260"/>
                  </a:cubicBezTo>
                  <a:cubicBezTo>
                    <a:pt x="7811" y="4251"/>
                    <a:pt x="7822" y="4246"/>
                    <a:pt x="7835" y="4246"/>
                  </a:cubicBezTo>
                  <a:cubicBezTo>
                    <a:pt x="7848" y="4246"/>
                    <a:pt x="7859" y="4250"/>
                    <a:pt x="7868" y="4259"/>
                  </a:cubicBezTo>
                  <a:cubicBezTo>
                    <a:pt x="7877" y="4268"/>
                    <a:pt x="7881" y="4278"/>
                    <a:pt x="7881" y="4290"/>
                  </a:cubicBezTo>
                  <a:cubicBezTo>
                    <a:pt x="7881" y="4303"/>
                    <a:pt x="7877" y="4314"/>
                    <a:pt x="7868" y="4323"/>
                  </a:cubicBezTo>
                  <a:cubicBezTo>
                    <a:pt x="7859" y="4332"/>
                    <a:pt x="7848" y="4336"/>
                    <a:pt x="7835" y="4336"/>
                  </a:cubicBezTo>
                  <a:cubicBezTo>
                    <a:pt x="7822" y="4336"/>
                    <a:pt x="7811" y="4332"/>
                    <a:pt x="7802" y="4323"/>
                  </a:cubicBezTo>
                  <a:close/>
                  <a:moveTo>
                    <a:pt x="7571" y="4246"/>
                  </a:moveTo>
                  <a:lnTo>
                    <a:pt x="7635" y="4246"/>
                  </a:lnTo>
                  <a:lnTo>
                    <a:pt x="7635" y="4908"/>
                  </a:lnTo>
                  <a:lnTo>
                    <a:pt x="7571" y="4908"/>
                  </a:lnTo>
                  <a:lnTo>
                    <a:pt x="7571" y="4246"/>
                  </a:lnTo>
                  <a:close/>
                  <a:moveTo>
                    <a:pt x="7340" y="4439"/>
                  </a:moveTo>
                  <a:lnTo>
                    <a:pt x="7403" y="4439"/>
                  </a:lnTo>
                  <a:lnTo>
                    <a:pt x="7403" y="4908"/>
                  </a:lnTo>
                  <a:lnTo>
                    <a:pt x="7340" y="4908"/>
                  </a:lnTo>
                  <a:lnTo>
                    <a:pt x="7340" y="4439"/>
                  </a:lnTo>
                  <a:close/>
                  <a:moveTo>
                    <a:pt x="7339" y="4323"/>
                  </a:moveTo>
                  <a:cubicBezTo>
                    <a:pt x="7330" y="4314"/>
                    <a:pt x="7325" y="4303"/>
                    <a:pt x="7325" y="4291"/>
                  </a:cubicBezTo>
                  <a:cubicBezTo>
                    <a:pt x="7325" y="4279"/>
                    <a:pt x="7330" y="4268"/>
                    <a:pt x="7339" y="4260"/>
                  </a:cubicBezTo>
                  <a:cubicBezTo>
                    <a:pt x="7348" y="4251"/>
                    <a:pt x="7359" y="4246"/>
                    <a:pt x="7372" y="4246"/>
                  </a:cubicBezTo>
                  <a:cubicBezTo>
                    <a:pt x="7385" y="4246"/>
                    <a:pt x="7396" y="4250"/>
                    <a:pt x="7405" y="4259"/>
                  </a:cubicBezTo>
                  <a:cubicBezTo>
                    <a:pt x="7414" y="4268"/>
                    <a:pt x="7418" y="4278"/>
                    <a:pt x="7418" y="4290"/>
                  </a:cubicBezTo>
                  <a:cubicBezTo>
                    <a:pt x="7418" y="4303"/>
                    <a:pt x="7414" y="4314"/>
                    <a:pt x="7405" y="4323"/>
                  </a:cubicBezTo>
                  <a:cubicBezTo>
                    <a:pt x="7396" y="4332"/>
                    <a:pt x="7385" y="4336"/>
                    <a:pt x="7372" y="4336"/>
                  </a:cubicBezTo>
                  <a:cubicBezTo>
                    <a:pt x="7359" y="4336"/>
                    <a:pt x="7348" y="4332"/>
                    <a:pt x="7339" y="4323"/>
                  </a:cubicBezTo>
                  <a:close/>
                  <a:moveTo>
                    <a:pt x="7070" y="4833"/>
                  </a:moveTo>
                  <a:cubicBezTo>
                    <a:pt x="7096" y="4818"/>
                    <a:pt x="7117" y="4797"/>
                    <a:pt x="7133" y="4769"/>
                  </a:cubicBezTo>
                  <a:cubicBezTo>
                    <a:pt x="7148" y="4741"/>
                    <a:pt x="7155" y="4709"/>
                    <a:pt x="7155" y="4673"/>
                  </a:cubicBezTo>
                  <a:cubicBezTo>
                    <a:pt x="7155" y="4638"/>
                    <a:pt x="7148" y="4606"/>
                    <a:pt x="7133" y="4578"/>
                  </a:cubicBezTo>
                  <a:cubicBezTo>
                    <a:pt x="7117" y="4550"/>
                    <a:pt x="7096" y="4528"/>
                    <a:pt x="7070" y="4513"/>
                  </a:cubicBezTo>
                  <a:cubicBezTo>
                    <a:pt x="7043" y="4498"/>
                    <a:pt x="7013" y="4491"/>
                    <a:pt x="6980" y="4491"/>
                  </a:cubicBezTo>
                  <a:cubicBezTo>
                    <a:pt x="6947" y="4491"/>
                    <a:pt x="6917" y="4498"/>
                    <a:pt x="6890" y="4513"/>
                  </a:cubicBezTo>
                  <a:cubicBezTo>
                    <a:pt x="6864" y="4528"/>
                    <a:pt x="6843" y="4550"/>
                    <a:pt x="6828" y="4578"/>
                  </a:cubicBezTo>
                  <a:cubicBezTo>
                    <a:pt x="6813" y="4606"/>
                    <a:pt x="6805" y="4638"/>
                    <a:pt x="6805" y="4673"/>
                  </a:cubicBezTo>
                  <a:cubicBezTo>
                    <a:pt x="6805" y="4709"/>
                    <a:pt x="6813" y="4741"/>
                    <a:pt x="6828" y="4769"/>
                  </a:cubicBezTo>
                  <a:cubicBezTo>
                    <a:pt x="6843" y="4797"/>
                    <a:pt x="6864" y="4818"/>
                    <a:pt x="6890" y="4833"/>
                  </a:cubicBezTo>
                  <a:cubicBezTo>
                    <a:pt x="6917" y="4849"/>
                    <a:pt x="6947" y="4856"/>
                    <a:pt x="6980" y="4856"/>
                  </a:cubicBezTo>
                  <a:cubicBezTo>
                    <a:pt x="7013" y="4856"/>
                    <a:pt x="7043" y="4849"/>
                    <a:pt x="7070" y="4833"/>
                  </a:cubicBezTo>
                  <a:close/>
                  <a:moveTo>
                    <a:pt x="7104" y="4465"/>
                  </a:moveTo>
                  <a:cubicBezTo>
                    <a:pt x="7140" y="4485"/>
                    <a:pt x="7168" y="4513"/>
                    <a:pt x="7188" y="4549"/>
                  </a:cubicBezTo>
                  <a:cubicBezTo>
                    <a:pt x="7209" y="4586"/>
                    <a:pt x="7219" y="4627"/>
                    <a:pt x="7219" y="4673"/>
                  </a:cubicBezTo>
                  <a:cubicBezTo>
                    <a:pt x="7219" y="4720"/>
                    <a:pt x="7209" y="4761"/>
                    <a:pt x="7188" y="4797"/>
                  </a:cubicBezTo>
                  <a:cubicBezTo>
                    <a:pt x="7168" y="4834"/>
                    <a:pt x="7140" y="4862"/>
                    <a:pt x="7104" y="4882"/>
                  </a:cubicBezTo>
                  <a:cubicBezTo>
                    <a:pt x="7069" y="4902"/>
                    <a:pt x="7029" y="4912"/>
                    <a:pt x="6985" y="4912"/>
                  </a:cubicBezTo>
                  <a:cubicBezTo>
                    <a:pt x="6945" y="4912"/>
                    <a:pt x="6910" y="4904"/>
                    <a:pt x="6879" y="4887"/>
                  </a:cubicBezTo>
                  <a:cubicBezTo>
                    <a:pt x="6847" y="4871"/>
                    <a:pt x="6822" y="4847"/>
                    <a:pt x="6803" y="4815"/>
                  </a:cubicBezTo>
                  <a:lnTo>
                    <a:pt x="6803" y="4908"/>
                  </a:lnTo>
                  <a:lnTo>
                    <a:pt x="6742" y="4908"/>
                  </a:lnTo>
                  <a:lnTo>
                    <a:pt x="6742" y="4246"/>
                  </a:lnTo>
                  <a:lnTo>
                    <a:pt x="6806" y="4246"/>
                  </a:lnTo>
                  <a:lnTo>
                    <a:pt x="6806" y="4528"/>
                  </a:lnTo>
                  <a:cubicBezTo>
                    <a:pt x="6825" y="4498"/>
                    <a:pt x="6851" y="4475"/>
                    <a:pt x="6881" y="4459"/>
                  </a:cubicBezTo>
                  <a:cubicBezTo>
                    <a:pt x="6912" y="4443"/>
                    <a:pt x="6946" y="4435"/>
                    <a:pt x="6985" y="4435"/>
                  </a:cubicBezTo>
                  <a:cubicBezTo>
                    <a:pt x="7029" y="4435"/>
                    <a:pt x="7069" y="4445"/>
                    <a:pt x="7104" y="4465"/>
                  </a:cubicBezTo>
                  <a:close/>
                  <a:moveTo>
                    <a:pt x="6511" y="4439"/>
                  </a:moveTo>
                  <a:lnTo>
                    <a:pt x="6574" y="4439"/>
                  </a:lnTo>
                  <a:lnTo>
                    <a:pt x="6574" y="4908"/>
                  </a:lnTo>
                  <a:lnTo>
                    <a:pt x="6511" y="4908"/>
                  </a:lnTo>
                  <a:lnTo>
                    <a:pt x="6511" y="4439"/>
                  </a:lnTo>
                  <a:close/>
                  <a:moveTo>
                    <a:pt x="6510" y="4323"/>
                  </a:moveTo>
                  <a:cubicBezTo>
                    <a:pt x="6501" y="4314"/>
                    <a:pt x="6496" y="4303"/>
                    <a:pt x="6496" y="4291"/>
                  </a:cubicBezTo>
                  <a:cubicBezTo>
                    <a:pt x="6496" y="4279"/>
                    <a:pt x="6501" y="4268"/>
                    <a:pt x="6510" y="4260"/>
                  </a:cubicBezTo>
                  <a:cubicBezTo>
                    <a:pt x="6519" y="4251"/>
                    <a:pt x="6530" y="4246"/>
                    <a:pt x="6543" y="4246"/>
                  </a:cubicBezTo>
                  <a:cubicBezTo>
                    <a:pt x="6556" y="4246"/>
                    <a:pt x="6567" y="4250"/>
                    <a:pt x="6576" y="4259"/>
                  </a:cubicBezTo>
                  <a:cubicBezTo>
                    <a:pt x="6585" y="4268"/>
                    <a:pt x="6589" y="4278"/>
                    <a:pt x="6589" y="4290"/>
                  </a:cubicBezTo>
                  <a:cubicBezTo>
                    <a:pt x="6589" y="4303"/>
                    <a:pt x="6585" y="4314"/>
                    <a:pt x="6576" y="4323"/>
                  </a:cubicBezTo>
                  <a:cubicBezTo>
                    <a:pt x="6567" y="4332"/>
                    <a:pt x="6556" y="4336"/>
                    <a:pt x="6543" y="4336"/>
                  </a:cubicBezTo>
                  <a:cubicBezTo>
                    <a:pt x="6530" y="4336"/>
                    <a:pt x="6519" y="4332"/>
                    <a:pt x="6510" y="4323"/>
                  </a:cubicBezTo>
                  <a:close/>
                  <a:moveTo>
                    <a:pt x="6099" y="4896"/>
                  </a:moveTo>
                  <a:cubicBezTo>
                    <a:pt x="6064" y="4885"/>
                    <a:pt x="6037" y="4871"/>
                    <a:pt x="6017" y="4854"/>
                  </a:cubicBezTo>
                  <a:lnTo>
                    <a:pt x="6046" y="4804"/>
                  </a:lnTo>
                  <a:cubicBezTo>
                    <a:pt x="6066" y="4820"/>
                    <a:pt x="6090" y="4833"/>
                    <a:pt x="6120" y="4842"/>
                  </a:cubicBezTo>
                  <a:cubicBezTo>
                    <a:pt x="6150" y="4852"/>
                    <a:pt x="6181" y="4857"/>
                    <a:pt x="6213" y="4857"/>
                  </a:cubicBezTo>
                  <a:cubicBezTo>
                    <a:pt x="6256" y="4857"/>
                    <a:pt x="6288" y="4850"/>
                    <a:pt x="6308" y="4837"/>
                  </a:cubicBezTo>
                  <a:cubicBezTo>
                    <a:pt x="6329" y="4824"/>
                    <a:pt x="6339" y="4805"/>
                    <a:pt x="6339" y="4780"/>
                  </a:cubicBezTo>
                  <a:cubicBezTo>
                    <a:pt x="6339" y="4763"/>
                    <a:pt x="6333" y="4750"/>
                    <a:pt x="6322" y="4740"/>
                  </a:cubicBezTo>
                  <a:cubicBezTo>
                    <a:pt x="6311" y="4730"/>
                    <a:pt x="6296" y="4723"/>
                    <a:pt x="6279" y="4717"/>
                  </a:cubicBezTo>
                  <a:cubicBezTo>
                    <a:pt x="6262" y="4712"/>
                    <a:pt x="6239" y="4708"/>
                    <a:pt x="6210" y="4703"/>
                  </a:cubicBezTo>
                  <a:cubicBezTo>
                    <a:pt x="6172" y="4696"/>
                    <a:pt x="6141" y="4688"/>
                    <a:pt x="6118" y="4681"/>
                  </a:cubicBezTo>
                  <a:cubicBezTo>
                    <a:pt x="6095" y="4674"/>
                    <a:pt x="6075" y="4661"/>
                    <a:pt x="6059" y="4643"/>
                  </a:cubicBezTo>
                  <a:cubicBezTo>
                    <a:pt x="6042" y="4625"/>
                    <a:pt x="6034" y="4601"/>
                    <a:pt x="6034" y="4569"/>
                  </a:cubicBezTo>
                  <a:cubicBezTo>
                    <a:pt x="6034" y="4530"/>
                    <a:pt x="6051" y="4498"/>
                    <a:pt x="6083" y="4473"/>
                  </a:cubicBezTo>
                  <a:cubicBezTo>
                    <a:pt x="6116" y="4448"/>
                    <a:pt x="6162" y="4435"/>
                    <a:pt x="6220" y="4435"/>
                  </a:cubicBezTo>
                  <a:cubicBezTo>
                    <a:pt x="6251" y="4435"/>
                    <a:pt x="6281" y="4439"/>
                    <a:pt x="6311" y="4447"/>
                  </a:cubicBezTo>
                  <a:cubicBezTo>
                    <a:pt x="6342" y="4455"/>
                    <a:pt x="6367" y="4466"/>
                    <a:pt x="6386" y="4479"/>
                  </a:cubicBezTo>
                  <a:lnTo>
                    <a:pt x="6359" y="4530"/>
                  </a:lnTo>
                  <a:cubicBezTo>
                    <a:pt x="6320" y="4503"/>
                    <a:pt x="6274" y="4490"/>
                    <a:pt x="6220" y="4490"/>
                  </a:cubicBezTo>
                  <a:cubicBezTo>
                    <a:pt x="6180" y="4490"/>
                    <a:pt x="6149" y="4497"/>
                    <a:pt x="6129" y="4511"/>
                  </a:cubicBezTo>
                  <a:cubicBezTo>
                    <a:pt x="6108" y="4525"/>
                    <a:pt x="6098" y="4544"/>
                    <a:pt x="6098" y="4567"/>
                  </a:cubicBezTo>
                  <a:cubicBezTo>
                    <a:pt x="6098" y="4585"/>
                    <a:pt x="6104" y="4599"/>
                    <a:pt x="6115" y="4610"/>
                  </a:cubicBezTo>
                  <a:cubicBezTo>
                    <a:pt x="6127" y="4621"/>
                    <a:pt x="6141" y="4629"/>
                    <a:pt x="6158" y="4634"/>
                  </a:cubicBezTo>
                  <a:cubicBezTo>
                    <a:pt x="6176" y="4639"/>
                    <a:pt x="6200" y="4644"/>
                    <a:pt x="6230" y="4649"/>
                  </a:cubicBezTo>
                  <a:cubicBezTo>
                    <a:pt x="6268" y="4656"/>
                    <a:pt x="6298" y="4664"/>
                    <a:pt x="6320" y="4671"/>
                  </a:cubicBezTo>
                  <a:cubicBezTo>
                    <a:pt x="6343" y="4678"/>
                    <a:pt x="6362" y="4690"/>
                    <a:pt x="6378" y="4707"/>
                  </a:cubicBezTo>
                  <a:cubicBezTo>
                    <a:pt x="6395" y="4724"/>
                    <a:pt x="6403" y="4748"/>
                    <a:pt x="6403" y="4779"/>
                  </a:cubicBezTo>
                  <a:cubicBezTo>
                    <a:pt x="6403" y="4820"/>
                    <a:pt x="6385" y="4852"/>
                    <a:pt x="6351" y="4876"/>
                  </a:cubicBezTo>
                  <a:cubicBezTo>
                    <a:pt x="6317" y="4900"/>
                    <a:pt x="6269" y="4912"/>
                    <a:pt x="6209" y="4912"/>
                  </a:cubicBezTo>
                  <a:cubicBezTo>
                    <a:pt x="6170" y="4912"/>
                    <a:pt x="6134" y="4907"/>
                    <a:pt x="6099" y="4896"/>
                  </a:cubicBezTo>
                  <a:moveTo>
                    <a:pt x="5653" y="4896"/>
                  </a:moveTo>
                  <a:cubicBezTo>
                    <a:pt x="5618" y="4885"/>
                    <a:pt x="5591" y="4871"/>
                    <a:pt x="5571" y="4854"/>
                  </a:cubicBezTo>
                  <a:lnTo>
                    <a:pt x="5600" y="4804"/>
                  </a:lnTo>
                  <a:cubicBezTo>
                    <a:pt x="5619" y="4820"/>
                    <a:pt x="5644" y="4833"/>
                    <a:pt x="5674" y="4842"/>
                  </a:cubicBezTo>
                  <a:cubicBezTo>
                    <a:pt x="5704" y="4852"/>
                    <a:pt x="5735" y="4857"/>
                    <a:pt x="5767" y="4857"/>
                  </a:cubicBezTo>
                  <a:cubicBezTo>
                    <a:pt x="5810" y="4857"/>
                    <a:pt x="5842" y="4850"/>
                    <a:pt x="5862" y="4837"/>
                  </a:cubicBezTo>
                  <a:cubicBezTo>
                    <a:pt x="5883" y="4824"/>
                    <a:pt x="5893" y="4805"/>
                    <a:pt x="5893" y="4780"/>
                  </a:cubicBezTo>
                  <a:cubicBezTo>
                    <a:pt x="5893" y="4763"/>
                    <a:pt x="5887" y="4750"/>
                    <a:pt x="5876" y="4740"/>
                  </a:cubicBezTo>
                  <a:cubicBezTo>
                    <a:pt x="5865" y="4730"/>
                    <a:pt x="5850" y="4723"/>
                    <a:pt x="5833" y="4717"/>
                  </a:cubicBezTo>
                  <a:cubicBezTo>
                    <a:pt x="5816" y="4712"/>
                    <a:pt x="5793" y="4708"/>
                    <a:pt x="5764" y="4703"/>
                  </a:cubicBezTo>
                  <a:cubicBezTo>
                    <a:pt x="5726" y="4696"/>
                    <a:pt x="5695" y="4688"/>
                    <a:pt x="5672" y="4681"/>
                  </a:cubicBezTo>
                  <a:cubicBezTo>
                    <a:pt x="5649" y="4674"/>
                    <a:pt x="5629" y="4661"/>
                    <a:pt x="5613" y="4643"/>
                  </a:cubicBezTo>
                  <a:cubicBezTo>
                    <a:pt x="5596" y="4625"/>
                    <a:pt x="5588" y="4601"/>
                    <a:pt x="5588" y="4569"/>
                  </a:cubicBezTo>
                  <a:cubicBezTo>
                    <a:pt x="5588" y="4530"/>
                    <a:pt x="5604" y="4498"/>
                    <a:pt x="5637" y="4473"/>
                  </a:cubicBezTo>
                  <a:cubicBezTo>
                    <a:pt x="5670" y="4448"/>
                    <a:pt x="5716" y="4435"/>
                    <a:pt x="5774" y="4435"/>
                  </a:cubicBezTo>
                  <a:cubicBezTo>
                    <a:pt x="5804" y="4435"/>
                    <a:pt x="5835" y="4439"/>
                    <a:pt x="5865" y="4447"/>
                  </a:cubicBezTo>
                  <a:cubicBezTo>
                    <a:pt x="5896" y="4455"/>
                    <a:pt x="5921" y="4466"/>
                    <a:pt x="5940" y="4479"/>
                  </a:cubicBezTo>
                  <a:lnTo>
                    <a:pt x="5913" y="4530"/>
                  </a:lnTo>
                  <a:cubicBezTo>
                    <a:pt x="5874" y="4503"/>
                    <a:pt x="5828" y="4490"/>
                    <a:pt x="5774" y="4490"/>
                  </a:cubicBezTo>
                  <a:cubicBezTo>
                    <a:pt x="5734" y="4490"/>
                    <a:pt x="5703" y="4497"/>
                    <a:pt x="5682" y="4511"/>
                  </a:cubicBezTo>
                  <a:cubicBezTo>
                    <a:pt x="5662" y="4525"/>
                    <a:pt x="5652" y="4544"/>
                    <a:pt x="5652" y="4567"/>
                  </a:cubicBezTo>
                  <a:cubicBezTo>
                    <a:pt x="5652" y="4585"/>
                    <a:pt x="5657" y="4599"/>
                    <a:pt x="5669" y="4610"/>
                  </a:cubicBezTo>
                  <a:cubicBezTo>
                    <a:pt x="5681" y="4621"/>
                    <a:pt x="5695" y="4629"/>
                    <a:pt x="5712" y="4634"/>
                  </a:cubicBezTo>
                  <a:cubicBezTo>
                    <a:pt x="5730" y="4639"/>
                    <a:pt x="5754" y="4644"/>
                    <a:pt x="5784" y="4649"/>
                  </a:cubicBezTo>
                  <a:cubicBezTo>
                    <a:pt x="5821" y="4656"/>
                    <a:pt x="5852" y="4664"/>
                    <a:pt x="5874" y="4671"/>
                  </a:cubicBezTo>
                  <a:cubicBezTo>
                    <a:pt x="5897" y="4678"/>
                    <a:pt x="5916" y="4690"/>
                    <a:pt x="5932" y="4707"/>
                  </a:cubicBezTo>
                  <a:cubicBezTo>
                    <a:pt x="5948" y="4724"/>
                    <a:pt x="5956" y="4748"/>
                    <a:pt x="5956" y="4779"/>
                  </a:cubicBezTo>
                  <a:cubicBezTo>
                    <a:pt x="5956" y="4820"/>
                    <a:pt x="5939" y="4852"/>
                    <a:pt x="5905" y="4876"/>
                  </a:cubicBezTo>
                  <a:cubicBezTo>
                    <a:pt x="5871" y="4900"/>
                    <a:pt x="5823" y="4912"/>
                    <a:pt x="5762" y="4912"/>
                  </a:cubicBezTo>
                  <a:cubicBezTo>
                    <a:pt x="5724" y="4912"/>
                    <a:pt x="5688" y="4907"/>
                    <a:pt x="5653" y="4896"/>
                  </a:cubicBezTo>
                  <a:moveTo>
                    <a:pt x="5367" y="4833"/>
                  </a:moveTo>
                  <a:cubicBezTo>
                    <a:pt x="5393" y="4818"/>
                    <a:pt x="5414" y="4797"/>
                    <a:pt x="5429" y="4769"/>
                  </a:cubicBezTo>
                  <a:cubicBezTo>
                    <a:pt x="5444" y="4741"/>
                    <a:pt x="5451" y="4709"/>
                    <a:pt x="5451" y="4673"/>
                  </a:cubicBezTo>
                  <a:cubicBezTo>
                    <a:pt x="5451" y="4638"/>
                    <a:pt x="5444" y="4606"/>
                    <a:pt x="5429" y="4578"/>
                  </a:cubicBezTo>
                  <a:cubicBezTo>
                    <a:pt x="5414" y="4550"/>
                    <a:pt x="5393" y="4528"/>
                    <a:pt x="5367" y="4513"/>
                  </a:cubicBezTo>
                  <a:cubicBezTo>
                    <a:pt x="5340" y="4498"/>
                    <a:pt x="5310" y="4491"/>
                    <a:pt x="5277" y="4491"/>
                  </a:cubicBezTo>
                  <a:cubicBezTo>
                    <a:pt x="5244" y="4491"/>
                    <a:pt x="5214" y="4498"/>
                    <a:pt x="5187" y="4513"/>
                  </a:cubicBezTo>
                  <a:cubicBezTo>
                    <a:pt x="5161" y="4528"/>
                    <a:pt x="5140" y="4550"/>
                    <a:pt x="5124" y="4578"/>
                  </a:cubicBezTo>
                  <a:cubicBezTo>
                    <a:pt x="5109" y="4606"/>
                    <a:pt x="5102" y="4638"/>
                    <a:pt x="5102" y="4673"/>
                  </a:cubicBezTo>
                  <a:cubicBezTo>
                    <a:pt x="5102" y="4709"/>
                    <a:pt x="5109" y="4741"/>
                    <a:pt x="5124" y="4769"/>
                  </a:cubicBezTo>
                  <a:cubicBezTo>
                    <a:pt x="5140" y="4797"/>
                    <a:pt x="5161" y="4818"/>
                    <a:pt x="5187" y="4833"/>
                  </a:cubicBezTo>
                  <a:cubicBezTo>
                    <a:pt x="5214" y="4849"/>
                    <a:pt x="5244" y="4856"/>
                    <a:pt x="5277" y="4856"/>
                  </a:cubicBezTo>
                  <a:cubicBezTo>
                    <a:pt x="5310" y="4856"/>
                    <a:pt x="5340" y="4849"/>
                    <a:pt x="5367" y="4833"/>
                  </a:cubicBezTo>
                  <a:close/>
                  <a:moveTo>
                    <a:pt x="5154" y="4882"/>
                  </a:moveTo>
                  <a:cubicBezTo>
                    <a:pt x="5118" y="4861"/>
                    <a:pt x="5089" y="4833"/>
                    <a:pt x="5069" y="4796"/>
                  </a:cubicBezTo>
                  <a:cubicBezTo>
                    <a:pt x="5048" y="4760"/>
                    <a:pt x="5037" y="4719"/>
                    <a:pt x="5037" y="4673"/>
                  </a:cubicBezTo>
                  <a:cubicBezTo>
                    <a:pt x="5037" y="4628"/>
                    <a:pt x="5048" y="4587"/>
                    <a:pt x="5069" y="4550"/>
                  </a:cubicBezTo>
                  <a:cubicBezTo>
                    <a:pt x="5089" y="4514"/>
                    <a:pt x="5118" y="4486"/>
                    <a:pt x="5154" y="4466"/>
                  </a:cubicBezTo>
                  <a:cubicBezTo>
                    <a:pt x="5191" y="4445"/>
                    <a:pt x="5232" y="4435"/>
                    <a:pt x="5277" y="4435"/>
                  </a:cubicBezTo>
                  <a:cubicBezTo>
                    <a:pt x="5322" y="4435"/>
                    <a:pt x="5363" y="4445"/>
                    <a:pt x="5399" y="4466"/>
                  </a:cubicBezTo>
                  <a:cubicBezTo>
                    <a:pt x="5436" y="4486"/>
                    <a:pt x="5464" y="4514"/>
                    <a:pt x="5485" y="4550"/>
                  </a:cubicBezTo>
                  <a:cubicBezTo>
                    <a:pt x="5505" y="4587"/>
                    <a:pt x="5516" y="4628"/>
                    <a:pt x="5516" y="4673"/>
                  </a:cubicBezTo>
                  <a:cubicBezTo>
                    <a:pt x="5516" y="4719"/>
                    <a:pt x="5505" y="4760"/>
                    <a:pt x="5485" y="4796"/>
                  </a:cubicBezTo>
                  <a:cubicBezTo>
                    <a:pt x="5464" y="4833"/>
                    <a:pt x="5436" y="4861"/>
                    <a:pt x="5399" y="4882"/>
                  </a:cubicBezTo>
                  <a:cubicBezTo>
                    <a:pt x="5363" y="4902"/>
                    <a:pt x="5322" y="4912"/>
                    <a:pt x="5277" y="4912"/>
                  </a:cubicBezTo>
                  <a:cubicBezTo>
                    <a:pt x="5232" y="4912"/>
                    <a:pt x="5191" y="4902"/>
                    <a:pt x="5154" y="4882"/>
                  </a:cubicBezTo>
                  <a:close/>
                  <a:moveTo>
                    <a:pt x="4869" y="4612"/>
                  </a:moveTo>
                  <a:cubicBezTo>
                    <a:pt x="4902" y="4585"/>
                    <a:pt x="4918" y="4547"/>
                    <a:pt x="4918" y="4498"/>
                  </a:cubicBezTo>
                  <a:cubicBezTo>
                    <a:pt x="4918" y="4447"/>
                    <a:pt x="4902" y="4408"/>
                    <a:pt x="4869" y="4381"/>
                  </a:cubicBezTo>
                  <a:cubicBezTo>
                    <a:pt x="4836" y="4354"/>
                    <a:pt x="4789" y="4341"/>
                    <a:pt x="4727" y="4341"/>
                  </a:cubicBezTo>
                  <a:lnTo>
                    <a:pt x="4561" y="4341"/>
                  </a:lnTo>
                  <a:lnTo>
                    <a:pt x="4561" y="4653"/>
                  </a:lnTo>
                  <a:lnTo>
                    <a:pt x="4727" y="4653"/>
                  </a:lnTo>
                  <a:cubicBezTo>
                    <a:pt x="4789" y="4653"/>
                    <a:pt x="4836" y="4639"/>
                    <a:pt x="4869" y="4612"/>
                  </a:cubicBezTo>
                  <a:close/>
                  <a:moveTo>
                    <a:pt x="4917" y="4341"/>
                  </a:moveTo>
                  <a:cubicBezTo>
                    <a:pt x="4962" y="4379"/>
                    <a:pt x="4985" y="4431"/>
                    <a:pt x="4985" y="4498"/>
                  </a:cubicBezTo>
                  <a:cubicBezTo>
                    <a:pt x="4985" y="4564"/>
                    <a:pt x="4962" y="4616"/>
                    <a:pt x="4917" y="4654"/>
                  </a:cubicBezTo>
                  <a:cubicBezTo>
                    <a:pt x="4871" y="4692"/>
                    <a:pt x="4809" y="4711"/>
                    <a:pt x="4729" y="4711"/>
                  </a:cubicBezTo>
                  <a:lnTo>
                    <a:pt x="4561" y="4711"/>
                  </a:lnTo>
                  <a:lnTo>
                    <a:pt x="4561" y="4908"/>
                  </a:lnTo>
                  <a:lnTo>
                    <a:pt x="4495" y="4908"/>
                  </a:lnTo>
                  <a:lnTo>
                    <a:pt x="4495" y="4284"/>
                  </a:lnTo>
                  <a:lnTo>
                    <a:pt x="4729" y="4284"/>
                  </a:lnTo>
                  <a:cubicBezTo>
                    <a:pt x="4809" y="4284"/>
                    <a:pt x="4871" y="4303"/>
                    <a:pt x="4917" y="4341"/>
                  </a:cubicBezTo>
                  <a:moveTo>
                    <a:pt x="3939" y="4812"/>
                  </a:moveTo>
                  <a:cubicBezTo>
                    <a:pt x="3966" y="4797"/>
                    <a:pt x="3987" y="4777"/>
                    <a:pt x="4002" y="4751"/>
                  </a:cubicBezTo>
                  <a:cubicBezTo>
                    <a:pt x="4018" y="4725"/>
                    <a:pt x="4025" y="4695"/>
                    <a:pt x="4025" y="4662"/>
                  </a:cubicBezTo>
                  <a:cubicBezTo>
                    <a:pt x="4025" y="4628"/>
                    <a:pt x="4018" y="4599"/>
                    <a:pt x="4002" y="4573"/>
                  </a:cubicBezTo>
                  <a:cubicBezTo>
                    <a:pt x="3987" y="4547"/>
                    <a:pt x="3966" y="4527"/>
                    <a:pt x="3939" y="4512"/>
                  </a:cubicBezTo>
                  <a:cubicBezTo>
                    <a:pt x="3912" y="4498"/>
                    <a:pt x="3881" y="4491"/>
                    <a:pt x="3846" y="4491"/>
                  </a:cubicBezTo>
                  <a:cubicBezTo>
                    <a:pt x="3812" y="4491"/>
                    <a:pt x="3782" y="4498"/>
                    <a:pt x="3755" y="4512"/>
                  </a:cubicBezTo>
                  <a:cubicBezTo>
                    <a:pt x="3728" y="4526"/>
                    <a:pt x="3707" y="4546"/>
                    <a:pt x="3691" y="4573"/>
                  </a:cubicBezTo>
                  <a:cubicBezTo>
                    <a:pt x="3676" y="4599"/>
                    <a:pt x="3669" y="4628"/>
                    <a:pt x="3669" y="4662"/>
                  </a:cubicBezTo>
                  <a:cubicBezTo>
                    <a:pt x="3669" y="4695"/>
                    <a:pt x="3676" y="4725"/>
                    <a:pt x="3691" y="4751"/>
                  </a:cubicBezTo>
                  <a:cubicBezTo>
                    <a:pt x="3707" y="4777"/>
                    <a:pt x="3728" y="4797"/>
                    <a:pt x="3755" y="4812"/>
                  </a:cubicBezTo>
                  <a:cubicBezTo>
                    <a:pt x="3782" y="4827"/>
                    <a:pt x="3812" y="4834"/>
                    <a:pt x="3846" y="4834"/>
                  </a:cubicBezTo>
                  <a:cubicBezTo>
                    <a:pt x="3880" y="4834"/>
                    <a:pt x="3911" y="4827"/>
                    <a:pt x="3939" y="4812"/>
                  </a:cubicBezTo>
                  <a:moveTo>
                    <a:pt x="4087" y="4439"/>
                  </a:moveTo>
                  <a:lnTo>
                    <a:pt x="4087" y="4851"/>
                  </a:lnTo>
                  <a:cubicBezTo>
                    <a:pt x="4087" y="4930"/>
                    <a:pt x="4067" y="4990"/>
                    <a:pt x="4028" y="5028"/>
                  </a:cubicBezTo>
                  <a:cubicBezTo>
                    <a:pt x="3989" y="5066"/>
                    <a:pt x="3930" y="5085"/>
                    <a:pt x="3852" y="5085"/>
                  </a:cubicBezTo>
                  <a:cubicBezTo>
                    <a:pt x="3808" y="5085"/>
                    <a:pt x="3767" y="5079"/>
                    <a:pt x="3728" y="5066"/>
                  </a:cubicBezTo>
                  <a:cubicBezTo>
                    <a:pt x="3689" y="5053"/>
                    <a:pt x="3657" y="5036"/>
                    <a:pt x="3633" y="5013"/>
                  </a:cubicBezTo>
                  <a:lnTo>
                    <a:pt x="3665" y="4965"/>
                  </a:lnTo>
                  <a:cubicBezTo>
                    <a:pt x="3688" y="4985"/>
                    <a:pt x="3715" y="5001"/>
                    <a:pt x="3748" y="5012"/>
                  </a:cubicBezTo>
                  <a:cubicBezTo>
                    <a:pt x="3780" y="5024"/>
                    <a:pt x="3814" y="5029"/>
                    <a:pt x="3850" y="5029"/>
                  </a:cubicBezTo>
                  <a:cubicBezTo>
                    <a:pt x="3910" y="5029"/>
                    <a:pt x="3953" y="5015"/>
                    <a:pt x="3981" y="4988"/>
                  </a:cubicBezTo>
                  <a:cubicBezTo>
                    <a:pt x="4009" y="4960"/>
                    <a:pt x="4023" y="4917"/>
                    <a:pt x="4023" y="4859"/>
                  </a:cubicBezTo>
                  <a:lnTo>
                    <a:pt x="4023" y="4799"/>
                  </a:lnTo>
                  <a:cubicBezTo>
                    <a:pt x="4004" y="4829"/>
                    <a:pt x="3978" y="4851"/>
                    <a:pt x="3946" y="4867"/>
                  </a:cubicBezTo>
                  <a:cubicBezTo>
                    <a:pt x="3914" y="4882"/>
                    <a:pt x="3879" y="4890"/>
                    <a:pt x="3840" y="4890"/>
                  </a:cubicBezTo>
                  <a:cubicBezTo>
                    <a:pt x="3796" y="4890"/>
                    <a:pt x="3756" y="4880"/>
                    <a:pt x="3720" y="4861"/>
                  </a:cubicBezTo>
                  <a:cubicBezTo>
                    <a:pt x="3684" y="4842"/>
                    <a:pt x="3656" y="4815"/>
                    <a:pt x="3635" y="4780"/>
                  </a:cubicBezTo>
                  <a:cubicBezTo>
                    <a:pt x="3614" y="4745"/>
                    <a:pt x="3604" y="4706"/>
                    <a:pt x="3604" y="4662"/>
                  </a:cubicBezTo>
                  <a:cubicBezTo>
                    <a:pt x="3604" y="4618"/>
                    <a:pt x="3614" y="4578"/>
                    <a:pt x="3635" y="4544"/>
                  </a:cubicBezTo>
                  <a:cubicBezTo>
                    <a:pt x="3656" y="4510"/>
                    <a:pt x="3684" y="4483"/>
                    <a:pt x="3719" y="4464"/>
                  </a:cubicBezTo>
                  <a:cubicBezTo>
                    <a:pt x="3755" y="4445"/>
                    <a:pt x="3795" y="4435"/>
                    <a:pt x="3840" y="4435"/>
                  </a:cubicBezTo>
                  <a:cubicBezTo>
                    <a:pt x="3880" y="4435"/>
                    <a:pt x="3916" y="4443"/>
                    <a:pt x="3948" y="4459"/>
                  </a:cubicBezTo>
                  <a:cubicBezTo>
                    <a:pt x="3981" y="4475"/>
                    <a:pt x="4006" y="4499"/>
                    <a:pt x="4026" y="4529"/>
                  </a:cubicBezTo>
                  <a:lnTo>
                    <a:pt x="4026" y="4439"/>
                  </a:lnTo>
                  <a:lnTo>
                    <a:pt x="4087" y="4439"/>
                  </a:lnTo>
                  <a:close/>
                  <a:moveTo>
                    <a:pt x="3453" y="4487"/>
                  </a:moveTo>
                  <a:cubicBezTo>
                    <a:pt x="3487" y="4521"/>
                    <a:pt x="3505" y="4570"/>
                    <a:pt x="3505" y="4636"/>
                  </a:cubicBezTo>
                  <a:lnTo>
                    <a:pt x="3505" y="4908"/>
                  </a:lnTo>
                  <a:lnTo>
                    <a:pt x="3441" y="4908"/>
                  </a:lnTo>
                  <a:lnTo>
                    <a:pt x="3441" y="4642"/>
                  </a:lnTo>
                  <a:cubicBezTo>
                    <a:pt x="3441" y="4593"/>
                    <a:pt x="3429" y="4556"/>
                    <a:pt x="3405" y="4531"/>
                  </a:cubicBezTo>
                  <a:cubicBezTo>
                    <a:pt x="3380" y="4505"/>
                    <a:pt x="3345" y="4492"/>
                    <a:pt x="3300" y="4492"/>
                  </a:cubicBezTo>
                  <a:cubicBezTo>
                    <a:pt x="3249" y="4492"/>
                    <a:pt x="3209" y="4507"/>
                    <a:pt x="3180" y="4537"/>
                  </a:cubicBezTo>
                  <a:cubicBezTo>
                    <a:pt x="3150" y="4567"/>
                    <a:pt x="3136" y="4609"/>
                    <a:pt x="3136" y="4662"/>
                  </a:cubicBezTo>
                  <a:lnTo>
                    <a:pt x="3136" y="4908"/>
                  </a:lnTo>
                  <a:lnTo>
                    <a:pt x="3072" y="4908"/>
                  </a:lnTo>
                  <a:lnTo>
                    <a:pt x="3072" y="4439"/>
                  </a:lnTo>
                  <a:lnTo>
                    <a:pt x="3133" y="4439"/>
                  </a:lnTo>
                  <a:lnTo>
                    <a:pt x="3133" y="4525"/>
                  </a:lnTo>
                  <a:cubicBezTo>
                    <a:pt x="3150" y="4497"/>
                    <a:pt x="3174" y="4475"/>
                    <a:pt x="3205" y="4459"/>
                  </a:cubicBezTo>
                  <a:cubicBezTo>
                    <a:pt x="3236" y="4443"/>
                    <a:pt x="3271" y="4435"/>
                    <a:pt x="3312" y="4435"/>
                  </a:cubicBezTo>
                  <a:cubicBezTo>
                    <a:pt x="3371" y="4435"/>
                    <a:pt x="3418" y="4452"/>
                    <a:pt x="3453" y="4487"/>
                  </a:cubicBezTo>
                  <a:close/>
                  <a:moveTo>
                    <a:pt x="2858" y="4439"/>
                  </a:moveTo>
                  <a:lnTo>
                    <a:pt x="2922" y="4439"/>
                  </a:lnTo>
                  <a:lnTo>
                    <a:pt x="2922" y="4908"/>
                  </a:lnTo>
                  <a:lnTo>
                    <a:pt x="2858" y="4908"/>
                  </a:lnTo>
                  <a:lnTo>
                    <a:pt x="2858" y="4439"/>
                  </a:lnTo>
                  <a:close/>
                  <a:moveTo>
                    <a:pt x="2858" y="4323"/>
                  </a:moveTo>
                  <a:cubicBezTo>
                    <a:pt x="2849" y="4314"/>
                    <a:pt x="2844" y="4303"/>
                    <a:pt x="2844" y="4291"/>
                  </a:cubicBezTo>
                  <a:cubicBezTo>
                    <a:pt x="2844" y="4279"/>
                    <a:pt x="2849" y="4268"/>
                    <a:pt x="2858" y="4260"/>
                  </a:cubicBezTo>
                  <a:cubicBezTo>
                    <a:pt x="2867" y="4251"/>
                    <a:pt x="2878" y="4246"/>
                    <a:pt x="2891" y="4246"/>
                  </a:cubicBezTo>
                  <a:cubicBezTo>
                    <a:pt x="2904" y="4246"/>
                    <a:pt x="2915" y="4250"/>
                    <a:pt x="2924" y="4259"/>
                  </a:cubicBezTo>
                  <a:cubicBezTo>
                    <a:pt x="2933" y="4268"/>
                    <a:pt x="2937" y="4278"/>
                    <a:pt x="2937" y="4290"/>
                  </a:cubicBezTo>
                  <a:cubicBezTo>
                    <a:pt x="2937" y="4303"/>
                    <a:pt x="2933" y="4314"/>
                    <a:pt x="2924" y="4323"/>
                  </a:cubicBezTo>
                  <a:cubicBezTo>
                    <a:pt x="2915" y="4332"/>
                    <a:pt x="2904" y="4336"/>
                    <a:pt x="2891" y="4336"/>
                  </a:cubicBezTo>
                  <a:cubicBezTo>
                    <a:pt x="2878" y="4336"/>
                    <a:pt x="2867" y="4332"/>
                    <a:pt x="2858" y="4323"/>
                  </a:cubicBezTo>
                  <a:close/>
                  <a:moveTo>
                    <a:pt x="2643" y="4459"/>
                  </a:moveTo>
                  <a:cubicBezTo>
                    <a:pt x="2673" y="4443"/>
                    <a:pt x="2710" y="4435"/>
                    <a:pt x="2753" y="4435"/>
                  </a:cubicBezTo>
                  <a:lnTo>
                    <a:pt x="2753" y="4497"/>
                  </a:lnTo>
                  <a:lnTo>
                    <a:pt x="2738" y="4496"/>
                  </a:lnTo>
                  <a:cubicBezTo>
                    <a:pt x="2688" y="4496"/>
                    <a:pt x="2650" y="4511"/>
                    <a:pt x="2622" y="4541"/>
                  </a:cubicBezTo>
                  <a:cubicBezTo>
                    <a:pt x="2594" y="4572"/>
                    <a:pt x="2580" y="4614"/>
                    <a:pt x="2580" y="4669"/>
                  </a:cubicBezTo>
                  <a:lnTo>
                    <a:pt x="2580" y="4908"/>
                  </a:lnTo>
                  <a:lnTo>
                    <a:pt x="2516" y="4908"/>
                  </a:lnTo>
                  <a:lnTo>
                    <a:pt x="2516" y="4439"/>
                  </a:lnTo>
                  <a:lnTo>
                    <a:pt x="2577" y="4439"/>
                  </a:lnTo>
                  <a:lnTo>
                    <a:pt x="2577" y="4531"/>
                  </a:lnTo>
                  <a:cubicBezTo>
                    <a:pt x="2592" y="4499"/>
                    <a:pt x="2614" y="4475"/>
                    <a:pt x="2643" y="4459"/>
                  </a:cubicBezTo>
                  <a:close/>
                  <a:moveTo>
                    <a:pt x="2053" y="4533"/>
                  </a:moveTo>
                  <a:cubicBezTo>
                    <a:pt x="2023" y="4562"/>
                    <a:pt x="2005" y="4599"/>
                    <a:pt x="2001" y="4646"/>
                  </a:cubicBezTo>
                  <a:lnTo>
                    <a:pt x="2335" y="4646"/>
                  </a:lnTo>
                  <a:cubicBezTo>
                    <a:pt x="2330" y="4599"/>
                    <a:pt x="2313" y="4562"/>
                    <a:pt x="2282" y="4533"/>
                  </a:cubicBezTo>
                  <a:cubicBezTo>
                    <a:pt x="2252" y="4504"/>
                    <a:pt x="2213" y="4490"/>
                    <a:pt x="2167" y="4490"/>
                  </a:cubicBezTo>
                  <a:cubicBezTo>
                    <a:pt x="2122" y="4490"/>
                    <a:pt x="2084" y="4504"/>
                    <a:pt x="2053" y="4533"/>
                  </a:cubicBezTo>
                  <a:close/>
                  <a:moveTo>
                    <a:pt x="2395" y="4693"/>
                  </a:moveTo>
                  <a:lnTo>
                    <a:pt x="2001" y="4693"/>
                  </a:lnTo>
                  <a:cubicBezTo>
                    <a:pt x="2005" y="4742"/>
                    <a:pt x="2023" y="4781"/>
                    <a:pt x="2057" y="4811"/>
                  </a:cubicBezTo>
                  <a:cubicBezTo>
                    <a:pt x="2091" y="4841"/>
                    <a:pt x="2134" y="4856"/>
                    <a:pt x="2186" y="4856"/>
                  </a:cubicBezTo>
                  <a:cubicBezTo>
                    <a:pt x="2215" y="4856"/>
                    <a:pt x="2242" y="4851"/>
                    <a:pt x="2267" y="4841"/>
                  </a:cubicBezTo>
                  <a:cubicBezTo>
                    <a:pt x="2291" y="4830"/>
                    <a:pt x="2312" y="4815"/>
                    <a:pt x="2330" y="4795"/>
                  </a:cubicBezTo>
                  <a:lnTo>
                    <a:pt x="2366" y="4836"/>
                  </a:lnTo>
                  <a:cubicBezTo>
                    <a:pt x="2345" y="4861"/>
                    <a:pt x="2319" y="4880"/>
                    <a:pt x="2288" y="4893"/>
                  </a:cubicBezTo>
                  <a:cubicBezTo>
                    <a:pt x="2256" y="4906"/>
                    <a:pt x="2222" y="4912"/>
                    <a:pt x="2184" y="4912"/>
                  </a:cubicBezTo>
                  <a:cubicBezTo>
                    <a:pt x="2136" y="4912"/>
                    <a:pt x="2093" y="4902"/>
                    <a:pt x="2056" y="4882"/>
                  </a:cubicBezTo>
                  <a:cubicBezTo>
                    <a:pt x="2019" y="4861"/>
                    <a:pt x="1990" y="4833"/>
                    <a:pt x="1969" y="4796"/>
                  </a:cubicBezTo>
                  <a:cubicBezTo>
                    <a:pt x="1948" y="4760"/>
                    <a:pt x="1938" y="4719"/>
                    <a:pt x="1938" y="4673"/>
                  </a:cubicBezTo>
                  <a:cubicBezTo>
                    <a:pt x="1938" y="4628"/>
                    <a:pt x="1948" y="4587"/>
                    <a:pt x="1968" y="4550"/>
                  </a:cubicBezTo>
                  <a:cubicBezTo>
                    <a:pt x="1988" y="4514"/>
                    <a:pt x="2015" y="4486"/>
                    <a:pt x="2050" y="4466"/>
                  </a:cubicBezTo>
                  <a:cubicBezTo>
                    <a:pt x="2085" y="4445"/>
                    <a:pt x="2124" y="4435"/>
                    <a:pt x="2167" y="4435"/>
                  </a:cubicBezTo>
                  <a:cubicBezTo>
                    <a:pt x="2211" y="4435"/>
                    <a:pt x="2250" y="4445"/>
                    <a:pt x="2285" y="4466"/>
                  </a:cubicBezTo>
                  <a:cubicBezTo>
                    <a:pt x="2319" y="4486"/>
                    <a:pt x="2346" y="4514"/>
                    <a:pt x="2366" y="4550"/>
                  </a:cubicBezTo>
                  <a:cubicBezTo>
                    <a:pt x="2386" y="4586"/>
                    <a:pt x="2395" y="4627"/>
                    <a:pt x="2395" y="4673"/>
                  </a:cubicBezTo>
                  <a:lnTo>
                    <a:pt x="2395" y="4693"/>
                  </a:lnTo>
                  <a:close/>
                  <a:moveTo>
                    <a:pt x="1912" y="4439"/>
                  </a:moveTo>
                  <a:lnTo>
                    <a:pt x="1734" y="4908"/>
                  </a:lnTo>
                  <a:lnTo>
                    <a:pt x="1674" y="4908"/>
                  </a:lnTo>
                  <a:lnTo>
                    <a:pt x="1525" y="4524"/>
                  </a:lnTo>
                  <a:lnTo>
                    <a:pt x="1377" y="4908"/>
                  </a:lnTo>
                  <a:lnTo>
                    <a:pt x="1317" y="4908"/>
                  </a:lnTo>
                  <a:lnTo>
                    <a:pt x="1140" y="4439"/>
                  </a:lnTo>
                  <a:lnTo>
                    <a:pt x="1201" y="4439"/>
                  </a:lnTo>
                  <a:lnTo>
                    <a:pt x="1348" y="4837"/>
                  </a:lnTo>
                  <a:lnTo>
                    <a:pt x="1500" y="4439"/>
                  </a:lnTo>
                  <a:lnTo>
                    <a:pt x="1554" y="4439"/>
                  </a:lnTo>
                  <a:lnTo>
                    <a:pt x="1704" y="4837"/>
                  </a:lnTo>
                  <a:lnTo>
                    <a:pt x="1854" y="4439"/>
                  </a:lnTo>
                  <a:lnTo>
                    <a:pt x="1912" y="4439"/>
                  </a:lnTo>
                  <a:close/>
                  <a:moveTo>
                    <a:pt x="965" y="4833"/>
                  </a:moveTo>
                  <a:cubicBezTo>
                    <a:pt x="992" y="4818"/>
                    <a:pt x="1013" y="4797"/>
                    <a:pt x="1027" y="4769"/>
                  </a:cubicBezTo>
                  <a:cubicBezTo>
                    <a:pt x="1042" y="4741"/>
                    <a:pt x="1050" y="4709"/>
                    <a:pt x="1050" y="4673"/>
                  </a:cubicBezTo>
                  <a:cubicBezTo>
                    <a:pt x="1050" y="4638"/>
                    <a:pt x="1042" y="4606"/>
                    <a:pt x="1027" y="4578"/>
                  </a:cubicBezTo>
                  <a:cubicBezTo>
                    <a:pt x="1013" y="4550"/>
                    <a:pt x="992" y="4528"/>
                    <a:pt x="965" y="4513"/>
                  </a:cubicBezTo>
                  <a:cubicBezTo>
                    <a:pt x="939" y="4498"/>
                    <a:pt x="909" y="4491"/>
                    <a:pt x="875" y="4491"/>
                  </a:cubicBezTo>
                  <a:cubicBezTo>
                    <a:pt x="842" y="4491"/>
                    <a:pt x="812" y="4498"/>
                    <a:pt x="786" y="4513"/>
                  </a:cubicBezTo>
                  <a:cubicBezTo>
                    <a:pt x="759" y="4528"/>
                    <a:pt x="738" y="4550"/>
                    <a:pt x="723" y="4578"/>
                  </a:cubicBezTo>
                  <a:cubicBezTo>
                    <a:pt x="708" y="4606"/>
                    <a:pt x="700" y="4638"/>
                    <a:pt x="700" y="4673"/>
                  </a:cubicBezTo>
                  <a:cubicBezTo>
                    <a:pt x="700" y="4709"/>
                    <a:pt x="708" y="4741"/>
                    <a:pt x="723" y="4769"/>
                  </a:cubicBezTo>
                  <a:cubicBezTo>
                    <a:pt x="738" y="4797"/>
                    <a:pt x="759" y="4818"/>
                    <a:pt x="786" y="4833"/>
                  </a:cubicBezTo>
                  <a:cubicBezTo>
                    <a:pt x="812" y="4849"/>
                    <a:pt x="842" y="4856"/>
                    <a:pt x="875" y="4856"/>
                  </a:cubicBezTo>
                  <a:cubicBezTo>
                    <a:pt x="909" y="4856"/>
                    <a:pt x="939" y="4849"/>
                    <a:pt x="965" y="4833"/>
                  </a:cubicBezTo>
                  <a:close/>
                  <a:moveTo>
                    <a:pt x="753" y="4882"/>
                  </a:moveTo>
                  <a:cubicBezTo>
                    <a:pt x="717" y="4861"/>
                    <a:pt x="688" y="4833"/>
                    <a:pt x="667" y="4796"/>
                  </a:cubicBezTo>
                  <a:cubicBezTo>
                    <a:pt x="646" y="4760"/>
                    <a:pt x="636" y="4719"/>
                    <a:pt x="636" y="4673"/>
                  </a:cubicBezTo>
                  <a:cubicBezTo>
                    <a:pt x="636" y="4628"/>
                    <a:pt x="646" y="4587"/>
                    <a:pt x="667" y="4550"/>
                  </a:cubicBezTo>
                  <a:cubicBezTo>
                    <a:pt x="688" y="4514"/>
                    <a:pt x="717" y="4486"/>
                    <a:pt x="753" y="4466"/>
                  </a:cubicBezTo>
                  <a:cubicBezTo>
                    <a:pt x="789" y="4445"/>
                    <a:pt x="830" y="4435"/>
                    <a:pt x="875" y="4435"/>
                  </a:cubicBezTo>
                  <a:cubicBezTo>
                    <a:pt x="921" y="4435"/>
                    <a:pt x="962" y="4445"/>
                    <a:pt x="998" y="4466"/>
                  </a:cubicBezTo>
                  <a:cubicBezTo>
                    <a:pt x="1034" y="4486"/>
                    <a:pt x="1063" y="4514"/>
                    <a:pt x="1083" y="4550"/>
                  </a:cubicBezTo>
                  <a:cubicBezTo>
                    <a:pt x="1104" y="4587"/>
                    <a:pt x="1114" y="4628"/>
                    <a:pt x="1114" y="4673"/>
                  </a:cubicBezTo>
                  <a:cubicBezTo>
                    <a:pt x="1114" y="4719"/>
                    <a:pt x="1104" y="4760"/>
                    <a:pt x="1083" y="4796"/>
                  </a:cubicBezTo>
                  <a:cubicBezTo>
                    <a:pt x="1063" y="4833"/>
                    <a:pt x="1034" y="4861"/>
                    <a:pt x="998" y="4882"/>
                  </a:cubicBezTo>
                  <a:cubicBezTo>
                    <a:pt x="962" y="4902"/>
                    <a:pt x="921" y="4912"/>
                    <a:pt x="875" y="4912"/>
                  </a:cubicBezTo>
                  <a:cubicBezTo>
                    <a:pt x="830" y="4912"/>
                    <a:pt x="789" y="4902"/>
                    <a:pt x="753" y="4882"/>
                  </a:cubicBezTo>
                  <a:close/>
                  <a:moveTo>
                    <a:pt x="468" y="4612"/>
                  </a:moveTo>
                  <a:cubicBezTo>
                    <a:pt x="501" y="4585"/>
                    <a:pt x="517" y="4547"/>
                    <a:pt x="517" y="4498"/>
                  </a:cubicBezTo>
                  <a:cubicBezTo>
                    <a:pt x="517" y="4447"/>
                    <a:pt x="501" y="4408"/>
                    <a:pt x="468" y="4381"/>
                  </a:cubicBezTo>
                  <a:cubicBezTo>
                    <a:pt x="435" y="4354"/>
                    <a:pt x="388" y="4341"/>
                    <a:pt x="326" y="4341"/>
                  </a:cubicBezTo>
                  <a:lnTo>
                    <a:pt x="159" y="4341"/>
                  </a:lnTo>
                  <a:lnTo>
                    <a:pt x="159" y="4653"/>
                  </a:lnTo>
                  <a:lnTo>
                    <a:pt x="326" y="4653"/>
                  </a:lnTo>
                  <a:cubicBezTo>
                    <a:pt x="388" y="4653"/>
                    <a:pt x="435" y="4639"/>
                    <a:pt x="468" y="4612"/>
                  </a:cubicBezTo>
                  <a:moveTo>
                    <a:pt x="515" y="4341"/>
                  </a:moveTo>
                  <a:cubicBezTo>
                    <a:pt x="560" y="4379"/>
                    <a:pt x="583" y="4431"/>
                    <a:pt x="583" y="4498"/>
                  </a:cubicBezTo>
                  <a:cubicBezTo>
                    <a:pt x="583" y="4564"/>
                    <a:pt x="560" y="4616"/>
                    <a:pt x="515" y="4654"/>
                  </a:cubicBezTo>
                  <a:cubicBezTo>
                    <a:pt x="470" y="4692"/>
                    <a:pt x="407" y="4711"/>
                    <a:pt x="327" y="4711"/>
                  </a:cubicBezTo>
                  <a:lnTo>
                    <a:pt x="159" y="4711"/>
                  </a:lnTo>
                  <a:lnTo>
                    <a:pt x="159" y="4908"/>
                  </a:lnTo>
                  <a:lnTo>
                    <a:pt x="93" y="4908"/>
                  </a:lnTo>
                  <a:lnTo>
                    <a:pt x="93" y="4284"/>
                  </a:lnTo>
                  <a:lnTo>
                    <a:pt x="327" y="4284"/>
                  </a:lnTo>
                  <a:cubicBezTo>
                    <a:pt x="407" y="4284"/>
                    <a:pt x="470" y="4303"/>
                    <a:pt x="515" y="4341"/>
                  </a:cubicBezTo>
                  <a:close/>
                </a:path>
              </a:pathLst>
            </a:custGeom>
            <a:solidFill>
              <a:srgbClr val="112F64"/>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6">
              <a:extLst>
                <a:ext uri="{FF2B5EF4-FFF2-40B4-BE49-F238E27FC236}">
                  <a16:creationId xmlns:a16="http://schemas.microsoft.com/office/drawing/2014/main" id="{A3B23DD1-5EED-45F8-AEA6-3C882D3156E7}"/>
                </a:ext>
              </a:extLst>
            </p:cNvPr>
            <p:cNvSpPr>
              <a:spLocks noEditPoints="1"/>
            </p:cNvSpPr>
            <p:nvPr userDrawn="1"/>
          </p:nvSpPr>
          <p:spPr bwMode="auto">
            <a:xfrm>
              <a:off x="1481" y="1882"/>
              <a:ext cx="4755" cy="713"/>
            </a:xfrm>
            <a:custGeom>
              <a:avLst/>
              <a:gdLst>
                <a:gd name="T0" fmla="*/ 9402 w 9905"/>
                <a:gd name="T1" fmla="*/ 1485 h 1485"/>
                <a:gd name="T2" fmla="*/ 9609 w 9905"/>
                <a:gd name="T3" fmla="*/ 673 h 1485"/>
                <a:gd name="T4" fmla="*/ 9235 w 9905"/>
                <a:gd name="T5" fmla="*/ 387 h 1485"/>
                <a:gd name="T6" fmla="*/ 9645 w 9905"/>
                <a:gd name="T7" fmla="*/ 272 h 1485"/>
                <a:gd name="T8" fmla="*/ 9852 w 9905"/>
                <a:gd name="T9" fmla="*/ 188 h 1485"/>
                <a:gd name="T10" fmla="*/ 9440 w 9905"/>
                <a:gd name="T11" fmla="*/ 0 h 1485"/>
                <a:gd name="T12" fmla="*/ 9297 w 9905"/>
                <a:gd name="T13" fmla="*/ 792 h 1485"/>
                <a:gd name="T14" fmla="*/ 9655 w 9905"/>
                <a:gd name="T15" fmla="*/ 1077 h 1485"/>
                <a:gd name="T16" fmla="*/ 9102 w 9905"/>
                <a:gd name="T17" fmla="*/ 1105 h 1485"/>
                <a:gd name="T18" fmla="*/ 7727 w 9905"/>
                <a:gd name="T19" fmla="*/ 1267 h 1485"/>
                <a:gd name="T20" fmla="*/ 8704 w 9905"/>
                <a:gd name="T21" fmla="*/ 1072 h 1485"/>
                <a:gd name="T22" fmla="*/ 8168 w 9905"/>
                <a:gd name="T23" fmla="*/ 558 h 1485"/>
                <a:gd name="T24" fmla="*/ 8252 w 9905"/>
                <a:gd name="T25" fmla="*/ 227 h 1485"/>
                <a:gd name="T26" fmla="*/ 8543 w 9905"/>
                <a:gd name="T27" fmla="*/ 300 h 1485"/>
                <a:gd name="T28" fmla="*/ 8567 w 9905"/>
                <a:gd name="T29" fmla="*/ 73 h 1485"/>
                <a:gd name="T30" fmla="*/ 7785 w 9905"/>
                <a:gd name="T31" fmla="*/ 395 h 1485"/>
                <a:gd name="T32" fmla="*/ 8292 w 9905"/>
                <a:gd name="T33" fmla="*/ 885 h 1485"/>
                <a:gd name="T34" fmla="*/ 8225 w 9905"/>
                <a:gd name="T35" fmla="*/ 1257 h 1485"/>
                <a:gd name="T36" fmla="*/ 7727 w 9905"/>
                <a:gd name="T37" fmla="*/ 1267 h 1485"/>
                <a:gd name="T38" fmla="*/ 3354 w 9905"/>
                <a:gd name="T39" fmla="*/ 1485 h 1485"/>
                <a:gd name="T40" fmla="*/ 3560 w 9905"/>
                <a:gd name="T41" fmla="*/ 673 h 1485"/>
                <a:gd name="T42" fmla="*/ 3187 w 9905"/>
                <a:gd name="T43" fmla="*/ 387 h 1485"/>
                <a:gd name="T44" fmla="*/ 3597 w 9905"/>
                <a:gd name="T45" fmla="*/ 272 h 1485"/>
                <a:gd name="T46" fmla="*/ 3805 w 9905"/>
                <a:gd name="T47" fmla="*/ 188 h 1485"/>
                <a:gd name="T48" fmla="*/ 3393 w 9905"/>
                <a:gd name="T49" fmla="*/ 0 h 1485"/>
                <a:gd name="T50" fmla="*/ 3250 w 9905"/>
                <a:gd name="T51" fmla="*/ 792 h 1485"/>
                <a:gd name="T52" fmla="*/ 3609 w 9905"/>
                <a:gd name="T53" fmla="*/ 1077 h 1485"/>
                <a:gd name="T54" fmla="*/ 3055 w 9905"/>
                <a:gd name="T55" fmla="*/ 1105 h 1485"/>
                <a:gd name="T56" fmla="*/ 5023 w 9905"/>
                <a:gd name="T57" fmla="*/ 0 h 1485"/>
                <a:gd name="T58" fmla="*/ 4905 w 9905"/>
                <a:gd name="T59" fmla="*/ 1370 h 1485"/>
                <a:gd name="T60" fmla="*/ 5140 w 9905"/>
                <a:gd name="T61" fmla="*/ 1370 h 1485"/>
                <a:gd name="T62" fmla="*/ 5868 w 9905"/>
                <a:gd name="T63" fmla="*/ 1395 h 1485"/>
                <a:gd name="T64" fmla="*/ 6117 w 9905"/>
                <a:gd name="T65" fmla="*/ 1372 h 1485"/>
                <a:gd name="T66" fmla="*/ 5884 w 9905"/>
                <a:gd name="T67" fmla="*/ 10 h 1485"/>
                <a:gd name="T68" fmla="*/ 5152 w 9905"/>
                <a:gd name="T69" fmla="*/ 88 h 1485"/>
                <a:gd name="T70" fmla="*/ 882 w 9905"/>
                <a:gd name="T71" fmla="*/ 682 h 1485"/>
                <a:gd name="T72" fmla="*/ 652 w 9905"/>
                <a:gd name="T73" fmla="*/ 1475 h 1485"/>
                <a:gd name="T74" fmla="*/ 0 w 9905"/>
                <a:gd name="T75" fmla="*/ 122 h 1485"/>
                <a:gd name="T76" fmla="*/ 622 w 9905"/>
                <a:gd name="T77" fmla="*/ 7 h 1485"/>
                <a:gd name="T78" fmla="*/ 882 w 9905"/>
                <a:gd name="T79" fmla="*/ 682 h 1485"/>
                <a:gd name="T80" fmla="*/ 592 w 9905"/>
                <a:gd name="T81" fmla="*/ 595 h 1485"/>
                <a:gd name="T82" fmla="*/ 592 w 9905"/>
                <a:gd name="T83" fmla="*/ 238 h 1485"/>
                <a:gd name="T84" fmla="*/ 237 w 9905"/>
                <a:gd name="T85" fmla="*/ 595 h 1485"/>
                <a:gd name="T86" fmla="*/ 859 w 9905"/>
                <a:gd name="T87" fmla="*/ 1032 h 1485"/>
                <a:gd name="T88" fmla="*/ 237 w 9905"/>
                <a:gd name="T89" fmla="*/ 812 h 1485"/>
                <a:gd name="T90" fmla="*/ 607 w 9905"/>
                <a:gd name="T91" fmla="*/ 1250 h 1485"/>
                <a:gd name="T92" fmla="*/ 7492 w 9905"/>
                <a:gd name="T93" fmla="*/ 125 h 1485"/>
                <a:gd name="T94" fmla="*/ 6642 w 9905"/>
                <a:gd name="T95" fmla="*/ 10 h 1485"/>
                <a:gd name="T96" fmla="*/ 6527 w 9905"/>
                <a:gd name="T97" fmla="*/ 1365 h 1485"/>
                <a:gd name="T98" fmla="*/ 7484 w 9905"/>
                <a:gd name="T99" fmla="*/ 1478 h 1485"/>
                <a:gd name="T100" fmla="*/ 6764 w 9905"/>
                <a:gd name="T101" fmla="*/ 1248 h 1485"/>
                <a:gd name="T102" fmla="*/ 7307 w 9905"/>
                <a:gd name="T103" fmla="*/ 822 h 1485"/>
                <a:gd name="T104" fmla="*/ 7307 w 9905"/>
                <a:gd name="T105" fmla="*/ 592 h 1485"/>
                <a:gd name="T106" fmla="*/ 6764 w 9905"/>
                <a:gd name="T107" fmla="*/ 240 h 1485"/>
                <a:gd name="T108" fmla="*/ 1635 w 9905"/>
                <a:gd name="T109" fmla="*/ 893 h 1485"/>
                <a:gd name="T110" fmla="*/ 1517 w 9905"/>
                <a:gd name="T111" fmla="*/ 0 h 1485"/>
                <a:gd name="T112" fmla="*/ 1399 w 9905"/>
                <a:gd name="T113" fmla="*/ 885 h 1485"/>
                <a:gd name="T114" fmla="*/ 2605 w 9905"/>
                <a:gd name="T115" fmla="*/ 885 h 1485"/>
                <a:gd name="T116" fmla="*/ 2367 w 9905"/>
                <a:gd name="T117" fmla="*/ 7 h 1485"/>
                <a:gd name="T118" fmla="*/ 2002 w 9905"/>
                <a:gd name="T119" fmla="*/ 1260 h 1485"/>
                <a:gd name="T120" fmla="*/ 4320 w 9905"/>
                <a:gd name="T121" fmla="*/ 0 h 1485"/>
                <a:gd name="T122" fmla="*/ 4439 w 9905"/>
                <a:gd name="T123" fmla="*/ 1477 h 1485"/>
                <a:gd name="T124" fmla="*/ 4202 w 9905"/>
                <a:gd name="T125" fmla="*/ 115 h 1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905" h="1485">
                  <a:moveTo>
                    <a:pt x="8929" y="1267"/>
                  </a:moveTo>
                  <a:cubicBezTo>
                    <a:pt x="8959" y="1305"/>
                    <a:pt x="9097" y="1485"/>
                    <a:pt x="9402" y="1485"/>
                  </a:cubicBezTo>
                  <a:cubicBezTo>
                    <a:pt x="9700" y="1485"/>
                    <a:pt x="9905" y="1313"/>
                    <a:pt x="9905" y="1072"/>
                  </a:cubicBezTo>
                  <a:cubicBezTo>
                    <a:pt x="9905" y="913"/>
                    <a:pt x="9842" y="787"/>
                    <a:pt x="9609" y="673"/>
                  </a:cubicBezTo>
                  <a:cubicBezTo>
                    <a:pt x="9545" y="643"/>
                    <a:pt x="9368" y="558"/>
                    <a:pt x="9368" y="558"/>
                  </a:cubicBezTo>
                  <a:cubicBezTo>
                    <a:pt x="9277" y="513"/>
                    <a:pt x="9235" y="460"/>
                    <a:pt x="9235" y="387"/>
                  </a:cubicBezTo>
                  <a:cubicBezTo>
                    <a:pt x="9235" y="310"/>
                    <a:pt x="9298" y="227"/>
                    <a:pt x="9452" y="227"/>
                  </a:cubicBezTo>
                  <a:cubicBezTo>
                    <a:pt x="9540" y="227"/>
                    <a:pt x="9609" y="255"/>
                    <a:pt x="9645" y="272"/>
                  </a:cubicBezTo>
                  <a:cubicBezTo>
                    <a:pt x="9662" y="280"/>
                    <a:pt x="9704" y="300"/>
                    <a:pt x="9743" y="300"/>
                  </a:cubicBezTo>
                  <a:cubicBezTo>
                    <a:pt x="9795" y="300"/>
                    <a:pt x="9852" y="263"/>
                    <a:pt x="9852" y="188"/>
                  </a:cubicBezTo>
                  <a:cubicBezTo>
                    <a:pt x="9852" y="125"/>
                    <a:pt x="9807" y="92"/>
                    <a:pt x="9767" y="73"/>
                  </a:cubicBezTo>
                  <a:cubicBezTo>
                    <a:pt x="9704" y="43"/>
                    <a:pt x="9605" y="0"/>
                    <a:pt x="9440" y="0"/>
                  </a:cubicBezTo>
                  <a:cubicBezTo>
                    <a:pt x="9179" y="0"/>
                    <a:pt x="8985" y="165"/>
                    <a:pt x="8985" y="395"/>
                  </a:cubicBezTo>
                  <a:cubicBezTo>
                    <a:pt x="8985" y="605"/>
                    <a:pt x="9125" y="710"/>
                    <a:pt x="9297" y="792"/>
                  </a:cubicBezTo>
                  <a:cubicBezTo>
                    <a:pt x="9329" y="807"/>
                    <a:pt x="9455" y="868"/>
                    <a:pt x="9490" y="885"/>
                  </a:cubicBezTo>
                  <a:cubicBezTo>
                    <a:pt x="9598" y="937"/>
                    <a:pt x="9655" y="987"/>
                    <a:pt x="9655" y="1077"/>
                  </a:cubicBezTo>
                  <a:cubicBezTo>
                    <a:pt x="9655" y="1175"/>
                    <a:pt x="9564" y="1257"/>
                    <a:pt x="9425" y="1257"/>
                  </a:cubicBezTo>
                  <a:cubicBezTo>
                    <a:pt x="9227" y="1257"/>
                    <a:pt x="9120" y="1127"/>
                    <a:pt x="9102" y="1105"/>
                  </a:cubicBezTo>
                  <a:lnTo>
                    <a:pt x="8929" y="1267"/>
                  </a:lnTo>
                  <a:close/>
                  <a:moveTo>
                    <a:pt x="7727" y="1267"/>
                  </a:moveTo>
                  <a:cubicBezTo>
                    <a:pt x="7757" y="1305"/>
                    <a:pt x="7897" y="1485"/>
                    <a:pt x="8202" y="1485"/>
                  </a:cubicBezTo>
                  <a:cubicBezTo>
                    <a:pt x="8500" y="1485"/>
                    <a:pt x="8704" y="1313"/>
                    <a:pt x="8704" y="1072"/>
                  </a:cubicBezTo>
                  <a:cubicBezTo>
                    <a:pt x="8704" y="913"/>
                    <a:pt x="8642" y="787"/>
                    <a:pt x="8407" y="673"/>
                  </a:cubicBezTo>
                  <a:cubicBezTo>
                    <a:pt x="8345" y="643"/>
                    <a:pt x="8168" y="558"/>
                    <a:pt x="8168" y="558"/>
                  </a:cubicBezTo>
                  <a:cubicBezTo>
                    <a:pt x="8075" y="513"/>
                    <a:pt x="8034" y="460"/>
                    <a:pt x="8034" y="387"/>
                  </a:cubicBezTo>
                  <a:cubicBezTo>
                    <a:pt x="8034" y="310"/>
                    <a:pt x="8097" y="227"/>
                    <a:pt x="8252" y="227"/>
                  </a:cubicBezTo>
                  <a:cubicBezTo>
                    <a:pt x="8340" y="227"/>
                    <a:pt x="8407" y="255"/>
                    <a:pt x="8443" y="272"/>
                  </a:cubicBezTo>
                  <a:cubicBezTo>
                    <a:pt x="8462" y="280"/>
                    <a:pt x="8504" y="300"/>
                    <a:pt x="8543" y="300"/>
                  </a:cubicBezTo>
                  <a:cubicBezTo>
                    <a:pt x="8595" y="300"/>
                    <a:pt x="8652" y="263"/>
                    <a:pt x="8652" y="188"/>
                  </a:cubicBezTo>
                  <a:cubicBezTo>
                    <a:pt x="8652" y="125"/>
                    <a:pt x="8607" y="92"/>
                    <a:pt x="8567" y="73"/>
                  </a:cubicBezTo>
                  <a:cubicBezTo>
                    <a:pt x="8504" y="43"/>
                    <a:pt x="8404" y="0"/>
                    <a:pt x="8240" y="0"/>
                  </a:cubicBezTo>
                  <a:cubicBezTo>
                    <a:pt x="7979" y="0"/>
                    <a:pt x="7785" y="165"/>
                    <a:pt x="7785" y="395"/>
                  </a:cubicBezTo>
                  <a:cubicBezTo>
                    <a:pt x="7785" y="605"/>
                    <a:pt x="7927" y="710"/>
                    <a:pt x="8097" y="792"/>
                  </a:cubicBezTo>
                  <a:cubicBezTo>
                    <a:pt x="8130" y="807"/>
                    <a:pt x="8257" y="868"/>
                    <a:pt x="8292" y="885"/>
                  </a:cubicBezTo>
                  <a:cubicBezTo>
                    <a:pt x="8398" y="937"/>
                    <a:pt x="8455" y="987"/>
                    <a:pt x="8455" y="1077"/>
                  </a:cubicBezTo>
                  <a:cubicBezTo>
                    <a:pt x="8455" y="1175"/>
                    <a:pt x="8364" y="1257"/>
                    <a:pt x="8225" y="1257"/>
                  </a:cubicBezTo>
                  <a:cubicBezTo>
                    <a:pt x="8025" y="1257"/>
                    <a:pt x="7920" y="1127"/>
                    <a:pt x="7902" y="1105"/>
                  </a:cubicBezTo>
                  <a:lnTo>
                    <a:pt x="7727" y="1267"/>
                  </a:lnTo>
                  <a:close/>
                  <a:moveTo>
                    <a:pt x="2880" y="1267"/>
                  </a:moveTo>
                  <a:cubicBezTo>
                    <a:pt x="2910" y="1305"/>
                    <a:pt x="3049" y="1485"/>
                    <a:pt x="3354" y="1485"/>
                  </a:cubicBezTo>
                  <a:cubicBezTo>
                    <a:pt x="3654" y="1485"/>
                    <a:pt x="3857" y="1313"/>
                    <a:pt x="3857" y="1072"/>
                  </a:cubicBezTo>
                  <a:cubicBezTo>
                    <a:pt x="3857" y="913"/>
                    <a:pt x="3795" y="787"/>
                    <a:pt x="3560" y="673"/>
                  </a:cubicBezTo>
                  <a:cubicBezTo>
                    <a:pt x="3497" y="643"/>
                    <a:pt x="3322" y="558"/>
                    <a:pt x="3322" y="558"/>
                  </a:cubicBezTo>
                  <a:cubicBezTo>
                    <a:pt x="3229" y="513"/>
                    <a:pt x="3187" y="460"/>
                    <a:pt x="3187" y="387"/>
                  </a:cubicBezTo>
                  <a:cubicBezTo>
                    <a:pt x="3187" y="310"/>
                    <a:pt x="3250" y="227"/>
                    <a:pt x="3405" y="227"/>
                  </a:cubicBezTo>
                  <a:cubicBezTo>
                    <a:pt x="3493" y="227"/>
                    <a:pt x="3562" y="255"/>
                    <a:pt x="3597" y="272"/>
                  </a:cubicBezTo>
                  <a:cubicBezTo>
                    <a:pt x="3615" y="280"/>
                    <a:pt x="3657" y="300"/>
                    <a:pt x="3697" y="300"/>
                  </a:cubicBezTo>
                  <a:cubicBezTo>
                    <a:pt x="3749" y="300"/>
                    <a:pt x="3805" y="263"/>
                    <a:pt x="3805" y="188"/>
                  </a:cubicBezTo>
                  <a:cubicBezTo>
                    <a:pt x="3805" y="125"/>
                    <a:pt x="3760" y="92"/>
                    <a:pt x="3720" y="73"/>
                  </a:cubicBezTo>
                  <a:cubicBezTo>
                    <a:pt x="3657" y="43"/>
                    <a:pt x="3559" y="0"/>
                    <a:pt x="3393" y="0"/>
                  </a:cubicBezTo>
                  <a:cubicBezTo>
                    <a:pt x="3132" y="0"/>
                    <a:pt x="2939" y="165"/>
                    <a:pt x="2939" y="395"/>
                  </a:cubicBezTo>
                  <a:cubicBezTo>
                    <a:pt x="2939" y="605"/>
                    <a:pt x="3080" y="710"/>
                    <a:pt x="3250" y="792"/>
                  </a:cubicBezTo>
                  <a:cubicBezTo>
                    <a:pt x="3282" y="807"/>
                    <a:pt x="3409" y="868"/>
                    <a:pt x="3443" y="885"/>
                  </a:cubicBezTo>
                  <a:cubicBezTo>
                    <a:pt x="3552" y="937"/>
                    <a:pt x="3609" y="987"/>
                    <a:pt x="3609" y="1077"/>
                  </a:cubicBezTo>
                  <a:cubicBezTo>
                    <a:pt x="3609" y="1175"/>
                    <a:pt x="3517" y="1257"/>
                    <a:pt x="3379" y="1257"/>
                  </a:cubicBezTo>
                  <a:cubicBezTo>
                    <a:pt x="3180" y="1257"/>
                    <a:pt x="3074" y="1127"/>
                    <a:pt x="3055" y="1105"/>
                  </a:cubicBezTo>
                  <a:lnTo>
                    <a:pt x="2880" y="1267"/>
                  </a:lnTo>
                  <a:close/>
                  <a:moveTo>
                    <a:pt x="5023" y="0"/>
                  </a:moveTo>
                  <a:cubicBezTo>
                    <a:pt x="4952" y="0"/>
                    <a:pt x="4905" y="52"/>
                    <a:pt x="4905" y="113"/>
                  </a:cubicBezTo>
                  <a:lnTo>
                    <a:pt x="4905" y="1370"/>
                  </a:lnTo>
                  <a:cubicBezTo>
                    <a:pt x="4905" y="1433"/>
                    <a:pt x="4960" y="1483"/>
                    <a:pt x="5023" y="1483"/>
                  </a:cubicBezTo>
                  <a:cubicBezTo>
                    <a:pt x="5085" y="1483"/>
                    <a:pt x="5140" y="1433"/>
                    <a:pt x="5140" y="1370"/>
                  </a:cubicBezTo>
                  <a:lnTo>
                    <a:pt x="5140" y="463"/>
                  </a:lnTo>
                  <a:cubicBezTo>
                    <a:pt x="5140" y="463"/>
                    <a:pt x="5717" y="1200"/>
                    <a:pt x="5868" y="1395"/>
                  </a:cubicBezTo>
                  <a:cubicBezTo>
                    <a:pt x="5907" y="1443"/>
                    <a:pt x="5934" y="1485"/>
                    <a:pt x="6002" y="1485"/>
                  </a:cubicBezTo>
                  <a:cubicBezTo>
                    <a:pt x="6070" y="1485"/>
                    <a:pt x="6117" y="1435"/>
                    <a:pt x="6117" y="1372"/>
                  </a:cubicBezTo>
                  <a:lnTo>
                    <a:pt x="6117" y="10"/>
                  </a:lnTo>
                  <a:lnTo>
                    <a:pt x="5884" y="10"/>
                  </a:lnTo>
                  <a:lnTo>
                    <a:pt x="5884" y="1027"/>
                  </a:lnTo>
                  <a:cubicBezTo>
                    <a:pt x="5884" y="1027"/>
                    <a:pt x="5242" y="203"/>
                    <a:pt x="5152" y="88"/>
                  </a:cubicBezTo>
                  <a:cubicBezTo>
                    <a:pt x="5110" y="35"/>
                    <a:pt x="5079" y="0"/>
                    <a:pt x="5023" y="0"/>
                  </a:cubicBezTo>
                  <a:close/>
                  <a:moveTo>
                    <a:pt x="882" y="682"/>
                  </a:moveTo>
                  <a:cubicBezTo>
                    <a:pt x="924" y="702"/>
                    <a:pt x="1099" y="777"/>
                    <a:pt x="1099" y="1037"/>
                  </a:cubicBezTo>
                  <a:cubicBezTo>
                    <a:pt x="1099" y="1283"/>
                    <a:pt x="915" y="1475"/>
                    <a:pt x="652" y="1475"/>
                  </a:cubicBezTo>
                  <a:lnTo>
                    <a:pt x="0" y="1475"/>
                  </a:lnTo>
                  <a:lnTo>
                    <a:pt x="0" y="122"/>
                  </a:lnTo>
                  <a:cubicBezTo>
                    <a:pt x="0" y="53"/>
                    <a:pt x="47" y="7"/>
                    <a:pt x="115" y="7"/>
                  </a:cubicBezTo>
                  <a:lnTo>
                    <a:pt x="622" y="7"/>
                  </a:lnTo>
                  <a:cubicBezTo>
                    <a:pt x="868" y="7"/>
                    <a:pt x="1030" y="155"/>
                    <a:pt x="1030" y="380"/>
                  </a:cubicBezTo>
                  <a:cubicBezTo>
                    <a:pt x="1030" y="572"/>
                    <a:pt x="922" y="657"/>
                    <a:pt x="882" y="682"/>
                  </a:cubicBezTo>
                  <a:moveTo>
                    <a:pt x="237" y="595"/>
                  </a:moveTo>
                  <a:lnTo>
                    <a:pt x="592" y="595"/>
                  </a:lnTo>
                  <a:cubicBezTo>
                    <a:pt x="718" y="595"/>
                    <a:pt x="790" y="515"/>
                    <a:pt x="790" y="417"/>
                  </a:cubicBezTo>
                  <a:cubicBezTo>
                    <a:pt x="790" y="318"/>
                    <a:pt x="725" y="238"/>
                    <a:pt x="592" y="238"/>
                  </a:cubicBezTo>
                  <a:lnTo>
                    <a:pt x="237" y="238"/>
                  </a:lnTo>
                  <a:lnTo>
                    <a:pt x="237" y="595"/>
                  </a:lnTo>
                  <a:close/>
                  <a:moveTo>
                    <a:pt x="607" y="1250"/>
                  </a:moveTo>
                  <a:cubicBezTo>
                    <a:pt x="774" y="1250"/>
                    <a:pt x="859" y="1152"/>
                    <a:pt x="859" y="1032"/>
                  </a:cubicBezTo>
                  <a:cubicBezTo>
                    <a:pt x="859" y="910"/>
                    <a:pt x="777" y="812"/>
                    <a:pt x="607" y="812"/>
                  </a:cubicBezTo>
                  <a:lnTo>
                    <a:pt x="237" y="812"/>
                  </a:lnTo>
                  <a:lnTo>
                    <a:pt x="237" y="1250"/>
                  </a:lnTo>
                  <a:lnTo>
                    <a:pt x="607" y="1250"/>
                  </a:lnTo>
                  <a:close/>
                  <a:moveTo>
                    <a:pt x="7367" y="240"/>
                  </a:moveTo>
                  <a:cubicBezTo>
                    <a:pt x="7445" y="240"/>
                    <a:pt x="7492" y="190"/>
                    <a:pt x="7492" y="125"/>
                  </a:cubicBezTo>
                  <a:cubicBezTo>
                    <a:pt x="7492" y="60"/>
                    <a:pt x="7443" y="10"/>
                    <a:pt x="7367" y="10"/>
                  </a:cubicBezTo>
                  <a:lnTo>
                    <a:pt x="6642" y="10"/>
                  </a:lnTo>
                  <a:cubicBezTo>
                    <a:pt x="6575" y="10"/>
                    <a:pt x="6527" y="58"/>
                    <a:pt x="6527" y="125"/>
                  </a:cubicBezTo>
                  <a:lnTo>
                    <a:pt x="6527" y="1365"/>
                  </a:lnTo>
                  <a:cubicBezTo>
                    <a:pt x="6527" y="1430"/>
                    <a:pt x="6575" y="1478"/>
                    <a:pt x="6642" y="1478"/>
                  </a:cubicBezTo>
                  <a:lnTo>
                    <a:pt x="7484" y="1478"/>
                  </a:lnTo>
                  <a:lnTo>
                    <a:pt x="7484" y="1248"/>
                  </a:lnTo>
                  <a:lnTo>
                    <a:pt x="6764" y="1248"/>
                  </a:lnTo>
                  <a:lnTo>
                    <a:pt x="6764" y="822"/>
                  </a:lnTo>
                  <a:lnTo>
                    <a:pt x="7307" y="822"/>
                  </a:lnTo>
                  <a:cubicBezTo>
                    <a:pt x="7389" y="822"/>
                    <a:pt x="7435" y="773"/>
                    <a:pt x="7435" y="707"/>
                  </a:cubicBezTo>
                  <a:cubicBezTo>
                    <a:pt x="7435" y="640"/>
                    <a:pt x="7390" y="592"/>
                    <a:pt x="7307" y="592"/>
                  </a:cubicBezTo>
                  <a:lnTo>
                    <a:pt x="6764" y="592"/>
                  </a:lnTo>
                  <a:lnTo>
                    <a:pt x="6764" y="240"/>
                  </a:lnTo>
                  <a:lnTo>
                    <a:pt x="7367" y="240"/>
                  </a:lnTo>
                  <a:close/>
                  <a:moveTo>
                    <a:pt x="1635" y="893"/>
                  </a:moveTo>
                  <a:lnTo>
                    <a:pt x="1635" y="115"/>
                  </a:lnTo>
                  <a:cubicBezTo>
                    <a:pt x="1635" y="52"/>
                    <a:pt x="1589" y="0"/>
                    <a:pt x="1517" y="0"/>
                  </a:cubicBezTo>
                  <a:cubicBezTo>
                    <a:pt x="1443" y="0"/>
                    <a:pt x="1399" y="52"/>
                    <a:pt x="1399" y="115"/>
                  </a:cubicBezTo>
                  <a:lnTo>
                    <a:pt x="1399" y="885"/>
                  </a:lnTo>
                  <a:cubicBezTo>
                    <a:pt x="1399" y="1215"/>
                    <a:pt x="1630" y="1483"/>
                    <a:pt x="2002" y="1483"/>
                  </a:cubicBezTo>
                  <a:cubicBezTo>
                    <a:pt x="2372" y="1483"/>
                    <a:pt x="2605" y="1215"/>
                    <a:pt x="2605" y="885"/>
                  </a:cubicBezTo>
                  <a:lnTo>
                    <a:pt x="2605" y="7"/>
                  </a:lnTo>
                  <a:lnTo>
                    <a:pt x="2367" y="7"/>
                  </a:lnTo>
                  <a:lnTo>
                    <a:pt x="2367" y="892"/>
                  </a:lnTo>
                  <a:cubicBezTo>
                    <a:pt x="2367" y="1087"/>
                    <a:pt x="2237" y="1260"/>
                    <a:pt x="2002" y="1260"/>
                  </a:cubicBezTo>
                  <a:cubicBezTo>
                    <a:pt x="1765" y="1262"/>
                    <a:pt x="1635" y="1088"/>
                    <a:pt x="1635" y="893"/>
                  </a:cubicBezTo>
                  <a:close/>
                  <a:moveTo>
                    <a:pt x="4320" y="0"/>
                  </a:moveTo>
                  <a:cubicBezTo>
                    <a:pt x="4393" y="0"/>
                    <a:pt x="4439" y="52"/>
                    <a:pt x="4439" y="115"/>
                  </a:cubicBezTo>
                  <a:lnTo>
                    <a:pt x="4439" y="1477"/>
                  </a:lnTo>
                  <a:lnTo>
                    <a:pt x="4202" y="1477"/>
                  </a:lnTo>
                  <a:lnTo>
                    <a:pt x="4202" y="115"/>
                  </a:lnTo>
                  <a:cubicBezTo>
                    <a:pt x="4202" y="52"/>
                    <a:pt x="4247" y="0"/>
                    <a:pt x="4320" y="0"/>
                  </a:cubicBezTo>
                  <a:close/>
                </a:path>
              </a:pathLst>
            </a:custGeom>
            <a:solidFill>
              <a:srgbClr val="0D62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08411997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Open / Close 2">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01715D-BBCC-4185-A6D8-5FD229113338}"/>
              </a:ext>
            </a:extLst>
          </p:cNvPr>
          <p:cNvSpPr>
            <a:spLocks noGrp="1"/>
          </p:cNvSpPr>
          <p:nvPr>
            <p:ph type="ctrTitle" hasCustomPrompt="1"/>
          </p:nvPr>
        </p:nvSpPr>
        <p:spPr>
          <a:xfrm>
            <a:off x="419286" y="1870075"/>
            <a:ext cx="8735827" cy="2286000"/>
          </a:xfrm>
        </p:spPr>
        <p:txBody>
          <a:bodyPr lIns="0" tIns="0" rIns="0" bIns="0" anchor="ctr">
            <a:noAutofit/>
          </a:bodyPr>
          <a:lstStyle>
            <a:lvl1pPr algn="l">
              <a:defRPr sz="8000">
                <a:solidFill>
                  <a:schemeClr val="bg1"/>
                </a:solidFill>
              </a:defRPr>
            </a:lvl1pPr>
          </a:lstStyle>
          <a:p>
            <a:r>
              <a:rPr lang="en-US"/>
              <a:t>Welcome/Thank You, 80pt </a:t>
            </a:r>
            <a:r>
              <a:rPr lang="en-GB"/>
              <a:t>Regular</a:t>
            </a:r>
            <a:endParaRPr lang="en-US"/>
          </a:p>
        </p:txBody>
      </p:sp>
      <p:grpSp>
        <p:nvGrpSpPr>
          <p:cNvPr id="5" name="Group 4">
            <a:extLst>
              <a:ext uri="{FF2B5EF4-FFF2-40B4-BE49-F238E27FC236}">
                <a16:creationId xmlns:a16="http://schemas.microsoft.com/office/drawing/2014/main" id="{BCCF4974-1FF4-44E7-B86D-DF5ADD444AA5}"/>
              </a:ext>
            </a:extLst>
          </p:cNvPr>
          <p:cNvGrpSpPr>
            <a:grpSpLocks noChangeAspect="1"/>
          </p:cNvGrpSpPr>
          <p:nvPr userDrawn="1"/>
        </p:nvGrpSpPr>
        <p:grpSpPr bwMode="auto">
          <a:xfrm>
            <a:off x="457200" y="5518737"/>
            <a:ext cx="1581912" cy="804798"/>
            <a:chOff x="1436" y="934"/>
            <a:chExt cx="4800" cy="2442"/>
          </a:xfrm>
          <a:solidFill>
            <a:srgbClr val="FFFFFF"/>
          </a:solidFill>
        </p:grpSpPr>
        <p:sp>
          <p:nvSpPr>
            <p:cNvPr id="6" name="Freeform 5">
              <a:extLst>
                <a:ext uri="{FF2B5EF4-FFF2-40B4-BE49-F238E27FC236}">
                  <a16:creationId xmlns:a16="http://schemas.microsoft.com/office/drawing/2014/main" id="{BEF7ECB4-FF76-4D2B-9AC7-061A1A097E48}"/>
                </a:ext>
              </a:extLst>
            </p:cNvPr>
            <p:cNvSpPr>
              <a:spLocks noEditPoints="1"/>
            </p:cNvSpPr>
            <p:nvPr userDrawn="1"/>
          </p:nvSpPr>
          <p:spPr bwMode="auto">
            <a:xfrm>
              <a:off x="1436" y="934"/>
              <a:ext cx="4794" cy="2442"/>
            </a:xfrm>
            <a:custGeom>
              <a:avLst/>
              <a:gdLst>
                <a:gd name="T0" fmla="*/ 9572 w 9986"/>
                <a:gd name="T1" fmla="*/ 153 h 5085"/>
                <a:gd name="T2" fmla="*/ 6835 w 9986"/>
                <a:gd name="T3" fmla="*/ 925 h 5085"/>
                <a:gd name="T4" fmla="*/ 6895 w 9986"/>
                <a:gd name="T5" fmla="*/ 780 h 5085"/>
                <a:gd name="T6" fmla="*/ 3251 w 9986"/>
                <a:gd name="T7" fmla="*/ 1478 h 5085"/>
                <a:gd name="T8" fmla="*/ 4555 w 9986"/>
                <a:gd name="T9" fmla="*/ 55 h 5085"/>
                <a:gd name="T10" fmla="*/ 5001 w 9986"/>
                <a:gd name="T11" fmla="*/ 740 h 5085"/>
                <a:gd name="T12" fmla="*/ 1260 w 9986"/>
                <a:gd name="T13" fmla="*/ 320 h 5085"/>
                <a:gd name="T14" fmla="*/ 738 w 9986"/>
                <a:gd name="T15" fmla="*/ 1331 h 5085"/>
                <a:gd name="T16" fmla="*/ 8772 w 9986"/>
                <a:gd name="T17" fmla="*/ 158 h 5085"/>
                <a:gd name="T18" fmla="*/ 8053 w 9986"/>
                <a:gd name="T19" fmla="*/ 1163 h 5085"/>
                <a:gd name="T20" fmla="*/ 2988 w 9986"/>
                <a:gd name="T21" fmla="*/ 740 h 5085"/>
                <a:gd name="T22" fmla="*/ 9814 w 9986"/>
                <a:gd name="T23" fmla="*/ 4415 h 5085"/>
                <a:gd name="T24" fmla="*/ 9918 w 9986"/>
                <a:gd name="T25" fmla="*/ 4246 h 5085"/>
                <a:gd name="T26" fmla="*/ 9562 w 9986"/>
                <a:gd name="T27" fmla="*/ 4273 h 5085"/>
                <a:gd name="T28" fmla="*/ 9408 w 9986"/>
                <a:gd name="T29" fmla="*/ 4780 h 5085"/>
                <a:gd name="T30" fmla="*/ 9380 w 9986"/>
                <a:gd name="T31" fmla="*/ 4447 h 5085"/>
                <a:gd name="T32" fmla="*/ 9389 w 9986"/>
                <a:gd name="T33" fmla="*/ 4671 h 5085"/>
                <a:gd name="T34" fmla="*/ 8917 w 9986"/>
                <a:gd name="T35" fmla="*/ 4533 h 5085"/>
                <a:gd name="T36" fmla="*/ 9001 w 9986"/>
                <a:gd name="T37" fmla="*/ 4836 h 5085"/>
                <a:gd name="T38" fmla="*/ 8919 w 9986"/>
                <a:gd name="T39" fmla="*/ 4466 h 5085"/>
                <a:gd name="T40" fmla="*/ 8387 w 9986"/>
                <a:gd name="T41" fmla="*/ 4323 h 5085"/>
                <a:gd name="T42" fmla="*/ 8282 w 9986"/>
                <a:gd name="T43" fmla="*/ 4879 h 5085"/>
                <a:gd name="T44" fmla="*/ 8045 w 9986"/>
                <a:gd name="T45" fmla="*/ 4336 h 5085"/>
                <a:gd name="T46" fmla="*/ 8228 w 9986"/>
                <a:gd name="T47" fmla="*/ 4852 h 5085"/>
                <a:gd name="T48" fmla="*/ 7788 w 9986"/>
                <a:gd name="T49" fmla="*/ 4291 h 5085"/>
                <a:gd name="T50" fmla="*/ 7635 w 9986"/>
                <a:gd name="T51" fmla="*/ 4246 h 5085"/>
                <a:gd name="T52" fmla="*/ 7339 w 9986"/>
                <a:gd name="T53" fmla="*/ 4323 h 5085"/>
                <a:gd name="T54" fmla="*/ 7070 w 9986"/>
                <a:gd name="T55" fmla="*/ 4833 h 5085"/>
                <a:gd name="T56" fmla="*/ 6828 w 9986"/>
                <a:gd name="T57" fmla="*/ 4769 h 5085"/>
                <a:gd name="T58" fmla="*/ 6985 w 9986"/>
                <a:gd name="T59" fmla="*/ 4912 h 5085"/>
                <a:gd name="T60" fmla="*/ 6985 w 9986"/>
                <a:gd name="T61" fmla="*/ 4435 h 5085"/>
                <a:gd name="T62" fmla="*/ 6510 w 9986"/>
                <a:gd name="T63" fmla="*/ 4260 h 5085"/>
                <a:gd name="T64" fmla="*/ 6046 w 9986"/>
                <a:gd name="T65" fmla="*/ 4804 h 5085"/>
                <a:gd name="T66" fmla="*/ 6059 w 9986"/>
                <a:gd name="T67" fmla="*/ 4643 h 5085"/>
                <a:gd name="T68" fmla="*/ 6098 w 9986"/>
                <a:gd name="T69" fmla="*/ 4567 h 5085"/>
                <a:gd name="T70" fmla="*/ 6099 w 9986"/>
                <a:gd name="T71" fmla="*/ 4896 h 5085"/>
                <a:gd name="T72" fmla="*/ 5833 w 9986"/>
                <a:gd name="T73" fmla="*/ 4717 h 5085"/>
                <a:gd name="T74" fmla="*/ 5913 w 9986"/>
                <a:gd name="T75" fmla="*/ 4530 h 5085"/>
                <a:gd name="T76" fmla="*/ 5956 w 9986"/>
                <a:gd name="T77" fmla="*/ 4779 h 5085"/>
                <a:gd name="T78" fmla="*/ 5277 w 9986"/>
                <a:gd name="T79" fmla="*/ 4491 h 5085"/>
                <a:gd name="T80" fmla="*/ 5069 w 9986"/>
                <a:gd name="T81" fmla="*/ 4796 h 5085"/>
                <a:gd name="T82" fmla="*/ 5399 w 9986"/>
                <a:gd name="T83" fmla="*/ 4882 h 5085"/>
                <a:gd name="T84" fmla="*/ 4727 w 9986"/>
                <a:gd name="T85" fmla="*/ 4653 h 5085"/>
                <a:gd name="T86" fmla="*/ 4495 w 9986"/>
                <a:gd name="T87" fmla="*/ 4284 h 5085"/>
                <a:gd name="T88" fmla="*/ 3755 w 9986"/>
                <a:gd name="T89" fmla="*/ 4512 h 5085"/>
                <a:gd name="T90" fmla="*/ 4028 w 9986"/>
                <a:gd name="T91" fmla="*/ 5028 h 5085"/>
                <a:gd name="T92" fmla="*/ 4023 w 9986"/>
                <a:gd name="T93" fmla="*/ 4799 h 5085"/>
                <a:gd name="T94" fmla="*/ 3948 w 9986"/>
                <a:gd name="T95" fmla="*/ 4459 h 5085"/>
                <a:gd name="T96" fmla="*/ 3405 w 9986"/>
                <a:gd name="T97" fmla="*/ 4531 h 5085"/>
                <a:gd name="T98" fmla="*/ 3205 w 9986"/>
                <a:gd name="T99" fmla="*/ 4459 h 5085"/>
                <a:gd name="T100" fmla="*/ 2844 w 9986"/>
                <a:gd name="T101" fmla="*/ 4291 h 5085"/>
                <a:gd name="T102" fmla="*/ 2753 w 9986"/>
                <a:gd name="T103" fmla="*/ 4435 h 5085"/>
                <a:gd name="T104" fmla="*/ 2577 w 9986"/>
                <a:gd name="T105" fmla="*/ 4531 h 5085"/>
                <a:gd name="T106" fmla="*/ 2001 w 9986"/>
                <a:gd name="T107" fmla="*/ 4693 h 5085"/>
                <a:gd name="T108" fmla="*/ 1969 w 9986"/>
                <a:gd name="T109" fmla="*/ 4796 h 5085"/>
                <a:gd name="T110" fmla="*/ 1912 w 9986"/>
                <a:gd name="T111" fmla="*/ 4439 h 5085"/>
                <a:gd name="T112" fmla="*/ 1500 w 9986"/>
                <a:gd name="T113" fmla="*/ 4439 h 5085"/>
                <a:gd name="T114" fmla="*/ 965 w 9986"/>
                <a:gd name="T115" fmla="*/ 4513 h 5085"/>
                <a:gd name="T116" fmla="*/ 753 w 9986"/>
                <a:gd name="T117" fmla="*/ 4882 h 5085"/>
                <a:gd name="T118" fmla="*/ 1083 w 9986"/>
                <a:gd name="T119" fmla="*/ 4796 h 5085"/>
                <a:gd name="T120" fmla="*/ 159 w 9986"/>
                <a:gd name="T121" fmla="*/ 4653 h 5085"/>
                <a:gd name="T122" fmla="*/ 93 w 9986"/>
                <a:gd name="T123" fmla="*/ 4908 h 5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986" h="5085">
                  <a:moveTo>
                    <a:pt x="9986" y="81"/>
                  </a:moveTo>
                  <a:cubicBezTo>
                    <a:pt x="9986" y="41"/>
                    <a:pt x="9953" y="8"/>
                    <a:pt x="9913" y="8"/>
                  </a:cubicBezTo>
                  <a:lnTo>
                    <a:pt x="9093" y="8"/>
                  </a:lnTo>
                  <a:cubicBezTo>
                    <a:pt x="9053" y="8"/>
                    <a:pt x="9020" y="40"/>
                    <a:pt x="9020" y="81"/>
                  </a:cubicBezTo>
                  <a:cubicBezTo>
                    <a:pt x="9020" y="121"/>
                    <a:pt x="9051" y="153"/>
                    <a:pt x="9093" y="153"/>
                  </a:cubicBezTo>
                  <a:lnTo>
                    <a:pt x="9438" y="153"/>
                  </a:lnTo>
                  <a:lnTo>
                    <a:pt x="9438" y="1468"/>
                  </a:lnTo>
                  <a:lnTo>
                    <a:pt x="9572" y="1468"/>
                  </a:lnTo>
                  <a:lnTo>
                    <a:pt x="9572" y="153"/>
                  </a:lnTo>
                  <a:lnTo>
                    <a:pt x="9915" y="153"/>
                  </a:lnTo>
                  <a:cubicBezTo>
                    <a:pt x="9955" y="155"/>
                    <a:pt x="9986" y="121"/>
                    <a:pt x="9986" y="81"/>
                  </a:cubicBezTo>
                  <a:close/>
                  <a:moveTo>
                    <a:pt x="7113" y="1"/>
                  </a:moveTo>
                  <a:cubicBezTo>
                    <a:pt x="7085" y="1"/>
                    <a:pt x="7065" y="20"/>
                    <a:pt x="7051" y="43"/>
                  </a:cubicBezTo>
                  <a:cubicBezTo>
                    <a:pt x="7040" y="66"/>
                    <a:pt x="6505" y="1386"/>
                    <a:pt x="6505" y="1386"/>
                  </a:cubicBezTo>
                  <a:cubicBezTo>
                    <a:pt x="6501" y="1395"/>
                    <a:pt x="6500" y="1403"/>
                    <a:pt x="6500" y="1411"/>
                  </a:cubicBezTo>
                  <a:cubicBezTo>
                    <a:pt x="6500" y="1448"/>
                    <a:pt x="6528" y="1476"/>
                    <a:pt x="6565" y="1476"/>
                  </a:cubicBezTo>
                  <a:cubicBezTo>
                    <a:pt x="6593" y="1476"/>
                    <a:pt x="6617" y="1460"/>
                    <a:pt x="6626" y="1435"/>
                  </a:cubicBezTo>
                  <a:lnTo>
                    <a:pt x="6835" y="925"/>
                  </a:lnTo>
                  <a:lnTo>
                    <a:pt x="7393" y="925"/>
                  </a:lnTo>
                  <a:lnTo>
                    <a:pt x="7615" y="1468"/>
                  </a:lnTo>
                  <a:lnTo>
                    <a:pt x="7756" y="1468"/>
                  </a:lnTo>
                  <a:cubicBezTo>
                    <a:pt x="7756" y="1468"/>
                    <a:pt x="7188" y="65"/>
                    <a:pt x="7176" y="41"/>
                  </a:cubicBezTo>
                  <a:cubicBezTo>
                    <a:pt x="7163" y="20"/>
                    <a:pt x="7142" y="1"/>
                    <a:pt x="7113" y="1"/>
                  </a:cubicBezTo>
                  <a:moveTo>
                    <a:pt x="6895" y="780"/>
                  </a:moveTo>
                  <a:lnTo>
                    <a:pt x="7115" y="240"/>
                  </a:lnTo>
                  <a:lnTo>
                    <a:pt x="7335" y="780"/>
                  </a:lnTo>
                  <a:lnTo>
                    <a:pt x="6895" y="780"/>
                  </a:lnTo>
                  <a:close/>
                  <a:moveTo>
                    <a:pt x="4490" y="1"/>
                  </a:moveTo>
                  <a:cubicBezTo>
                    <a:pt x="4463" y="1"/>
                    <a:pt x="4441" y="20"/>
                    <a:pt x="4430" y="41"/>
                  </a:cubicBezTo>
                  <a:cubicBezTo>
                    <a:pt x="4418" y="65"/>
                    <a:pt x="3995" y="1108"/>
                    <a:pt x="3995" y="1108"/>
                  </a:cubicBezTo>
                  <a:cubicBezTo>
                    <a:pt x="3995" y="1108"/>
                    <a:pt x="3572" y="63"/>
                    <a:pt x="3560" y="41"/>
                  </a:cubicBezTo>
                  <a:cubicBezTo>
                    <a:pt x="3548" y="18"/>
                    <a:pt x="3526" y="1"/>
                    <a:pt x="3500" y="1"/>
                  </a:cubicBezTo>
                  <a:cubicBezTo>
                    <a:pt x="3468" y="1"/>
                    <a:pt x="3443" y="25"/>
                    <a:pt x="3435" y="55"/>
                  </a:cubicBezTo>
                  <a:cubicBezTo>
                    <a:pt x="3426" y="85"/>
                    <a:pt x="3188" y="1400"/>
                    <a:pt x="3188" y="1400"/>
                  </a:cubicBezTo>
                  <a:cubicBezTo>
                    <a:pt x="3188" y="1405"/>
                    <a:pt x="3186" y="1408"/>
                    <a:pt x="3186" y="1413"/>
                  </a:cubicBezTo>
                  <a:cubicBezTo>
                    <a:pt x="3186" y="1450"/>
                    <a:pt x="3216" y="1478"/>
                    <a:pt x="3251" y="1478"/>
                  </a:cubicBezTo>
                  <a:cubicBezTo>
                    <a:pt x="3283" y="1478"/>
                    <a:pt x="3310" y="1455"/>
                    <a:pt x="3316" y="1425"/>
                  </a:cubicBezTo>
                  <a:lnTo>
                    <a:pt x="3523" y="300"/>
                  </a:lnTo>
                  <a:cubicBezTo>
                    <a:pt x="3523" y="300"/>
                    <a:pt x="3921" y="1283"/>
                    <a:pt x="3933" y="1306"/>
                  </a:cubicBezTo>
                  <a:cubicBezTo>
                    <a:pt x="3945" y="1330"/>
                    <a:pt x="3966" y="1348"/>
                    <a:pt x="3995" y="1348"/>
                  </a:cubicBezTo>
                  <a:cubicBezTo>
                    <a:pt x="4022" y="1348"/>
                    <a:pt x="4045" y="1330"/>
                    <a:pt x="4056" y="1306"/>
                  </a:cubicBezTo>
                  <a:cubicBezTo>
                    <a:pt x="4068" y="1283"/>
                    <a:pt x="4466" y="300"/>
                    <a:pt x="4466" y="300"/>
                  </a:cubicBezTo>
                  <a:lnTo>
                    <a:pt x="4681" y="1470"/>
                  </a:lnTo>
                  <a:lnTo>
                    <a:pt x="4815" y="1470"/>
                  </a:lnTo>
                  <a:cubicBezTo>
                    <a:pt x="4815" y="1470"/>
                    <a:pt x="4563" y="85"/>
                    <a:pt x="4555" y="55"/>
                  </a:cubicBezTo>
                  <a:cubicBezTo>
                    <a:pt x="4545" y="25"/>
                    <a:pt x="4522" y="1"/>
                    <a:pt x="4490" y="1"/>
                  </a:cubicBezTo>
                  <a:moveTo>
                    <a:pt x="5740" y="146"/>
                  </a:moveTo>
                  <a:cubicBezTo>
                    <a:pt x="5898" y="146"/>
                    <a:pt x="6047" y="208"/>
                    <a:pt x="6158" y="320"/>
                  </a:cubicBezTo>
                  <a:cubicBezTo>
                    <a:pt x="6185" y="346"/>
                    <a:pt x="6235" y="346"/>
                    <a:pt x="6261" y="320"/>
                  </a:cubicBezTo>
                  <a:cubicBezTo>
                    <a:pt x="6275" y="306"/>
                    <a:pt x="6283" y="288"/>
                    <a:pt x="6283" y="268"/>
                  </a:cubicBezTo>
                  <a:cubicBezTo>
                    <a:pt x="6283" y="248"/>
                    <a:pt x="6275" y="230"/>
                    <a:pt x="6261" y="216"/>
                  </a:cubicBezTo>
                  <a:lnTo>
                    <a:pt x="6253" y="208"/>
                  </a:lnTo>
                  <a:cubicBezTo>
                    <a:pt x="6115" y="75"/>
                    <a:pt x="5933" y="1"/>
                    <a:pt x="5740" y="1"/>
                  </a:cubicBezTo>
                  <a:cubicBezTo>
                    <a:pt x="5333" y="1"/>
                    <a:pt x="5001" y="333"/>
                    <a:pt x="5001" y="740"/>
                  </a:cubicBezTo>
                  <a:cubicBezTo>
                    <a:pt x="5001" y="1146"/>
                    <a:pt x="5333" y="1478"/>
                    <a:pt x="5740" y="1478"/>
                  </a:cubicBezTo>
                  <a:cubicBezTo>
                    <a:pt x="5955" y="1478"/>
                    <a:pt x="6148" y="1386"/>
                    <a:pt x="6283" y="1238"/>
                  </a:cubicBezTo>
                  <a:lnTo>
                    <a:pt x="6180" y="1135"/>
                  </a:lnTo>
                  <a:cubicBezTo>
                    <a:pt x="6072" y="1255"/>
                    <a:pt x="5915" y="1331"/>
                    <a:pt x="5740" y="1331"/>
                  </a:cubicBezTo>
                  <a:cubicBezTo>
                    <a:pt x="5413" y="1331"/>
                    <a:pt x="5147" y="1065"/>
                    <a:pt x="5147" y="738"/>
                  </a:cubicBezTo>
                  <a:cubicBezTo>
                    <a:pt x="5147" y="413"/>
                    <a:pt x="5413" y="146"/>
                    <a:pt x="5740" y="146"/>
                  </a:cubicBezTo>
                  <a:moveTo>
                    <a:pt x="736" y="146"/>
                  </a:moveTo>
                  <a:cubicBezTo>
                    <a:pt x="895" y="146"/>
                    <a:pt x="1043" y="208"/>
                    <a:pt x="1156" y="320"/>
                  </a:cubicBezTo>
                  <a:cubicBezTo>
                    <a:pt x="1183" y="346"/>
                    <a:pt x="1233" y="346"/>
                    <a:pt x="1260" y="320"/>
                  </a:cubicBezTo>
                  <a:cubicBezTo>
                    <a:pt x="1273" y="306"/>
                    <a:pt x="1281" y="288"/>
                    <a:pt x="1281" y="268"/>
                  </a:cubicBezTo>
                  <a:cubicBezTo>
                    <a:pt x="1281" y="248"/>
                    <a:pt x="1275" y="230"/>
                    <a:pt x="1260" y="216"/>
                  </a:cubicBezTo>
                  <a:lnTo>
                    <a:pt x="1251" y="208"/>
                  </a:lnTo>
                  <a:cubicBezTo>
                    <a:pt x="1113" y="75"/>
                    <a:pt x="931" y="1"/>
                    <a:pt x="738" y="1"/>
                  </a:cubicBezTo>
                  <a:cubicBezTo>
                    <a:pt x="331" y="1"/>
                    <a:pt x="0" y="333"/>
                    <a:pt x="0" y="740"/>
                  </a:cubicBezTo>
                  <a:cubicBezTo>
                    <a:pt x="0" y="1146"/>
                    <a:pt x="331" y="1478"/>
                    <a:pt x="738" y="1478"/>
                  </a:cubicBezTo>
                  <a:cubicBezTo>
                    <a:pt x="953" y="1478"/>
                    <a:pt x="1147" y="1386"/>
                    <a:pt x="1281" y="1238"/>
                  </a:cubicBezTo>
                  <a:lnTo>
                    <a:pt x="1178" y="1135"/>
                  </a:lnTo>
                  <a:cubicBezTo>
                    <a:pt x="1070" y="1255"/>
                    <a:pt x="911" y="1331"/>
                    <a:pt x="738" y="1331"/>
                  </a:cubicBezTo>
                  <a:cubicBezTo>
                    <a:pt x="411" y="1331"/>
                    <a:pt x="145" y="1065"/>
                    <a:pt x="145" y="738"/>
                  </a:cubicBezTo>
                  <a:cubicBezTo>
                    <a:pt x="143" y="413"/>
                    <a:pt x="410" y="146"/>
                    <a:pt x="736" y="146"/>
                  </a:cubicBezTo>
                  <a:moveTo>
                    <a:pt x="8613" y="748"/>
                  </a:moveTo>
                  <a:cubicBezTo>
                    <a:pt x="8573" y="728"/>
                    <a:pt x="8333" y="603"/>
                    <a:pt x="8298" y="585"/>
                  </a:cubicBezTo>
                  <a:cubicBezTo>
                    <a:pt x="8172" y="520"/>
                    <a:pt x="8126" y="463"/>
                    <a:pt x="8126" y="366"/>
                  </a:cubicBezTo>
                  <a:cubicBezTo>
                    <a:pt x="8126" y="231"/>
                    <a:pt x="8236" y="145"/>
                    <a:pt x="8408" y="145"/>
                  </a:cubicBezTo>
                  <a:cubicBezTo>
                    <a:pt x="8508" y="145"/>
                    <a:pt x="8606" y="188"/>
                    <a:pt x="8663" y="221"/>
                  </a:cubicBezTo>
                  <a:cubicBezTo>
                    <a:pt x="8673" y="226"/>
                    <a:pt x="8686" y="230"/>
                    <a:pt x="8698" y="230"/>
                  </a:cubicBezTo>
                  <a:cubicBezTo>
                    <a:pt x="8738" y="230"/>
                    <a:pt x="8772" y="198"/>
                    <a:pt x="8772" y="158"/>
                  </a:cubicBezTo>
                  <a:cubicBezTo>
                    <a:pt x="8772" y="131"/>
                    <a:pt x="8756" y="108"/>
                    <a:pt x="8735" y="95"/>
                  </a:cubicBezTo>
                  <a:cubicBezTo>
                    <a:pt x="8663" y="55"/>
                    <a:pt x="8542" y="0"/>
                    <a:pt x="8410" y="0"/>
                  </a:cubicBezTo>
                  <a:cubicBezTo>
                    <a:pt x="8158" y="0"/>
                    <a:pt x="7983" y="150"/>
                    <a:pt x="7983" y="366"/>
                  </a:cubicBezTo>
                  <a:cubicBezTo>
                    <a:pt x="7983" y="560"/>
                    <a:pt x="8110" y="651"/>
                    <a:pt x="8235" y="715"/>
                  </a:cubicBezTo>
                  <a:cubicBezTo>
                    <a:pt x="8270" y="733"/>
                    <a:pt x="8513" y="858"/>
                    <a:pt x="8550" y="878"/>
                  </a:cubicBezTo>
                  <a:cubicBezTo>
                    <a:pt x="8647" y="928"/>
                    <a:pt x="8700" y="1005"/>
                    <a:pt x="8700" y="1091"/>
                  </a:cubicBezTo>
                  <a:cubicBezTo>
                    <a:pt x="8700" y="1208"/>
                    <a:pt x="8601" y="1331"/>
                    <a:pt x="8418" y="1331"/>
                  </a:cubicBezTo>
                  <a:cubicBezTo>
                    <a:pt x="8240" y="1331"/>
                    <a:pt x="8101" y="1211"/>
                    <a:pt x="8065" y="1175"/>
                  </a:cubicBezTo>
                  <a:lnTo>
                    <a:pt x="8053" y="1163"/>
                  </a:lnTo>
                  <a:lnTo>
                    <a:pt x="7945" y="1261"/>
                  </a:lnTo>
                  <a:lnTo>
                    <a:pt x="7958" y="1273"/>
                  </a:lnTo>
                  <a:cubicBezTo>
                    <a:pt x="8006" y="1320"/>
                    <a:pt x="8180" y="1475"/>
                    <a:pt x="8418" y="1475"/>
                  </a:cubicBezTo>
                  <a:cubicBezTo>
                    <a:pt x="8685" y="1475"/>
                    <a:pt x="8845" y="1278"/>
                    <a:pt x="8845" y="1088"/>
                  </a:cubicBezTo>
                  <a:cubicBezTo>
                    <a:pt x="8843" y="950"/>
                    <a:pt x="8760" y="825"/>
                    <a:pt x="8613" y="748"/>
                  </a:cubicBezTo>
                  <a:moveTo>
                    <a:pt x="2250" y="1"/>
                  </a:moveTo>
                  <a:cubicBezTo>
                    <a:pt x="1843" y="1"/>
                    <a:pt x="1511" y="333"/>
                    <a:pt x="1511" y="740"/>
                  </a:cubicBezTo>
                  <a:cubicBezTo>
                    <a:pt x="1511" y="1146"/>
                    <a:pt x="1843" y="1478"/>
                    <a:pt x="2250" y="1478"/>
                  </a:cubicBezTo>
                  <a:cubicBezTo>
                    <a:pt x="2656" y="1478"/>
                    <a:pt x="2988" y="1146"/>
                    <a:pt x="2988" y="740"/>
                  </a:cubicBezTo>
                  <a:cubicBezTo>
                    <a:pt x="2988" y="333"/>
                    <a:pt x="2656" y="1"/>
                    <a:pt x="2250" y="1"/>
                  </a:cubicBezTo>
                  <a:moveTo>
                    <a:pt x="2250" y="1331"/>
                  </a:moveTo>
                  <a:cubicBezTo>
                    <a:pt x="1923" y="1331"/>
                    <a:pt x="1656" y="1065"/>
                    <a:pt x="1656" y="738"/>
                  </a:cubicBezTo>
                  <a:cubicBezTo>
                    <a:pt x="1656" y="411"/>
                    <a:pt x="1923" y="145"/>
                    <a:pt x="2250" y="145"/>
                  </a:cubicBezTo>
                  <a:cubicBezTo>
                    <a:pt x="2576" y="145"/>
                    <a:pt x="2843" y="411"/>
                    <a:pt x="2843" y="738"/>
                  </a:cubicBezTo>
                  <a:cubicBezTo>
                    <a:pt x="2841" y="1066"/>
                    <a:pt x="2576" y="1331"/>
                    <a:pt x="2250" y="1331"/>
                  </a:cubicBezTo>
                  <a:close/>
                  <a:moveTo>
                    <a:pt x="9887" y="4438"/>
                  </a:moveTo>
                  <a:lnTo>
                    <a:pt x="9886" y="4303"/>
                  </a:lnTo>
                  <a:lnTo>
                    <a:pt x="9814" y="4415"/>
                  </a:lnTo>
                  <a:lnTo>
                    <a:pt x="9799" y="4415"/>
                  </a:lnTo>
                  <a:lnTo>
                    <a:pt x="9726" y="4306"/>
                  </a:lnTo>
                  <a:lnTo>
                    <a:pt x="9726" y="4438"/>
                  </a:lnTo>
                  <a:lnTo>
                    <a:pt x="9694" y="4438"/>
                  </a:lnTo>
                  <a:lnTo>
                    <a:pt x="9694" y="4246"/>
                  </a:lnTo>
                  <a:lnTo>
                    <a:pt x="9721" y="4246"/>
                  </a:lnTo>
                  <a:lnTo>
                    <a:pt x="9807" y="4377"/>
                  </a:lnTo>
                  <a:lnTo>
                    <a:pt x="9891" y="4246"/>
                  </a:lnTo>
                  <a:lnTo>
                    <a:pt x="9918" y="4246"/>
                  </a:lnTo>
                  <a:lnTo>
                    <a:pt x="9918" y="4438"/>
                  </a:lnTo>
                  <a:lnTo>
                    <a:pt x="9887" y="4438"/>
                  </a:lnTo>
                  <a:close/>
                  <a:moveTo>
                    <a:pt x="9492" y="4246"/>
                  </a:moveTo>
                  <a:lnTo>
                    <a:pt x="9666" y="4246"/>
                  </a:lnTo>
                  <a:lnTo>
                    <a:pt x="9666" y="4273"/>
                  </a:lnTo>
                  <a:lnTo>
                    <a:pt x="9596" y="4273"/>
                  </a:lnTo>
                  <a:lnTo>
                    <a:pt x="9596" y="4438"/>
                  </a:lnTo>
                  <a:lnTo>
                    <a:pt x="9562" y="4438"/>
                  </a:lnTo>
                  <a:lnTo>
                    <a:pt x="9562" y="4273"/>
                  </a:lnTo>
                  <a:lnTo>
                    <a:pt x="9492" y="4273"/>
                  </a:lnTo>
                  <a:lnTo>
                    <a:pt x="9492" y="4246"/>
                  </a:lnTo>
                  <a:close/>
                  <a:moveTo>
                    <a:pt x="9167" y="4896"/>
                  </a:moveTo>
                  <a:cubicBezTo>
                    <a:pt x="9133" y="4885"/>
                    <a:pt x="9105" y="4871"/>
                    <a:pt x="9086" y="4854"/>
                  </a:cubicBezTo>
                  <a:lnTo>
                    <a:pt x="9114" y="4804"/>
                  </a:lnTo>
                  <a:cubicBezTo>
                    <a:pt x="9134" y="4820"/>
                    <a:pt x="9159" y="4833"/>
                    <a:pt x="9188" y="4842"/>
                  </a:cubicBezTo>
                  <a:cubicBezTo>
                    <a:pt x="9218" y="4852"/>
                    <a:pt x="9249" y="4857"/>
                    <a:pt x="9281" y="4857"/>
                  </a:cubicBezTo>
                  <a:cubicBezTo>
                    <a:pt x="9324" y="4857"/>
                    <a:pt x="9356" y="4850"/>
                    <a:pt x="9377" y="4837"/>
                  </a:cubicBezTo>
                  <a:cubicBezTo>
                    <a:pt x="9397" y="4824"/>
                    <a:pt x="9408" y="4805"/>
                    <a:pt x="9408" y="4780"/>
                  </a:cubicBezTo>
                  <a:cubicBezTo>
                    <a:pt x="9408" y="4763"/>
                    <a:pt x="9402" y="4750"/>
                    <a:pt x="9390" y="4740"/>
                  </a:cubicBezTo>
                  <a:cubicBezTo>
                    <a:pt x="9379" y="4730"/>
                    <a:pt x="9365" y="4723"/>
                    <a:pt x="9348" y="4717"/>
                  </a:cubicBezTo>
                  <a:cubicBezTo>
                    <a:pt x="9330" y="4712"/>
                    <a:pt x="9307" y="4708"/>
                    <a:pt x="9279" y="4703"/>
                  </a:cubicBezTo>
                  <a:cubicBezTo>
                    <a:pt x="9241" y="4696"/>
                    <a:pt x="9210" y="4688"/>
                    <a:pt x="9187" y="4681"/>
                  </a:cubicBezTo>
                  <a:cubicBezTo>
                    <a:pt x="9163" y="4674"/>
                    <a:pt x="9144" y="4661"/>
                    <a:pt x="9127" y="4643"/>
                  </a:cubicBezTo>
                  <a:cubicBezTo>
                    <a:pt x="9111" y="4625"/>
                    <a:pt x="9103" y="4601"/>
                    <a:pt x="9103" y="4569"/>
                  </a:cubicBezTo>
                  <a:cubicBezTo>
                    <a:pt x="9103" y="4530"/>
                    <a:pt x="9119" y="4498"/>
                    <a:pt x="9152" y="4473"/>
                  </a:cubicBezTo>
                  <a:cubicBezTo>
                    <a:pt x="9185" y="4448"/>
                    <a:pt x="9230" y="4435"/>
                    <a:pt x="9289" y="4435"/>
                  </a:cubicBezTo>
                  <a:cubicBezTo>
                    <a:pt x="9319" y="4435"/>
                    <a:pt x="9349" y="4439"/>
                    <a:pt x="9380" y="4447"/>
                  </a:cubicBezTo>
                  <a:cubicBezTo>
                    <a:pt x="9410" y="4455"/>
                    <a:pt x="9435" y="4466"/>
                    <a:pt x="9455" y="4479"/>
                  </a:cubicBezTo>
                  <a:lnTo>
                    <a:pt x="9427" y="4530"/>
                  </a:lnTo>
                  <a:cubicBezTo>
                    <a:pt x="9388" y="4503"/>
                    <a:pt x="9342" y="4490"/>
                    <a:pt x="9289" y="4490"/>
                  </a:cubicBezTo>
                  <a:cubicBezTo>
                    <a:pt x="9248" y="4490"/>
                    <a:pt x="9218" y="4497"/>
                    <a:pt x="9197" y="4511"/>
                  </a:cubicBezTo>
                  <a:cubicBezTo>
                    <a:pt x="9176" y="4525"/>
                    <a:pt x="9166" y="4544"/>
                    <a:pt x="9166" y="4567"/>
                  </a:cubicBezTo>
                  <a:cubicBezTo>
                    <a:pt x="9166" y="4585"/>
                    <a:pt x="9172" y="4599"/>
                    <a:pt x="9184" y="4610"/>
                  </a:cubicBezTo>
                  <a:cubicBezTo>
                    <a:pt x="9195" y="4621"/>
                    <a:pt x="9210" y="4629"/>
                    <a:pt x="9227" y="4634"/>
                  </a:cubicBezTo>
                  <a:cubicBezTo>
                    <a:pt x="9244" y="4639"/>
                    <a:pt x="9268" y="4644"/>
                    <a:pt x="9298" y="4649"/>
                  </a:cubicBezTo>
                  <a:cubicBezTo>
                    <a:pt x="9336" y="4656"/>
                    <a:pt x="9366" y="4664"/>
                    <a:pt x="9389" y="4671"/>
                  </a:cubicBezTo>
                  <a:cubicBezTo>
                    <a:pt x="9411" y="4678"/>
                    <a:pt x="9431" y="4690"/>
                    <a:pt x="9447" y="4707"/>
                  </a:cubicBezTo>
                  <a:cubicBezTo>
                    <a:pt x="9463" y="4724"/>
                    <a:pt x="9471" y="4748"/>
                    <a:pt x="9471" y="4779"/>
                  </a:cubicBezTo>
                  <a:cubicBezTo>
                    <a:pt x="9471" y="4820"/>
                    <a:pt x="9454" y="4852"/>
                    <a:pt x="9420" y="4876"/>
                  </a:cubicBezTo>
                  <a:cubicBezTo>
                    <a:pt x="9385" y="4900"/>
                    <a:pt x="9338" y="4912"/>
                    <a:pt x="9277" y="4912"/>
                  </a:cubicBezTo>
                  <a:cubicBezTo>
                    <a:pt x="9239" y="4912"/>
                    <a:pt x="9202" y="4907"/>
                    <a:pt x="9167" y="4896"/>
                  </a:cubicBezTo>
                  <a:moveTo>
                    <a:pt x="8688" y="4533"/>
                  </a:moveTo>
                  <a:cubicBezTo>
                    <a:pt x="8658" y="4562"/>
                    <a:pt x="8640" y="4599"/>
                    <a:pt x="8636" y="4646"/>
                  </a:cubicBezTo>
                  <a:lnTo>
                    <a:pt x="8969" y="4646"/>
                  </a:lnTo>
                  <a:cubicBezTo>
                    <a:pt x="8965" y="4599"/>
                    <a:pt x="8948" y="4562"/>
                    <a:pt x="8917" y="4533"/>
                  </a:cubicBezTo>
                  <a:cubicBezTo>
                    <a:pt x="8886" y="4504"/>
                    <a:pt x="8848" y="4490"/>
                    <a:pt x="8802" y="4490"/>
                  </a:cubicBezTo>
                  <a:cubicBezTo>
                    <a:pt x="8757" y="4490"/>
                    <a:pt x="8719" y="4504"/>
                    <a:pt x="8688" y="4533"/>
                  </a:cubicBezTo>
                  <a:close/>
                  <a:moveTo>
                    <a:pt x="9029" y="4693"/>
                  </a:moveTo>
                  <a:lnTo>
                    <a:pt x="8636" y="4693"/>
                  </a:lnTo>
                  <a:cubicBezTo>
                    <a:pt x="8640" y="4742"/>
                    <a:pt x="8658" y="4781"/>
                    <a:pt x="8692" y="4811"/>
                  </a:cubicBezTo>
                  <a:cubicBezTo>
                    <a:pt x="8726" y="4841"/>
                    <a:pt x="8769" y="4856"/>
                    <a:pt x="8821" y="4856"/>
                  </a:cubicBezTo>
                  <a:cubicBezTo>
                    <a:pt x="8850" y="4856"/>
                    <a:pt x="8877" y="4851"/>
                    <a:pt x="8901" y="4841"/>
                  </a:cubicBezTo>
                  <a:cubicBezTo>
                    <a:pt x="8926" y="4830"/>
                    <a:pt x="8947" y="4815"/>
                    <a:pt x="8965" y="4795"/>
                  </a:cubicBezTo>
                  <a:lnTo>
                    <a:pt x="9001" y="4836"/>
                  </a:lnTo>
                  <a:cubicBezTo>
                    <a:pt x="8980" y="4861"/>
                    <a:pt x="8954" y="4880"/>
                    <a:pt x="8922" y="4893"/>
                  </a:cubicBezTo>
                  <a:cubicBezTo>
                    <a:pt x="8891" y="4906"/>
                    <a:pt x="8857" y="4912"/>
                    <a:pt x="8819" y="4912"/>
                  </a:cubicBezTo>
                  <a:cubicBezTo>
                    <a:pt x="8771" y="4912"/>
                    <a:pt x="8728" y="4902"/>
                    <a:pt x="8691" y="4882"/>
                  </a:cubicBezTo>
                  <a:cubicBezTo>
                    <a:pt x="8654" y="4861"/>
                    <a:pt x="8625" y="4833"/>
                    <a:pt x="8604" y="4796"/>
                  </a:cubicBezTo>
                  <a:cubicBezTo>
                    <a:pt x="8583" y="4760"/>
                    <a:pt x="8572" y="4719"/>
                    <a:pt x="8572" y="4673"/>
                  </a:cubicBezTo>
                  <a:cubicBezTo>
                    <a:pt x="8572" y="4628"/>
                    <a:pt x="8582" y="4587"/>
                    <a:pt x="8602" y="4550"/>
                  </a:cubicBezTo>
                  <a:cubicBezTo>
                    <a:pt x="8622" y="4514"/>
                    <a:pt x="8650" y="4486"/>
                    <a:pt x="8685" y="4466"/>
                  </a:cubicBezTo>
                  <a:cubicBezTo>
                    <a:pt x="8720" y="4445"/>
                    <a:pt x="8759" y="4435"/>
                    <a:pt x="8802" y="4435"/>
                  </a:cubicBezTo>
                  <a:cubicBezTo>
                    <a:pt x="8846" y="4435"/>
                    <a:pt x="8885" y="4445"/>
                    <a:pt x="8919" y="4466"/>
                  </a:cubicBezTo>
                  <a:cubicBezTo>
                    <a:pt x="8954" y="4486"/>
                    <a:pt x="8981" y="4514"/>
                    <a:pt x="9001" y="4550"/>
                  </a:cubicBezTo>
                  <a:cubicBezTo>
                    <a:pt x="9020" y="4586"/>
                    <a:pt x="9030" y="4627"/>
                    <a:pt x="9030" y="4673"/>
                  </a:cubicBezTo>
                  <a:lnTo>
                    <a:pt x="9029" y="4693"/>
                  </a:lnTo>
                  <a:close/>
                  <a:moveTo>
                    <a:pt x="8388" y="4439"/>
                  </a:moveTo>
                  <a:lnTo>
                    <a:pt x="8452" y="4439"/>
                  </a:lnTo>
                  <a:lnTo>
                    <a:pt x="8452" y="4908"/>
                  </a:lnTo>
                  <a:lnTo>
                    <a:pt x="8388" y="4908"/>
                  </a:lnTo>
                  <a:lnTo>
                    <a:pt x="8388" y="4439"/>
                  </a:lnTo>
                  <a:close/>
                  <a:moveTo>
                    <a:pt x="8387" y="4323"/>
                  </a:moveTo>
                  <a:cubicBezTo>
                    <a:pt x="8378" y="4314"/>
                    <a:pt x="8374" y="4303"/>
                    <a:pt x="8374" y="4291"/>
                  </a:cubicBezTo>
                  <a:cubicBezTo>
                    <a:pt x="8374" y="4279"/>
                    <a:pt x="8378" y="4268"/>
                    <a:pt x="8387" y="4260"/>
                  </a:cubicBezTo>
                  <a:cubicBezTo>
                    <a:pt x="8396" y="4251"/>
                    <a:pt x="8407" y="4246"/>
                    <a:pt x="8420" y="4246"/>
                  </a:cubicBezTo>
                  <a:cubicBezTo>
                    <a:pt x="8434" y="4246"/>
                    <a:pt x="8445" y="4250"/>
                    <a:pt x="8454" y="4259"/>
                  </a:cubicBezTo>
                  <a:cubicBezTo>
                    <a:pt x="8462" y="4268"/>
                    <a:pt x="8467" y="4278"/>
                    <a:pt x="8467" y="4290"/>
                  </a:cubicBezTo>
                  <a:cubicBezTo>
                    <a:pt x="8467" y="4303"/>
                    <a:pt x="8462" y="4314"/>
                    <a:pt x="8454" y="4323"/>
                  </a:cubicBezTo>
                  <a:cubicBezTo>
                    <a:pt x="8445" y="4332"/>
                    <a:pt x="8434" y="4336"/>
                    <a:pt x="8420" y="4336"/>
                  </a:cubicBezTo>
                  <a:cubicBezTo>
                    <a:pt x="8407" y="4336"/>
                    <a:pt x="8396" y="4332"/>
                    <a:pt x="8387" y="4323"/>
                  </a:cubicBezTo>
                  <a:close/>
                  <a:moveTo>
                    <a:pt x="8282" y="4879"/>
                  </a:moveTo>
                  <a:cubicBezTo>
                    <a:pt x="8270" y="4890"/>
                    <a:pt x="8255" y="4898"/>
                    <a:pt x="8238" y="4904"/>
                  </a:cubicBezTo>
                  <a:cubicBezTo>
                    <a:pt x="8220" y="4910"/>
                    <a:pt x="8202" y="4912"/>
                    <a:pt x="8183" y="4912"/>
                  </a:cubicBezTo>
                  <a:cubicBezTo>
                    <a:pt x="8139" y="4912"/>
                    <a:pt x="8105" y="4900"/>
                    <a:pt x="8081" y="4877"/>
                  </a:cubicBezTo>
                  <a:cubicBezTo>
                    <a:pt x="8057" y="4853"/>
                    <a:pt x="8045" y="4819"/>
                    <a:pt x="8045" y="4776"/>
                  </a:cubicBezTo>
                  <a:lnTo>
                    <a:pt x="8045" y="4492"/>
                  </a:lnTo>
                  <a:lnTo>
                    <a:pt x="7961" y="4492"/>
                  </a:lnTo>
                  <a:lnTo>
                    <a:pt x="7961" y="4439"/>
                  </a:lnTo>
                  <a:lnTo>
                    <a:pt x="8045" y="4439"/>
                  </a:lnTo>
                  <a:lnTo>
                    <a:pt x="8045" y="4336"/>
                  </a:lnTo>
                  <a:lnTo>
                    <a:pt x="8108" y="4336"/>
                  </a:lnTo>
                  <a:lnTo>
                    <a:pt x="8108" y="4439"/>
                  </a:lnTo>
                  <a:lnTo>
                    <a:pt x="8251" y="4439"/>
                  </a:lnTo>
                  <a:lnTo>
                    <a:pt x="8251" y="4492"/>
                  </a:lnTo>
                  <a:lnTo>
                    <a:pt x="8108" y="4492"/>
                  </a:lnTo>
                  <a:lnTo>
                    <a:pt x="8108" y="4772"/>
                  </a:lnTo>
                  <a:cubicBezTo>
                    <a:pt x="8108" y="4800"/>
                    <a:pt x="8115" y="4822"/>
                    <a:pt x="8129" y="4836"/>
                  </a:cubicBezTo>
                  <a:cubicBezTo>
                    <a:pt x="8143" y="4851"/>
                    <a:pt x="8164" y="4858"/>
                    <a:pt x="8190" y="4858"/>
                  </a:cubicBezTo>
                  <a:cubicBezTo>
                    <a:pt x="8203" y="4858"/>
                    <a:pt x="8216" y="4856"/>
                    <a:pt x="8228" y="4852"/>
                  </a:cubicBezTo>
                  <a:cubicBezTo>
                    <a:pt x="8240" y="4848"/>
                    <a:pt x="8251" y="4842"/>
                    <a:pt x="8260" y="4834"/>
                  </a:cubicBezTo>
                  <a:lnTo>
                    <a:pt x="8282" y="4879"/>
                  </a:lnTo>
                  <a:close/>
                  <a:moveTo>
                    <a:pt x="7803" y="4439"/>
                  </a:moveTo>
                  <a:lnTo>
                    <a:pt x="7866" y="4439"/>
                  </a:lnTo>
                  <a:lnTo>
                    <a:pt x="7866" y="4908"/>
                  </a:lnTo>
                  <a:lnTo>
                    <a:pt x="7803" y="4908"/>
                  </a:lnTo>
                  <a:lnTo>
                    <a:pt x="7803" y="4439"/>
                  </a:lnTo>
                  <a:close/>
                  <a:moveTo>
                    <a:pt x="7802" y="4323"/>
                  </a:moveTo>
                  <a:cubicBezTo>
                    <a:pt x="7793" y="4314"/>
                    <a:pt x="7788" y="4303"/>
                    <a:pt x="7788" y="4291"/>
                  </a:cubicBezTo>
                  <a:cubicBezTo>
                    <a:pt x="7788" y="4279"/>
                    <a:pt x="7793" y="4268"/>
                    <a:pt x="7802" y="4260"/>
                  </a:cubicBezTo>
                  <a:cubicBezTo>
                    <a:pt x="7811" y="4251"/>
                    <a:pt x="7822" y="4246"/>
                    <a:pt x="7835" y="4246"/>
                  </a:cubicBezTo>
                  <a:cubicBezTo>
                    <a:pt x="7848" y="4246"/>
                    <a:pt x="7859" y="4250"/>
                    <a:pt x="7868" y="4259"/>
                  </a:cubicBezTo>
                  <a:cubicBezTo>
                    <a:pt x="7877" y="4268"/>
                    <a:pt x="7881" y="4278"/>
                    <a:pt x="7881" y="4290"/>
                  </a:cubicBezTo>
                  <a:cubicBezTo>
                    <a:pt x="7881" y="4303"/>
                    <a:pt x="7877" y="4314"/>
                    <a:pt x="7868" y="4323"/>
                  </a:cubicBezTo>
                  <a:cubicBezTo>
                    <a:pt x="7859" y="4332"/>
                    <a:pt x="7848" y="4336"/>
                    <a:pt x="7835" y="4336"/>
                  </a:cubicBezTo>
                  <a:cubicBezTo>
                    <a:pt x="7822" y="4336"/>
                    <a:pt x="7811" y="4332"/>
                    <a:pt x="7802" y="4323"/>
                  </a:cubicBezTo>
                  <a:close/>
                  <a:moveTo>
                    <a:pt x="7571" y="4246"/>
                  </a:moveTo>
                  <a:lnTo>
                    <a:pt x="7635" y="4246"/>
                  </a:lnTo>
                  <a:lnTo>
                    <a:pt x="7635" y="4908"/>
                  </a:lnTo>
                  <a:lnTo>
                    <a:pt x="7571" y="4908"/>
                  </a:lnTo>
                  <a:lnTo>
                    <a:pt x="7571" y="4246"/>
                  </a:lnTo>
                  <a:close/>
                  <a:moveTo>
                    <a:pt x="7340" y="4439"/>
                  </a:moveTo>
                  <a:lnTo>
                    <a:pt x="7403" y="4439"/>
                  </a:lnTo>
                  <a:lnTo>
                    <a:pt x="7403" y="4908"/>
                  </a:lnTo>
                  <a:lnTo>
                    <a:pt x="7340" y="4908"/>
                  </a:lnTo>
                  <a:lnTo>
                    <a:pt x="7340" y="4439"/>
                  </a:lnTo>
                  <a:close/>
                  <a:moveTo>
                    <a:pt x="7339" y="4323"/>
                  </a:moveTo>
                  <a:cubicBezTo>
                    <a:pt x="7330" y="4314"/>
                    <a:pt x="7325" y="4303"/>
                    <a:pt x="7325" y="4291"/>
                  </a:cubicBezTo>
                  <a:cubicBezTo>
                    <a:pt x="7325" y="4279"/>
                    <a:pt x="7330" y="4268"/>
                    <a:pt x="7339" y="4260"/>
                  </a:cubicBezTo>
                  <a:cubicBezTo>
                    <a:pt x="7348" y="4251"/>
                    <a:pt x="7359" y="4246"/>
                    <a:pt x="7372" y="4246"/>
                  </a:cubicBezTo>
                  <a:cubicBezTo>
                    <a:pt x="7385" y="4246"/>
                    <a:pt x="7396" y="4250"/>
                    <a:pt x="7405" y="4259"/>
                  </a:cubicBezTo>
                  <a:cubicBezTo>
                    <a:pt x="7414" y="4268"/>
                    <a:pt x="7418" y="4278"/>
                    <a:pt x="7418" y="4290"/>
                  </a:cubicBezTo>
                  <a:cubicBezTo>
                    <a:pt x="7418" y="4303"/>
                    <a:pt x="7414" y="4314"/>
                    <a:pt x="7405" y="4323"/>
                  </a:cubicBezTo>
                  <a:cubicBezTo>
                    <a:pt x="7396" y="4332"/>
                    <a:pt x="7385" y="4336"/>
                    <a:pt x="7372" y="4336"/>
                  </a:cubicBezTo>
                  <a:cubicBezTo>
                    <a:pt x="7359" y="4336"/>
                    <a:pt x="7348" y="4332"/>
                    <a:pt x="7339" y="4323"/>
                  </a:cubicBezTo>
                  <a:close/>
                  <a:moveTo>
                    <a:pt x="7070" y="4833"/>
                  </a:moveTo>
                  <a:cubicBezTo>
                    <a:pt x="7096" y="4818"/>
                    <a:pt x="7117" y="4797"/>
                    <a:pt x="7133" y="4769"/>
                  </a:cubicBezTo>
                  <a:cubicBezTo>
                    <a:pt x="7148" y="4741"/>
                    <a:pt x="7155" y="4709"/>
                    <a:pt x="7155" y="4673"/>
                  </a:cubicBezTo>
                  <a:cubicBezTo>
                    <a:pt x="7155" y="4638"/>
                    <a:pt x="7148" y="4606"/>
                    <a:pt x="7133" y="4578"/>
                  </a:cubicBezTo>
                  <a:cubicBezTo>
                    <a:pt x="7117" y="4550"/>
                    <a:pt x="7096" y="4528"/>
                    <a:pt x="7070" y="4513"/>
                  </a:cubicBezTo>
                  <a:cubicBezTo>
                    <a:pt x="7043" y="4498"/>
                    <a:pt x="7013" y="4491"/>
                    <a:pt x="6980" y="4491"/>
                  </a:cubicBezTo>
                  <a:cubicBezTo>
                    <a:pt x="6947" y="4491"/>
                    <a:pt x="6917" y="4498"/>
                    <a:pt x="6890" y="4513"/>
                  </a:cubicBezTo>
                  <a:cubicBezTo>
                    <a:pt x="6864" y="4528"/>
                    <a:pt x="6843" y="4550"/>
                    <a:pt x="6828" y="4578"/>
                  </a:cubicBezTo>
                  <a:cubicBezTo>
                    <a:pt x="6813" y="4606"/>
                    <a:pt x="6805" y="4638"/>
                    <a:pt x="6805" y="4673"/>
                  </a:cubicBezTo>
                  <a:cubicBezTo>
                    <a:pt x="6805" y="4709"/>
                    <a:pt x="6813" y="4741"/>
                    <a:pt x="6828" y="4769"/>
                  </a:cubicBezTo>
                  <a:cubicBezTo>
                    <a:pt x="6843" y="4797"/>
                    <a:pt x="6864" y="4818"/>
                    <a:pt x="6890" y="4833"/>
                  </a:cubicBezTo>
                  <a:cubicBezTo>
                    <a:pt x="6917" y="4849"/>
                    <a:pt x="6947" y="4856"/>
                    <a:pt x="6980" y="4856"/>
                  </a:cubicBezTo>
                  <a:cubicBezTo>
                    <a:pt x="7013" y="4856"/>
                    <a:pt x="7043" y="4849"/>
                    <a:pt x="7070" y="4833"/>
                  </a:cubicBezTo>
                  <a:close/>
                  <a:moveTo>
                    <a:pt x="7104" y="4465"/>
                  </a:moveTo>
                  <a:cubicBezTo>
                    <a:pt x="7140" y="4485"/>
                    <a:pt x="7168" y="4513"/>
                    <a:pt x="7188" y="4549"/>
                  </a:cubicBezTo>
                  <a:cubicBezTo>
                    <a:pt x="7209" y="4586"/>
                    <a:pt x="7219" y="4627"/>
                    <a:pt x="7219" y="4673"/>
                  </a:cubicBezTo>
                  <a:cubicBezTo>
                    <a:pt x="7219" y="4720"/>
                    <a:pt x="7209" y="4761"/>
                    <a:pt x="7188" y="4797"/>
                  </a:cubicBezTo>
                  <a:cubicBezTo>
                    <a:pt x="7168" y="4834"/>
                    <a:pt x="7140" y="4862"/>
                    <a:pt x="7104" y="4882"/>
                  </a:cubicBezTo>
                  <a:cubicBezTo>
                    <a:pt x="7069" y="4902"/>
                    <a:pt x="7029" y="4912"/>
                    <a:pt x="6985" y="4912"/>
                  </a:cubicBezTo>
                  <a:cubicBezTo>
                    <a:pt x="6945" y="4912"/>
                    <a:pt x="6910" y="4904"/>
                    <a:pt x="6879" y="4887"/>
                  </a:cubicBezTo>
                  <a:cubicBezTo>
                    <a:pt x="6847" y="4871"/>
                    <a:pt x="6822" y="4847"/>
                    <a:pt x="6803" y="4815"/>
                  </a:cubicBezTo>
                  <a:lnTo>
                    <a:pt x="6803" y="4908"/>
                  </a:lnTo>
                  <a:lnTo>
                    <a:pt x="6742" y="4908"/>
                  </a:lnTo>
                  <a:lnTo>
                    <a:pt x="6742" y="4246"/>
                  </a:lnTo>
                  <a:lnTo>
                    <a:pt x="6806" y="4246"/>
                  </a:lnTo>
                  <a:lnTo>
                    <a:pt x="6806" y="4528"/>
                  </a:lnTo>
                  <a:cubicBezTo>
                    <a:pt x="6825" y="4498"/>
                    <a:pt x="6851" y="4475"/>
                    <a:pt x="6881" y="4459"/>
                  </a:cubicBezTo>
                  <a:cubicBezTo>
                    <a:pt x="6912" y="4443"/>
                    <a:pt x="6946" y="4435"/>
                    <a:pt x="6985" y="4435"/>
                  </a:cubicBezTo>
                  <a:cubicBezTo>
                    <a:pt x="7029" y="4435"/>
                    <a:pt x="7069" y="4445"/>
                    <a:pt x="7104" y="4465"/>
                  </a:cubicBezTo>
                  <a:close/>
                  <a:moveTo>
                    <a:pt x="6511" y="4439"/>
                  </a:moveTo>
                  <a:lnTo>
                    <a:pt x="6574" y="4439"/>
                  </a:lnTo>
                  <a:lnTo>
                    <a:pt x="6574" y="4908"/>
                  </a:lnTo>
                  <a:lnTo>
                    <a:pt x="6511" y="4908"/>
                  </a:lnTo>
                  <a:lnTo>
                    <a:pt x="6511" y="4439"/>
                  </a:lnTo>
                  <a:close/>
                  <a:moveTo>
                    <a:pt x="6510" y="4323"/>
                  </a:moveTo>
                  <a:cubicBezTo>
                    <a:pt x="6501" y="4314"/>
                    <a:pt x="6496" y="4303"/>
                    <a:pt x="6496" y="4291"/>
                  </a:cubicBezTo>
                  <a:cubicBezTo>
                    <a:pt x="6496" y="4279"/>
                    <a:pt x="6501" y="4268"/>
                    <a:pt x="6510" y="4260"/>
                  </a:cubicBezTo>
                  <a:cubicBezTo>
                    <a:pt x="6519" y="4251"/>
                    <a:pt x="6530" y="4246"/>
                    <a:pt x="6543" y="4246"/>
                  </a:cubicBezTo>
                  <a:cubicBezTo>
                    <a:pt x="6556" y="4246"/>
                    <a:pt x="6567" y="4250"/>
                    <a:pt x="6576" y="4259"/>
                  </a:cubicBezTo>
                  <a:cubicBezTo>
                    <a:pt x="6585" y="4268"/>
                    <a:pt x="6589" y="4278"/>
                    <a:pt x="6589" y="4290"/>
                  </a:cubicBezTo>
                  <a:cubicBezTo>
                    <a:pt x="6589" y="4303"/>
                    <a:pt x="6585" y="4314"/>
                    <a:pt x="6576" y="4323"/>
                  </a:cubicBezTo>
                  <a:cubicBezTo>
                    <a:pt x="6567" y="4332"/>
                    <a:pt x="6556" y="4336"/>
                    <a:pt x="6543" y="4336"/>
                  </a:cubicBezTo>
                  <a:cubicBezTo>
                    <a:pt x="6530" y="4336"/>
                    <a:pt x="6519" y="4332"/>
                    <a:pt x="6510" y="4323"/>
                  </a:cubicBezTo>
                  <a:close/>
                  <a:moveTo>
                    <a:pt x="6099" y="4896"/>
                  </a:moveTo>
                  <a:cubicBezTo>
                    <a:pt x="6064" y="4885"/>
                    <a:pt x="6037" y="4871"/>
                    <a:pt x="6017" y="4854"/>
                  </a:cubicBezTo>
                  <a:lnTo>
                    <a:pt x="6046" y="4804"/>
                  </a:lnTo>
                  <a:cubicBezTo>
                    <a:pt x="6066" y="4820"/>
                    <a:pt x="6090" y="4833"/>
                    <a:pt x="6120" y="4842"/>
                  </a:cubicBezTo>
                  <a:cubicBezTo>
                    <a:pt x="6150" y="4852"/>
                    <a:pt x="6181" y="4857"/>
                    <a:pt x="6213" y="4857"/>
                  </a:cubicBezTo>
                  <a:cubicBezTo>
                    <a:pt x="6256" y="4857"/>
                    <a:pt x="6288" y="4850"/>
                    <a:pt x="6308" y="4837"/>
                  </a:cubicBezTo>
                  <a:cubicBezTo>
                    <a:pt x="6329" y="4824"/>
                    <a:pt x="6339" y="4805"/>
                    <a:pt x="6339" y="4780"/>
                  </a:cubicBezTo>
                  <a:cubicBezTo>
                    <a:pt x="6339" y="4763"/>
                    <a:pt x="6333" y="4750"/>
                    <a:pt x="6322" y="4740"/>
                  </a:cubicBezTo>
                  <a:cubicBezTo>
                    <a:pt x="6311" y="4730"/>
                    <a:pt x="6296" y="4723"/>
                    <a:pt x="6279" y="4717"/>
                  </a:cubicBezTo>
                  <a:cubicBezTo>
                    <a:pt x="6262" y="4712"/>
                    <a:pt x="6239" y="4708"/>
                    <a:pt x="6210" y="4703"/>
                  </a:cubicBezTo>
                  <a:cubicBezTo>
                    <a:pt x="6172" y="4696"/>
                    <a:pt x="6141" y="4688"/>
                    <a:pt x="6118" y="4681"/>
                  </a:cubicBezTo>
                  <a:cubicBezTo>
                    <a:pt x="6095" y="4674"/>
                    <a:pt x="6075" y="4661"/>
                    <a:pt x="6059" y="4643"/>
                  </a:cubicBezTo>
                  <a:cubicBezTo>
                    <a:pt x="6042" y="4625"/>
                    <a:pt x="6034" y="4601"/>
                    <a:pt x="6034" y="4569"/>
                  </a:cubicBezTo>
                  <a:cubicBezTo>
                    <a:pt x="6034" y="4530"/>
                    <a:pt x="6051" y="4498"/>
                    <a:pt x="6083" y="4473"/>
                  </a:cubicBezTo>
                  <a:cubicBezTo>
                    <a:pt x="6116" y="4448"/>
                    <a:pt x="6162" y="4435"/>
                    <a:pt x="6220" y="4435"/>
                  </a:cubicBezTo>
                  <a:cubicBezTo>
                    <a:pt x="6251" y="4435"/>
                    <a:pt x="6281" y="4439"/>
                    <a:pt x="6311" y="4447"/>
                  </a:cubicBezTo>
                  <a:cubicBezTo>
                    <a:pt x="6342" y="4455"/>
                    <a:pt x="6367" y="4466"/>
                    <a:pt x="6386" y="4479"/>
                  </a:cubicBezTo>
                  <a:lnTo>
                    <a:pt x="6359" y="4530"/>
                  </a:lnTo>
                  <a:cubicBezTo>
                    <a:pt x="6320" y="4503"/>
                    <a:pt x="6274" y="4490"/>
                    <a:pt x="6220" y="4490"/>
                  </a:cubicBezTo>
                  <a:cubicBezTo>
                    <a:pt x="6180" y="4490"/>
                    <a:pt x="6149" y="4497"/>
                    <a:pt x="6129" y="4511"/>
                  </a:cubicBezTo>
                  <a:cubicBezTo>
                    <a:pt x="6108" y="4525"/>
                    <a:pt x="6098" y="4544"/>
                    <a:pt x="6098" y="4567"/>
                  </a:cubicBezTo>
                  <a:cubicBezTo>
                    <a:pt x="6098" y="4585"/>
                    <a:pt x="6104" y="4599"/>
                    <a:pt x="6115" y="4610"/>
                  </a:cubicBezTo>
                  <a:cubicBezTo>
                    <a:pt x="6127" y="4621"/>
                    <a:pt x="6141" y="4629"/>
                    <a:pt x="6158" y="4634"/>
                  </a:cubicBezTo>
                  <a:cubicBezTo>
                    <a:pt x="6176" y="4639"/>
                    <a:pt x="6200" y="4644"/>
                    <a:pt x="6230" y="4649"/>
                  </a:cubicBezTo>
                  <a:cubicBezTo>
                    <a:pt x="6268" y="4656"/>
                    <a:pt x="6298" y="4664"/>
                    <a:pt x="6320" y="4671"/>
                  </a:cubicBezTo>
                  <a:cubicBezTo>
                    <a:pt x="6343" y="4678"/>
                    <a:pt x="6362" y="4690"/>
                    <a:pt x="6378" y="4707"/>
                  </a:cubicBezTo>
                  <a:cubicBezTo>
                    <a:pt x="6395" y="4724"/>
                    <a:pt x="6403" y="4748"/>
                    <a:pt x="6403" y="4779"/>
                  </a:cubicBezTo>
                  <a:cubicBezTo>
                    <a:pt x="6403" y="4820"/>
                    <a:pt x="6385" y="4852"/>
                    <a:pt x="6351" y="4876"/>
                  </a:cubicBezTo>
                  <a:cubicBezTo>
                    <a:pt x="6317" y="4900"/>
                    <a:pt x="6269" y="4912"/>
                    <a:pt x="6209" y="4912"/>
                  </a:cubicBezTo>
                  <a:cubicBezTo>
                    <a:pt x="6170" y="4912"/>
                    <a:pt x="6134" y="4907"/>
                    <a:pt x="6099" y="4896"/>
                  </a:cubicBezTo>
                  <a:moveTo>
                    <a:pt x="5653" y="4896"/>
                  </a:moveTo>
                  <a:cubicBezTo>
                    <a:pt x="5618" y="4885"/>
                    <a:pt x="5591" y="4871"/>
                    <a:pt x="5571" y="4854"/>
                  </a:cubicBezTo>
                  <a:lnTo>
                    <a:pt x="5600" y="4804"/>
                  </a:lnTo>
                  <a:cubicBezTo>
                    <a:pt x="5619" y="4820"/>
                    <a:pt x="5644" y="4833"/>
                    <a:pt x="5674" y="4842"/>
                  </a:cubicBezTo>
                  <a:cubicBezTo>
                    <a:pt x="5704" y="4852"/>
                    <a:pt x="5735" y="4857"/>
                    <a:pt x="5767" y="4857"/>
                  </a:cubicBezTo>
                  <a:cubicBezTo>
                    <a:pt x="5810" y="4857"/>
                    <a:pt x="5842" y="4850"/>
                    <a:pt x="5862" y="4837"/>
                  </a:cubicBezTo>
                  <a:cubicBezTo>
                    <a:pt x="5883" y="4824"/>
                    <a:pt x="5893" y="4805"/>
                    <a:pt x="5893" y="4780"/>
                  </a:cubicBezTo>
                  <a:cubicBezTo>
                    <a:pt x="5893" y="4763"/>
                    <a:pt x="5887" y="4750"/>
                    <a:pt x="5876" y="4740"/>
                  </a:cubicBezTo>
                  <a:cubicBezTo>
                    <a:pt x="5865" y="4730"/>
                    <a:pt x="5850" y="4723"/>
                    <a:pt x="5833" y="4717"/>
                  </a:cubicBezTo>
                  <a:cubicBezTo>
                    <a:pt x="5816" y="4712"/>
                    <a:pt x="5793" y="4708"/>
                    <a:pt x="5764" y="4703"/>
                  </a:cubicBezTo>
                  <a:cubicBezTo>
                    <a:pt x="5726" y="4696"/>
                    <a:pt x="5695" y="4688"/>
                    <a:pt x="5672" y="4681"/>
                  </a:cubicBezTo>
                  <a:cubicBezTo>
                    <a:pt x="5649" y="4674"/>
                    <a:pt x="5629" y="4661"/>
                    <a:pt x="5613" y="4643"/>
                  </a:cubicBezTo>
                  <a:cubicBezTo>
                    <a:pt x="5596" y="4625"/>
                    <a:pt x="5588" y="4601"/>
                    <a:pt x="5588" y="4569"/>
                  </a:cubicBezTo>
                  <a:cubicBezTo>
                    <a:pt x="5588" y="4530"/>
                    <a:pt x="5604" y="4498"/>
                    <a:pt x="5637" y="4473"/>
                  </a:cubicBezTo>
                  <a:cubicBezTo>
                    <a:pt x="5670" y="4448"/>
                    <a:pt x="5716" y="4435"/>
                    <a:pt x="5774" y="4435"/>
                  </a:cubicBezTo>
                  <a:cubicBezTo>
                    <a:pt x="5804" y="4435"/>
                    <a:pt x="5835" y="4439"/>
                    <a:pt x="5865" y="4447"/>
                  </a:cubicBezTo>
                  <a:cubicBezTo>
                    <a:pt x="5896" y="4455"/>
                    <a:pt x="5921" y="4466"/>
                    <a:pt x="5940" y="4479"/>
                  </a:cubicBezTo>
                  <a:lnTo>
                    <a:pt x="5913" y="4530"/>
                  </a:lnTo>
                  <a:cubicBezTo>
                    <a:pt x="5874" y="4503"/>
                    <a:pt x="5828" y="4490"/>
                    <a:pt x="5774" y="4490"/>
                  </a:cubicBezTo>
                  <a:cubicBezTo>
                    <a:pt x="5734" y="4490"/>
                    <a:pt x="5703" y="4497"/>
                    <a:pt x="5682" y="4511"/>
                  </a:cubicBezTo>
                  <a:cubicBezTo>
                    <a:pt x="5662" y="4525"/>
                    <a:pt x="5652" y="4544"/>
                    <a:pt x="5652" y="4567"/>
                  </a:cubicBezTo>
                  <a:cubicBezTo>
                    <a:pt x="5652" y="4585"/>
                    <a:pt x="5657" y="4599"/>
                    <a:pt x="5669" y="4610"/>
                  </a:cubicBezTo>
                  <a:cubicBezTo>
                    <a:pt x="5681" y="4621"/>
                    <a:pt x="5695" y="4629"/>
                    <a:pt x="5712" y="4634"/>
                  </a:cubicBezTo>
                  <a:cubicBezTo>
                    <a:pt x="5730" y="4639"/>
                    <a:pt x="5754" y="4644"/>
                    <a:pt x="5784" y="4649"/>
                  </a:cubicBezTo>
                  <a:cubicBezTo>
                    <a:pt x="5821" y="4656"/>
                    <a:pt x="5852" y="4664"/>
                    <a:pt x="5874" y="4671"/>
                  </a:cubicBezTo>
                  <a:cubicBezTo>
                    <a:pt x="5897" y="4678"/>
                    <a:pt x="5916" y="4690"/>
                    <a:pt x="5932" y="4707"/>
                  </a:cubicBezTo>
                  <a:cubicBezTo>
                    <a:pt x="5948" y="4724"/>
                    <a:pt x="5956" y="4748"/>
                    <a:pt x="5956" y="4779"/>
                  </a:cubicBezTo>
                  <a:cubicBezTo>
                    <a:pt x="5956" y="4820"/>
                    <a:pt x="5939" y="4852"/>
                    <a:pt x="5905" y="4876"/>
                  </a:cubicBezTo>
                  <a:cubicBezTo>
                    <a:pt x="5871" y="4900"/>
                    <a:pt x="5823" y="4912"/>
                    <a:pt x="5762" y="4912"/>
                  </a:cubicBezTo>
                  <a:cubicBezTo>
                    <a:pt x="5724" y="4912"/>
                    <a:pt x="5688" y="4907"/>
                    <a:pt x="5653" y="4896"/>
                  </a:cubicBezTo>
                  <a:moveTo>
                    <a:pt x="5367" y="4833"/>
                  </a:moveTo>
                  <a:cubicBezTo>
                    <a:pt x="5393" y="4818"/>
                    <a:pt x="5414" y="4797"/>
                    <a:pt x="5429" y="4769"/>
                  </a:cubicBezTo>
                  <a:cubicBezTo>
                    <a:pt x="5444" y="4741"/>
                    <a:pt x="5451" y="4709"/>
                    <a:pt x="5451" y="4673"/>
                  </a:cubicBezTo>
                  <a:cubicBezTo>
                    <a:pt x="5451" y="4638"/>
                    <a:pt x="5444" y="4606"/>
                    <a:pt x="5429" y="4578"/>
                  </a:cubicBezTo>
                  <a:cubicBezTo>
                    <a:pt x="5414" y="4550"/>
                    <a:pt x="5393" y="4528"/>
                    <a:pt x="5367" y="4513"/>
                  </a:cubicBezTo>
                  <a:cubicBezTo>
                    <a:pt x="5340" y="4498"/>
                    <a:pt x="5310" y="4491"/>
                    <a:pt x="5277" y="4491"/>
                  </a:cubicBezTo>
                  <a:cubicBezTo>
                    <a:pt x="5244" y="4491"/>
                    <a:pt x="5214" y="4498"/>
                    <a:pt x="5187" y="4513"/>
                  </a:cubicBezTo>
                  <a:cubicBezTo>
                    <a:pt x="5161" y="4528"/>
                    <a:pt x="5140" y="4550"/>
                    <a:pt x="5124" y="4578"/>
                  </a:cubicBezTo>
                  <a:cubicBezTo>
                    <a:pt x="5109" y="4606"/>
                    <a:pt x="5102" y="4638"/>
                    <a:pt x="5102" y="4673"/>
                  </a:cubicBezTo>
                  <a:cubicBezTo>
                    <a:pt x="5102" y="4709"/>
                    <a:pt x="5109" y="4741"/>
                    <a:pt x="5124" y="4769"/>
                  </a:cubicBezTo>
                  <a:cubicBezTo>
                    <a:pt x="5140" y="4797"/>
                    <a:pt x="5161" y="4818"/>
                    <a:pt x="5187" y="4833"/>
                  </a:cubicBezTo>
                  <a:cubicBezTo>
                    <a:pt x="5214" y="4849"/>
                    <a:pt x="5244" y="4856"/>
                    <a:pt x="5277" y="4856"/>
                  </a:cubicBezTo>
                  <a:cubicBezTo>
                    <a:pt x="5310" y="4856"/>
                    <a:pt x="5340" y="4849"/>
                    <a:pt x="5367" y="4833"/>
                  </a:cubicBezTo>
                  <a:close/>
                  <a:moveTo>
                    <a:pt x="5154" y="4882"/>
                  </a:moveTo>
                  <a:cubicBezTo>
                    <a:pt x="5118" y="4861"/>
                    <a:pt x="5089" y="4833"/>
                    <a:pt x="5069" y="4796"/>
                  </a:cubicBezTo>
                  <a:cubicBezTo>
                    <a:pt x="5048" y="4760"/>
                    <a:pt x="5037" y="4719"/>
                    <a:pt x="5037" y="4673"/>
                  </a:cubicBezTo>
                  <a:cubicBezTo>
                    <a:pt x="5037" y="4628"/>
                    <a:pt x="5048" y="4587"/>
                    <a:pt x="5069" y="4550"/>
                  </a:cubicBezTo>
                  <a:cubicBezTo>
                    <a:pt x="5089" y="4514"/>
                    <a:pt x="5118" y="4486"/>
                    <a:pt x="5154" y="4466"/>
                  </a:cubicBezTo>
                  <a:cubicBezTo>
                    <a:pt x="5191" y="4445"/>
                    <a:pt x="5232" y="4435"/>
                    <a:pt x="5277" y="4435"/>
                  </a:cubicBezTo>
                  <a:cubicBezTo>
                    <a:pt x="5322" y="4435"/>
                    <a:pt x="5363" y="4445"/>
                    <a:pt x="5399" y="4466"/>
                  </a:cubicBezTo>
                  <a:cubicBezTo>
                    <a:pt x="5436" y="4486"/>
                    <a:pt x="5464" y="4514"/>
                    <a:pt x="5485" y="4550"/>
                  </a:cubicBezTo>
                  <a:cubicBezTo>
                    <a:pt x="5505" y="4587"/>
                    <a:pt x="5516" y="4628"/>
                    <a:pt x="5516" y="4673"/>
                  </a:cubicBezTo>
                  <a:cubicBezTo>
                    <a:pt x="5516" y="4719"/>
                    <a:pt x="5505" y="4760"/>
                    <a:pt x="5485" y="4796"/>
                  </a:cubicBezTo>
                  <a:cubicBezTo>
                    <a:pt x="5464" y="4833"/>
                    <a:pt x="5436" y="4861"/>
                    <a:pt x="5399" y="4882"/>
                  </a:cubicBezTo>
                  <a:cubicBezTo>
                    <a:pt x="5363" y="4902"/>
                    <a:pt x="5322" y="4912"/>
                    <a:pt x="5277" y="4912"/>
                  </a:cubicBezTo>
                  <a:cubicBezTo>
                    <a:pt x="5232" y="4912"/>
                    <a:pt x="5191" y="4902"/>
                    <a:pt x="5154" y="4882"/>
                  </a:cubicBezTo>
                  <a:close/>
                  <a:moveTo>
                    <a:pt x="4869" y="4612"/>
                  </a:moveTo>
                  <a:cubicBezTo>
                    <a:pt x="4902" y="4585"/>
                    <a:pt x="4918" y="4547"/>
                    <a:pt x="4918" y="4498"/>
                  </a:cubicBezTo>
                  <a:cubicBezTo>
                    <a:pt x="4918" y="4447"/>
                    <a:pt x="4902" y="4408"/>
                    <a:pt x="4869" y="4381"/>
                  </a:cubicBezTo>
                  <a:cubicBezTo>
                    <a:pt x="4836" y="4354"/>
                    <a:pt x="4789" y="4341"/>
                    <a:pt x="4727" y="4341"/>
                  </a:cubicBezTo>
                  <a:lnTo>
                    <a:pt x="4561" y="4341"/>
                  </a:lnTo>
                  <a:lnTo>
                    <a:pt x="4561" y="4653"/>
                  </a:lnTo>
                  <a:lnTo>
                    <a:pt x="4727" y="4653"/>
                  </a:lnTo>
                  <a:cubicBezTo>
                    <a:pt x="4789" y="4653"/>
                    <a:pt x="4836" y="4639"/>
                    <a:pt x="4869" y="4612"/>
                  </a:cubicBezTo>
                  <a:close/>
                  <a:moveTo>
                    <a:pt x="4917" y="4341"/>
                  </a:moveTo>
                  <a:cubicBezTo>
                    <a:pt x="4962" y="4379"/>
                    <a:pt x="4985" y="4431"/>
                    <a:pt x="4985" y="4498"/>
                  </a:cubicBezTo>
                  <a:cubicBezTo>
                    <a:pt x="4985" y="4564"/>
                    <a:pt x="4962" y="4616"/>
                    <a:pt x="4917" y="4654"/>
                  </a:cubicBezTo>
                  <a:cubicBezTo>
                    <a:pt x="4871" y="4692"/>
                    <a:pt x="4809" y="4711"/>
                    <a:pt x="4729" y="4711"/>
                  </a:cubicBezTo>
                  <a:lnTo>
                    <a:pt x="4561" y="4711"/>
                  </a:lnTo>
                  <a:lnTo>
                    <a:pt x="4561" y="4908"/>
                  </a:lnTo>
                  <a:lnTo>
                    <a:pt x="4495" y="4908"/>
                  </a:lnTo>
                  <a:lnTo>
                    <a:pt x="4495" y="4284"/>
                  </a:lnTo>
                  <a:lnTo>
                    <a:pt x="4729" y="4284"/>
                  </a:lnTo>
                  <a:cubicBezTo>
                    <a:pt x="4809" y="4284"/>
                    <a:pt x="4871" y="4303"/>
                    <a:pt x="4917" y="4341"/>
                  </a:cubicBezTo>
                  <a:moveTo>
                    <a:pt x="3939" y="4812"/>
                  </a:moveTo>
                  <a:cubicBezTo>
                    <a:pt x="3966" y="4797"/>
                    <a:pt x="3987" y="4777"/>
                    <a:pt x="4002" y="4751"/>
                  </a:cubicBezTo>
                  <a:cubicBezTo>
                    <a:pt x="4018" y="4725"/>
                    <a:pt x="4025" y="4695"/>
                    <a:pt x="4025" y="4662"/>
                  </a:cubicBezTo>
                  <a:cubicBezTo>
                    <a:pt x="4025" y="4628"/>
                    <a:pt x="4018" y="4599"/>
                    <a:pt x="4002" y="4573"/>
                  </a:cubicBezTo>
                  <a:cubicBezTo>
                    <a:pt x="3987" y="4547"/>
                    <a:pt x="3966" y="4527"/>
                    <a:pt x="3939" y="4512"/>
                  </a:cubicBezTo>
                  <a:cubicBezTo>
                    <a:pt x="3912" y="4498"/>
                    <a:pt x="3881" y="4491"/>
                    <a:pt x="3846" y="4491"/>
                  </a:cubicBezTo>
                  <a:cubicBezTo>
                    <a:pt x="3812" y="4491"/>
                    <a:pt x="3782" y="4498"/>
                    <a:pt x="3755" y="4512"/>
                  </a:cubicBezTo>
                  <a:cubicBezTo>
                    <a:pt x="3728" y="4526"/>
                    <a:pt x="3707" y="4546"/>
                    <a:pt x="3691" y="4573"/>
                  </a:cubicBezTo>
                  <a:cubicBezTo>
                    <a:pt x="3676" y="4599"/>
                    <a:pt x="3669" y="4628"/>
                    <a:pt x="3669" y="4662"/>
                  </a:cubicBezTo>
                  <a:cubicBezTo>
                    <a:pt x="3669" y="4695"/>
                    <a:pt x="3676" y="4725"/>
                    <a:pt x="3691" y="4751"/>
                  </a:cubicBezTo>
                  <a:cubicBezTo>
                    <a:pt x="3707" y="4777"/>
                    <a:pt x="3728" y="4797"/>
                    <a:pt x="3755" y="4812"/>
                  </a:cubicBezTo>
                  <a:cubicBezTo>
                    <a:pt x="3782" y="4827"/>
                    <a:pt x="3812" y="4834"/>
                    <a:pt x="3846" y="4834"/>
                  </a:cubicBezTo>
                  <a:cubicBezTo>
                    <a:pt x="3880" y="4834"/>
                    <a:pt x="3911" y="4827"/>
                    <a:pt x="3939" y="4812"/>
                  </a:cubicBezTo>
                  <a:moveTo>
                    <a:pt x="4087" y="4439"/>
                  </a:moveTo>
                  <a:lnTo>
                    <a:pt x="4087" y="4851"/>
                  </a:lnTo>
                  <a:cubicBezTo>
                    <a:pt x="4087" y="4930"/>
                    <a:pt x="4067" y="4990"/>
                    <a:pt x="4028" y="5028"/>
                  </a:cubicBezTo>
                  <a:cubicBezTo>
                    <a:pt x="3989" y="5066"/>
                    <a:pt x="3930" y="5085"/>
                    <a:pt x="3852" y="5085"/>
                  </a:cubicBezTo>
                  <a:cubicBezTo>
                    <a:pt x="3808" y="5085"/>
                    <a:pt x="3767" y="5079"/>
                    <a:pt x="3728" y="5066"/>
                  </a:cubicBezTo>
                  <a:cubicBezTo>
                    <a:pt x="3689" y="5053"/>
                    <a:pt x="3657" y="5036"/>
                    <a:pt x="3633" y="5013"/>
                  </a:cubicBezTo>
                  <a:lnTo>
                    <a:pt x="3665" y="4965"/>
                  </a:lnTo>
                  <a:cubicBezTo>
                    <a:pt x="3688" y="4985"/>
                    <a:pt x="3715" y="5001"/>
                    <a:pt x="3748" y="5012"/>
                  </a:cubicBezTo>
                  <a:cubicBezTo>
                    <a:pt x="3780" y="5024"/>
                    <a:pt x="3814" y="5029"/>
                    <a:pt x="3850" y="5029"/>
                  </a:cubicBezTo>
                  <a:cubicBezTo>
                    <a:pt x="3910" y="5029"/>
                    <a:pt x="3953" y="5015"/>
                    <a:pt x="3981" y="4988"/>
                  </a:cubicBezTo>
                  <a:cubicBezTo>
                    <a:pt x="4009" y="4960"/>
                    <a:pt x="4023" y="4917"/>
                    <a:pt x="4023" y="4859"/>
                  </a:cubicBezTo>
                  <a:lnTo>
                    <a:pt x="4023" y="4799"/>
                  </a:lnTo>
                  <a:cubicBezTo>
                    <a:pt x="4004" y="4829"/>
                    <a:pt x="3978" y="4851"/>
                    <a:pt x="3946" y="4867"/>
                  </a:cubicBezTo>
                  <a:cubicBezTo>
                    <a:pt x="3914" y="4882"/>
                    <a:pt x="3879" y="4890"/>
                    <a:pt x="3840" y="4890"/>
                  </a:cubicBezTo>
                  <a:cubicBezTo>
                    <a:pt x="3796" y="4890"/>
                    <a:pt x="3756" y="4880"/>
                    <a:pt x="3720" y="4861"/>
                  </a:cubicBezTo>
                  <a:cubicBezTo>
                    <a:pt x="3684" y="4842"/>
                    <a:pt x="3656" y="4815"/>
                    <a:pt x="3635" y="4780"/>
                  </a:cubicBezTo>
                  <a:cubicBezTo>
                    <a:pt x="3614" y="4745"/>
                    <a:pt x="3604" y="4706"/>
                    <a:pt x="3604" y="4662"/>
                  </a:cubicBezTo>
                  <a:cubicBezTo>
                    <a:pt x="3604" y="4618"/>
                    <a:pt x="3614" y="4578"/>
                    <a:pt x="3635" y="4544"/>
                  </a:cubicBezTo>
                  <a:cubicBezTo>
                    <a:pt x="3656" y="4510"/>
                    <a:pt x="3684" y="4483"/>
                    <a:pt x="3719" y="4464"/>
                  </a:cubicBezTo>
                  <a:cubicBezTo>
                    <a:pt x="3755" y="4445"/>
                    <a:pt x="3795" y="4435"/>
                    <a:pt x="3840" y="4435"/>
                  </a:cubicBezTo>
                  <a:cubicBezTo>
                    <a:pt x="3880" y="4435"/>
                    <a:pt x="3916" y="4443"/>
                    <a:pt x="3948" y="4459"/>
                  </a:cubicBezTo>
                  <a:cubicBezTo>
                    <a:pt x="3981" y="4475"/>
                    <a:pt x="4006" y="4499"/>
                    <a:pt x="4026" y="4529"/>
                  </a:cubicBezTo>
                  <a:lnTo>
                    <a:pt x="4026" y="4439"/>
                  </a:lnTo>
                  <a:lnTo>
                    <a:pt x="4087" y="4439"/>
                  </a:lnTo>
                  <a:close/>
                  <a:moveTo>
                    <a:pt x="3453" y="4487"/>
                  </a:moveTo>
                  <a:cubicBezTo>
                    <a:pt x="3487" y="4521"/>
                    <a:pt x="3505" y="4570"/>
                    <a:pt x="3505" y="4636"/>
                  </a:cubicBezTo>
                  <a:lnTo>
                    <a:pt x="3505" y="4908"/>
                  </a:lnTo>
                  <a:lnTo>
                    <a:pt x="3441" y="4908"/>
                  </a:lnTo>
                  <a:lnTo>
                    <a:pt x="3441" y="4642"/>
                  </a:lnTo>
                  <a:cubicBezTo>
                    <a:pt x="3441" y="4593"/>
                    <a:pt x="3429" y="4556"/>
                    <a:pt x="3405" y="4531"/>
                  </a:cubicBezTo>
                  <a:cubicBezTo>
                    <a:pt x="3380" y="4505"/>
                    <a:pt x="3345" y="4492"/>
                    <a:pt x="3300" y="4492"/>
                  </a:cubicBezTo>
                  <a:cubicBezTo>
                    <a:pt x="3249" y="4492"/>
                    <a:pt x="3209" y="4507"/>
                    <a:pt x="3180" y="4537"/>
                  </a:cubicBezTo>
                  <a:cubicBezTo>
                    <a:pt x="3150" y="4567"/>
                    <a:pt x="3136" y="4609"/>
                    <a:pt x="3136" y="4662"/>
                  </a:cubicBezTo>
                  <a:lnTo>
                    <a:pt x="3136" y="4908"/>
                  </a:lnTo>
                  <a:lnTo>
                    <a:pt x="3072" y="4908"/>
                  </a:lnTo>
                  <a:lnTo>
                    <a:pt x="3072" y="4439"/>
                  </a:lnTo>
                  <a:lnTo>
                    <a:pt x="3133" y="4439"/>
                  </a:lnTo>
                  <a:lnTo>
                    <a:pt x="3133" y="4525"/>
                  </a:lnTo>
                  <a:cubicBezTo>
                    <a:pt x="3150" y="4497"/>
                    <a:pt x="3174" y="4475"/>
                    <a:pt x="3205" y="4459"/>
                  </a:cubicBezTo>
                  <a:cubicBezTo>
                    <a:pt x="3236" y="4443"/>
                    <a:pt x="3271" y="4435"/>
                    <a:pt x="3312" y="4435"/>
                  </a:cubicBezTo>
                  <a:cubicBezTo>
                    <a:pt x="3371" y="4435"/>
                    <a:pt x="3418" y="4452"/>
                    <a:pt x="3453" y="4487"/>
                  </a:cubicBezTo>
                  <a:close/>
                  <a:moveTo>
                    <a:pt x="2858" y="4439"/>
                  </a:moveTo>
                  <a:lnTo>
                    <a:pt x="2922" y="4439"/>
                  </a:lnTo>
                  <a:lnTo>
                    <a:pt x="2922" y="4908"/>
                  </a:lnTo>
                  <a:lnTo>
                    <a:pt x="2858" y="4908"/>
                  </a:lnTo>
                  <a:lnTo>
                    <a:pt x="2858" y="4439"/>
                  </a:lnTo>
                  <a:close/>
                  <a:moveTo>
                    <a:pt x="2858" y="4323"/>
                  </a:moveTo>
                  <a:cubicBezTo>
                    <a:pt x="2849" y="4314"/>
                    <a:pt x="2844" y="4303"/>
                    <a:pt x="2844" y="4291"/>
                  </a:cubicBezTo>
                  <a:cubicBezTo>
                    <a:pt x="2844" y="4279"/>
                    <a:pt x="2849" y="4268"/>
                    <a:pt x="2858" y="4260"/>
                  </a:cubicBezTo>
                  <a:cubicBezTo>
                    <a:pt x="2867" y="4251"/>
                    <a:pt x="2878" y="4246"/>
                    <a:pt x="2891" y="4246"/>
                  </a:cubicBezTo>
                  <a:cubicBezTo>
                    <a:pt x="2904" y="4246"/>
                    <a:pt x="2915" y="4250"/>
                    <a:pt x="2924" y="4259"/>
                  </a:cubicBezTo>
                  <a:cubicBezTo>
                    <a:pt x="2933" y="4268"/>
                    <a:pt x="2937" y="4278"/>
                    <a:pt x="2937" y="4290"/>
                  </a:cubicBezTo>
                  <a:cubicBezTo>
                    <a:pt x="2937" y="4303"/>
                    <a:pt x="2933" y="4314"/>
                    <a:pt x="2924" y="4323"/>
                  </a:cubicBezTo>
                  <a:cubicBezTo>
                    <a:pt x="2915" y="4332"/>
                    <a:pt x="2904" y="4336"/>
                    <a:pt x="2891" y="4336"/>
                  </a:cubicBezTo>
                  <a:cubicBezTo>
                    <a:pt x="2878" y="4336"/>
                    <a:pt x="2867" y="4332"/>
                    <a:pt x="2858" y="4323"/>
                  </a:cubicBezTo>
                  <a:close/>
                  <a:moveTo>
                    <a:pt x="2643" y="4459"/>
                  </a:moveTo>
                  <a:cubicBezTo>
                    <a:pt x="2673" y="4443"/>
                    <a:pt x="2710" y="4435"/>
                    <a:pt x="2753" y="4435"/>
                  </a:cubicBezTo>
                  <a:lnTo>
                    <a:pt x="2753" y="4497"/>
                  </a:lnTo>
                  <a:lnTo>
                    <a:pt x="2738" y="4496"/>
                  </a:lnTo>
                  <a:cubicBezTo>
                    <a:pt x="2688" y="4496"/>
                    <a:pt x="2650" y="4511"/>
                    <a:pt x="2622" y="4541"/>
                  </a:cubicBezTo>
                  <a:cubicBezTo>
                    <a:pt x="2594" y="4572"/>
                    <a:pt x="2580" y="4614"/>
                    <a:pt x="2580" y="4669"/>
                  </a:cubicBezTo>
                  <a:lnTo>
                    <a:pt x="2580" y="4908"/>
                  </a:lnTo>
                  <a:lnTo>
                    <a:pt x="2516" y="4908"/>
                  </a:lnTo>
                  <a:lnTo>
                    <a:pt x="2516" y="4439"/>
                  </a:lnTo>
                  <a:lnTo>
                    <a:pt x="2577" y="4439"/>
                  </a:lnTo>
                  <a:lnTo>
                    <a:pt x="2577" y="4531"/>
                  </a:lnTo>
                  <a:cubicBezTo>
                    <a:pt x="2592" y="4499"/>
                    <a:pt x="2614" y="4475"/>
                    <a:pt x="2643" y="4459"/>
                  </a:cubicBezTo>
                  <a:close/>
                  <a:moveTo>
                    <a:pt x="2053" y="4533"/>
                  </a:moveTo>
                  <a:cubicBezTo>
                    <a:pt x="2023" y="4562"/>
                    <a:pt x="2005" y="4599"/>
                    <a:pt x="2001" y="4646"/>
                  </a:cubicBezTo>
                  <a:lnTo>
                    <a:pt x="2335" y="4646"/>
                  </a:lnTo>
                  <a:cubicBezTo>
                    <a:pt x="2330" y="4599"/>
                    <a:pt x="2313" y="4562"/>
                    <a:pt x="2282" y="4533"/>
                  </a:cubicBezTo>
                  <a:cubicBezTo>
                    <a:pt x="2252" y="4504"/>
                    <a:pt x="2213" y="4490"/>
                    <a:pt x="2167" y="4490"/>
                  </a:cubicBezTo>
                  <a:cubicBezTo>
                    <a:pt x="2122" y="4490"/>
                    <a:pt x="2084" y="4504"/>
                    <a:pt x="2053" y="4533"/>
                  </a:cubicBezTo>
                  <a:close/>
                  <a:moveTo>
                    <a:pt x="2395" y="4693"/>
                  </a:moveTo>
                  <a:lnTo>
                    <a:pt x="2001" y="4693"/>
                  </a:lnTo>
                  <a:cubicBezTo>
                    <a:pt x="2005" y="4742"/>
                    <a:pt x="2023" y="4781"/>
                    <a:pt x="2057" y="4811"/>
                  </a:cubicBezTo>
                  <a:cubicBezTo>
                    <a:pt x="2091" y="4841"/>
                    <a:pt x="2134" y="4856"/>
                    <a:pt x="2186" y="4856"/>
                  </a:cubicBezTo>
                  <a:cubicBezTo>
                    <a:pt x="2215" y="4856"/>
                    <a:pt x="2242" y="4851"/>
                    <a:pt x="2267" y="4841"/>
                  </a:cubicBezTo>
                  <a:cubicBezTo>
                    <a:pt x="2291" y="4830"/>
                    <a:pt x="2312" y="4815"/>
                    <a:pt x="2330" y="4795"/>
                  </a:cubicBezTo>
                  <a:lnTo>
                    <a:pt x="2366" y="4836"/>
                  </a:lnTo>
                  <a:cubicBezTo>
                    <a:pt x="2345" y="4861"/>
                    <a:pt x="2319" y="4880"/>
                    <a:pt x="2288" y="4893"/>
                  </a:cubicBezTo>
                  <a:cubicBezTo>
                    <a:pt x="2256" y="4906"/>
                    <a:pt x="2222" y="4912"/>
                    <a:pt x="2184" y="4912"/>
                  </a:cubicBezTo>
                  <a:cubicBezTo>
                    <a:pt x="2136" y="4912"/>
                    <a:pt x="2093" y="4902"/>
                    <a:pt x="2056" y="4882"/>
                  </a:cubicBezTo>
                  <a:cubicBezTo>
                    <a:pt x="2019" y="4861"/>
                    <a:pt x="1990" y="4833"/>
                    <a:pt x="1969" y="4796"/>
                  </a:cubicBezTo>
                  <a:cubicBezTo>
                    <a:pt x="1948" y="4760"/>
                    <a:pt x="1938" y="4719"/>
                    <a:pt x="1938" y="4673"/>
                  </a:cubicBezTo>
                  <a:cubicBezTo>
                    <a:pt x="1938" y="4628"/>
                    <a:pt x="1948" y="4587"/>
                    <a:pt x="1968" y="4550"/>
                  </a:cubicBezTo>
                  <a:cubicBezTo>
                    <a:pt x="1988" y="4514"/>
                    <a:pt x="2015" y="4486"/>
                    <a:pt x="2050" y="4466"/>
                  </a:cubicBezTo>
                  <a:cubicBezTo>
                    <a:pt x="2085" y="4445"/>
                    <a:pt x="2124" y="4435"/>
                    <a:pt x="2167" y="4435"/>
                  </a:cubicBezTo>
                  <a:cubicBezTo>
                    <a:pt x="2211" y="4435"/>
                    <a:pt x="2250" y="4445"/>
                    <a:pt x="2285" y="4466"/>
                  </a:cubicBezTo>
                  <a:cubicBezTo>
                    <a:pt x="2319" y="4486"/>
                    <a:pt x="2346" y="4514"/>
                    <a:pt x="2366" y="4550"/>
                  </a:cubicBezTo>
                  <a:cubicBezTo>
                    <a:pt x="2386" y="4586"/>
                    <a:pt x="2395" y="4627"/>
                    <a:pt x="2395" y="4673"/>
                  </a:cubicBezTo>
                  <a:lnTo>
                    <a:pt x="2395" y="4693"/>
                  </a:lnTo>
                  <a:close/>
                  <a:moveTo>
                    <a:pt x="1912" y="4439"/>
                  </a:moveTo>
                  <a:lnTo>
                    <a:pt x="1734" y="4908"/>
                  </a:lnTo>
                  <a:lnTo>
                    <a:pt x="1674" y="4908"/>
                  </a:lnTo>
                  <a:lnTo>
                    <a:pt x="1525" y="4524"/>
                  </a:lnTo>
                  <a:lnTo>
                    <a:pt x="1377" y="4908"/>
                  </a:lnTo>
                  <a:lnTo>
                    <a:pt x="1317" y="4908"/>
                  </a:lnTo>
                  <a:lnTo>
                    <a:pt x="1140" y="4439"/>
                  </a:lnTo>
                  <a:lnTo>
                    <a:pt x="1201" y="4439"/>
                  </a:lnTo>
                  <a:lnTo>
                    <a:pt x="1348" y="4837"/>
                  </a:lnTo>
                  <a:lnTo>
                    <a:pt x="1500" y="4439"/>
                  </a:lnTo>
                  <a:lnTo>
                    <a:pt x="1554" y="4439"/>
                  </a:lnTo>
                  <a:lnTo>
                    <a:pt x="1704" y="4837"/>
                  </a:lnTo>
                  <a:lnTo>
                    <a:pt x="1854" y="4439"/>
                  </a:lnTo>
                  <a:lnTo>
                    <a:pt x="1912" y="4439"/>
                  </a:lnTo>
                  <a:close/>
                  <a:moveTo>
                    <a:pt x="965" y="4833"/>
                  </a:moveTo>
                  <a:cubicBezTo>
                    <a:pt x="992" y="4818"/>
                    <a:pt x="1013" y="4797"/>
                    <a:pt x="1027" y="4769"/>
                  </a:cubicBezTo>
                  <a:cubicBezTo>
                    <a:pt x="1042" y="4741"/>
                    <a:pt x="1050" y="4709"/>
                    <a:pt x="1050" y="4673"/>
                  </a:cubicBezTo>
                  <a:cubicBezTo>
                    <a:pt x="1050" y="4638"/>
                    <a:pt x="1042" y="4606"/>
                    <a:pt x="1027" y="4578"/>
                  </a:cubicBezTo>
                  <a:cubicBezTo>
                    <a:pt x="1013" y="4550"/>
                    <a:pt x="992" y="4528"/>
                    <a:pt x="965" y="4513"/>
                  </a:cubicBezTo>
                  <a:cubicBezTo>
                    <a:pt x="939" y="4498"/>
                    <a:pt x="909" y="4491"/>
                    <a:pt x="875" y="4491"/>
                  </a:cubicBezTo>
                  <a:cubicBezTo>
                    <a:pt x="842" y="4491"/>
                    <a:pt x="812" y="4498"/>
                    <a:pt x="786" y="4513"/>
                  </a:cubicBezTo>
                  <a:cubicBezTo>
                    <a:pt x="759" y="4528"/>
                    <a:pt x="738" y="4550"/>
                    <a:pt x="723" y="4578"/>
                  </a:cubicBezTo>
                  <a:cubicBezTo>
                    <a:pt x="708" y="4606"/>
                    <a:pt x="700" y="4638"/>
                    <a:pt x="700" y="4673"/>
                  </a:cubicBezTo>
                  <a:cubicBezTo>
                    <a:pt x="700" y="4709"/>
                    <a:pt x="708" y="4741"/>
                    <a:pt x="723" y="4769"/>
                  </a:cubicBezTo>
                  <a:cubicBezTo>
                    <a:pt x="738" y="4797"/>
                    <a:pt x="759" y="4818"/>
                    <a:pt x="786" y="4833"/>
                  </a:cubicBezTo>
                  <a:cubicBezTo>
                    <a:pt x="812" y="4849"/>
                    <a:pt x="842" y="4856"/>
                    <a:pt x="875" y="4856"/>
                  </a:cubicBezTo>
                  <a:cubicBezTo>
                    <a:pt x="909" y="4856"/>
                    <a:pt x="939" y="4849"/>
                    <a:pt x="965" y="4833"/>
                  </a:cubicBezTo>
                  <a:close/>
                  <a:moveTo>
                    <a:pt x="753" y="4882"/>
                  </a:moveTo>
                  <a:cubicBezTo>
                    <a:pt x="717" y="4861"/>
                    <a:pt x="688" y="4833"/>
                    <a:pt x="667" y="4796"/>
                  </a:cubicBezTo>
                  <a:cubicBezTo>
                    <a:pt x="646" y="4760"/>
                    <a:pt x="636" y="4719"/>
                    <a:pt x="636" y="4673"/>
                  </a:cubicBezTo>
                  <a:cubicBezTo>
                    <a:pt x="636" y="4628"/>
                    <a:pt x="646" y="4587"/>
                    <a:pt x="667" y="4550"/>
                  </a:cubicBezTo>
                  <a:cubicBezTo>
                    <a:pt x="688" y="4514"/>
                    <a:pt x="717" y="4486"/>
                    <a:pt x="753" y="4466"/>
                  </a:cubicBezTo>
                  <a:cubicBezTo>
                    <a:pt x="789" y="4445"/>
                    <a:pt x="830" y="4435"/>
                    <a:pt x="875" y="4435"/>
                  </a:cubicBezTo>
                  <a:cubicBezTo>
                    <a:pt x="921" y="4435"/>
                    <a:pt x="962" y="4445"/>
                    <a:pt x="998" y="4466"/>
                  </a:cubicBezTo>
                  <a:cubicBezTo>
                    <a:pt x="1034" y="4486"/>
                    <a:pt x="1063" y="4514"/>
                    <a:pt x="1083" y="4550"/>
                  </a:cubicBezTo>
                  <a:cubicBezTo>
                    <a:pt x="1104" y="4587"/>
                    <a:pt x="1114" y="4628"/>
                    <a:pt x="1114" y="4673"/>
                  </a:cubicBezTo>
                  <a:cubicBezTo>
                    <a:pt x="1114" y="4719"/>
                    <a:pt x="1104" y="4760"/>
                    <a:pt x="1083" y="4796"/>
                  </a:cubicBezTo>
                  <a:cubicBezTo>
                    <a:pt x="1063" y="4833"/>
                    <a:pt x="1034" y="4861"/>
                    <a:pt x="998" y="4882"/>
                  </a:cubicBezTo>
                  <a:cubicBezTo>
                    <a:pt x="962" y="4902"/>
                    <a:pt x="921" y="4912"/>
                    <a:pt x="875" y="4912"/>
                  </a:cubicBezTo>
                  <a:cubicBezTo>
                    <a:pt x="830" y="4912"/>
                    <a:pt x="789" y="4902"/>
                    <a:pt x="753" y="4882"/>
                  </a:cubicBezTo>
                  <a:close/>
                  <a:moveTo>
                    <a:pt x="468" y="4612"/>
                  </a:moveTo>
                  <a:cubicBezTo>
                    <a:pt x="501" y="4585"/>
                    <a:pt x="517" y="4547"/>
                    <a:pt x="517" y="4498"/>
                  </a:cubicBezTo>
                  <a:cubicBezTo>
                    <a:pt x="517" y="4447"/>
                    <a:pt x="501" y="4408"/>
                    <a:pt x="468" y="4381"/>
                  </a:cubicBezTo>
                  <a:cubicBezTo>
                    <a:pt x="435" y="4354"/>
                    <a:pt x="388" y="4341"/>
                    <a:pt x="326" y="4341"/>
                  </a:cubicBezTo>
                  <a:lnTo>
                    <a:pt x="159" y="4341"/>
                  </a:lnTo>
                  <a:lnTo>
                    <a:pt x="159" y="4653"/>
                  </a:lnTo>
                  <a:lnTo>
                    <a:pt x="326" y="4653"/>
                  </a:lnTo>
                  <a:cubicBezTo>
                    <a:pt x="388" y="4653"/>
                    <a:pt x="435" y="4639"/>
                    <a:pt x="468" y="4612"/>
                  </a:cubicBezTo>
                  <a:moveTo>
                    <a:pt x="515" y="4341"/>
                  </a:moveTo>
                  <a:cubicBezTo>
                    <a:pt x="560" y="4379"/>
                    <a:pt x="583" y="4431"/>
                    <a:pt x="583" y="4498"/>
                  </a:cubicBezTo>
                  <a:cubicBezTo>
                    <a:pt x="583" y="4564"/>
                    <a:pt x="560" y="4616"/>
                    <a:pt x="515" y="4654"/>
                  </a:cubicBezTo>
                  <a:cubicBezTo>
                    <a:pt x="470" y="4692"/>
                    <a:pt x="407" y="4711"/>
                    <a:pt x="327" y="4711"/>
                  </a:cubicBezTo>
                  <a:lnTo>
                    <a:pt x="159" y="4711"/>
                  </a:lnTo>
                  <a:lnTo>
                    <a:pt x="159" y="4908"/>
                  </a:lnTo>
                  <a:lnTo>
                    <a:pt x="93" y="4908"/>
                  </a:lnTo>
                  <a:lnTo>
                    <a:pt x="93" y="4284"/>
                  </a:lnTo>
                  <a:lnTo>
                    <a:pt x="327" y="4284"/>
                  </a:lnTo>
                  <a:cubicBezTo>
                    <a:pt x="407" y="4284"/>
                    <a:pt x="470" y="4303"/>
                    <a:pt x="515" y="434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 name="Freeform 6">
              <a:extLst>
                <a:ext uri="{FF2B5EF4-FFF2-40B4-BE49-F238E27FC236}">
                  <a16:creationId xmlns:a16="http://schemas.microsoft.com/office/drawing/2014/main" id="{823990B6-A25A-41AD-9114-1B6CCFF46C1F}"/>
                </a:ext>
              </a:extLst>
            </p:cNvPr>
            <p:cNvSpPr>
              <a:spLocks noEditPoints="1"/>
            </p:cNvSpPr>
            <p:nvPr userDrawn="1"/>
          </p:nvSpPr>
          <p:spPr bwMode="auto">
            <a:xfrm>
              <a:off x="1481" y="1882"/>
              <a:ext cx="4755" cy="713"/>
            </a:xfrm>
            <a:custGeom>
              <a:avLst/>
              <a:gdLst>
                <a:gd name="T0" fmla="*/ 9402 w 9905"/>
                <a:gd name="T1" fmla="*/ 1485 h 1485"/>
                <a:gd name="T2" fmla="*/ 9609 w 9905"/>
                <a:gd name="T3" fmla="*/ 673 h 1485"/>
                <a:gd name="T4" fmla="*/ 9235 w 9905"/>
                <a:gd name="T5" fmla="*/ 387 h 1485"/>
                <a:gd name="T6" fmla="*/ 9645 w 9905"/>
                <a:gd name="T7" fmla="*/ 272 h 1485"/>
                <a:gd name="T8" fmla="*/ 9852 w 9905"/>
                <a:gd name="T9" fmla="*/ 188 h 1485"/>
                <a:gd name="T10" fmla="*/ 9440 w 9905"/>
                <a:gd name="T11" fmla="*/ 0 h 1485"/>
                <a:gd name="T12" fmla="*/ 9297 w 9905"/>
                <a:gd name="T13" fmla="*/ 792 h 1485"/>
                <a:gd name="T14" fmla="*/ 9655 w 9905"/>
                <a:gd name="T15" fmla="*/ 1077 h 1485"/>
                <a:gd name="T16" fmla="*/ 9102 w 9905"/>
                <a:gd name="T17" fmla="*/ 1105 h 1485"/>
                <a:gd name="T18" fmla="*/ 7727 w 9905"/>
                <a:gd name="T19" fmla="*/ 1267 h 1485"/>
                <a:gd name="T20" fmla="*/ 8704 w 9905"/>
                <a:gd name="T21" fmla="*/ 1072 h 1485"/>
                <a:gd name="T22" fmla="*/ 8168 w 9905"/>
                <a:gd name="T23" fmla="*/ 558 h 1485"/>
                <a:gd name="T24" fmla="*/ 8252 w 9905"/>
                <a:gd name="T25" fmla="*/ 227 h 1485"/>
                <a:gd name="T26" fmla="*/ 8543 w 9905"/>
                <a:gd name="T27" fmla="*/ 300 h 1485"/>
                <a:gd name="T28" fmla="*/ 8567 w 9905"/>
                <a:gd name="T29" fmla="*/ 73 h 1485"/>
                <a:gd name="T30" fmla="*/ 7785 w 9905"/>
                <a:gd name="T31" fmla="*/ 395 h 1485"/>
                <a:gd name="T32" fmla="*/ 8292 w 9905"/>
                <a:gd name="T33" fmla="*/ 885 h 1485"/>
                <a:gd name="T34" fmla="*/ 8225 w 9905"/>
                <a:gd name="T35" fmla="*/ 1257 h 1485"/>
                <a:gd name="T36" fmla="*/ 7727 w 9905"/>
                <a:gd name="T37" fmla="*/ 1267 h 1485"/>
                <a:gd name="T38" fmla="*/ 3354 w 9905"/>
                <a:gd name="T39" fmla="*/ 1485 h 1485"/>
                <a:gd name="T40" fmla="*/ 3560 w 9905"/>
                <a:gd name="T41" fmla="*/ 673 h 1485"/>
                <a:gd name="T42" fmla="*/ 3187 w 9905"/>
                <a:gd name="T43" fmla="*/ 387 h 1485"/>
                <a:gd name="T44" fmla="*/ 3597 w 9905"/>
                <a:gd name="T45" fmla="*/ 272 h 1485"/>
                <a:gd name="T46" fmla="*/ 3805 w 9905"/>
                <a:gd name="T47" fmla="*/ 188 h 1485"/>
                <a:gd name="T48" fmla="*/ 3393 w 9905"/>
                <a:gd name="T49" fmla="*/ 0 h 1485"/>
                <a:gd name="T50" fmla="*/ 3250 w 9905"/>
                <a:gd name="T51" fmla="*/ 792 h 1485"/>
                <a:gd name="T52" fmla="*/ 3609 w 9905"/>
                <a:gd name="T53" fmla="*/ 1077 h 1485"/>
                <a:gd name="T54" fmla="*/ 3055 w 9905"/>
                <a:gd name="T55" fmla="*/ 1105 h 1485"/>
                <a:gd name="T56" fmla="*/ 5023 w 9905"/>
                <a:gd name="T57" fmla="*/ 0 h 1485"/>
                <a:gd name="T58" fmla="*/ 4905 w 9905"/>
                <a:gd name="T59" fmla="*/ 1370 h 1485"/>
                <a:gd name="T60" fmla="*/ 5140 w 9905"/>
                <a:gd name="T61" fmla="*/ 1370 h 1485"/>
                <a:gd name="T62" fmla="*/ 5868 w 9905"/>
                <a:gd name="T63" fmla="*/ 1395 h 1485"/>
                <a:gd name="T64" fmla="*/ 6117 w 9905"/>
                <a:gd name="T65" fmla="*/ 1372 h 1485"/>
                <a:gd name="T66" fmla="*/ 5884 w 9905"/>
                <a:gd name="T67" fmla="*/ 10 h 1485"/>
                <a:gd name="T68" fmla="*/ 5152 w 9905"/>
                <a:gd name="T69" fmla="*/ 88 h 1485"/>
                <a:gd name="T70" fmla="*/ 882 w 9905"/>
                <a:gd name="T71" fmla="*/ 682 h 1485"/>
                <a:gd name="T72" fmla="*/ 652 w 9905"/>
                <a:gd name="T73" fmla="*/ 1475 h 1485"/>
                <a:gd name="T74" fmla="*/ 0 w 9905"/>
                <a:gd name="T75" fmla="*/ 122 h 1485"/>
                <a:gd name="T76" fmla="*/ 622 w 9905"/>
                <a:gd name="T77" fmla="*/ 7 h 1485"/>
                <a:gd name="T78" fmla="*/ 882 w 9905"/>
                <a:gd name="T79" fmla="*/ 682 h 1485"/>
                <a:gd name="T80" fmla="*/ 592 w 9905"/>
                <a:gd name="T81" fmla="*/ 595 h 1485"/>
                <a:gd name="T82" fmla="*/ 592 w 9905"/>
                <a:gd name="T83" fmla="*/ 238 h 1485"/>
                <a:gd name="T84" fmla="*/ 237 w 9905"/>
                <a:gd name="T85" fmla="*/ 595 h 1485"/>
                <a:gd name="T86" fmla="*/ 859 w 9905"/>
                <a:gd name="T87" fmla="*/ 1032 h 1485"/>
                <a:gd name="T88" fmla="*/ 237 w 9905"/>
                <a:gd name="T89" fmla="*/ 812 h 1485"/>
                <a:gd name="T90" fmla="*/ 607 w 9905"/>
                <a:gd name="T91" fmla="*/ 1250 h 1485"/>
                <a:gd name="T92" fmla="*/ 7492 w 9905"/>
                <a:gd name="T93" fmla="*/ 125 h 1485"/>
                <a:gd name="T94" fmla="*/ 6642 w 9905"/>
                <a:gd name="T95" fmla="*/ 10 h 1485"/>
                <a:gd name="T96" fmla="*/ 6527 w 9905"/>
                <a:gd name="T97" fmla="*/ 1365 h 1485"/>
                <a:gd name="T98" fmla="*/ 7484 w 9905"/>
                <a:gd name="T99" fmla="*/ 1478 h 1485"/>
                <a:gd name="T100" fmla="*/ 6764 w 9905"/>
                <a:gd name="T101" fmla="*/ 1248 h 1485"/>
                <a:gd name="T102" fmla="*/ 7307 w 9905"/>
                <a:gd name="T103" fmla="*/ 822 h 1485"/>
                <a:gd name="T104" fmla="*/ 7307 w 9905"/>
                <a:gd name="T105" fmla="*/ 592 h 1485"/>
                <a:gd name="T106" fmla="*/ 6764 w 9905"/>
                <a:gd name="T107" fmla="*/ 240 h 1485"/>
                <a:gd name="T108" fmla="*/ 1635 w 9905"/>
                <a:gd name="T109" fmla="*/ 893 h 1485"/>
                <a:gd name="T110" fmla="*/ 1517 w 9905"/>
                <a:gd name="T111" fmla="*/ 0 h 1485"/>
                <a:gd name="T112" fmla="*/ 1399 w 9905"/>
                <a:gd name="T113" fmla="*/ 885 h 1485"/>
                <a:gd name="T114" fmla="*/ 2605 w 9905"/>
                <a:gd name="T115" fmla="*/ 885 h 1485"/>
                <a:gd name="T116" fmla="*/ 2367 w 9905"/>
                <a:gd name="T117" fmla="*/ 7 h 1485"/>
                <a:gd name="T118" fmla="*/ 2002 w 9905"/>
                <a:gd name="T119" fmla="*/ 1260 h 1485"/>
                <a:gd name="T120" fmla="*/ 4320 w 9905"/>
                <a:gd name="T121" fmla="*/ 0 h 1485"/>
                <a:gd name="T122" fmla="*/ 4439 w 9905"/>
                <a:gd name="T123" fmla="*/ 1477 h 1485"/>
                <a:gd name="T124" fmla="*/ 4202 w 9905"/>
                <a:gd name="T125" fmla="*/ 115 h 1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905" h="1485">
                  <a:moveTo>
                    <a:pt x="8929" y="1267"/>
                  </a:moveTo>
                  <a:cubicBezTo>
                    <a:pt x="8959" y="1305"/>
                    <a:pt x="9097" y="1485"/>
                    <a:pt x="9402" y="1485"/>
                  </a:cubicBezTo>
                  <a:cubicBezTo>
                    <a:pt x="9700" y="1485"/>
                    <a:pt x="9905" y="1313"/>
                    <a:pt x="9905" y="1072"/>
                  </a:cubicBezTo>
                  <a:cubicBezTo>
                    <a:pt x="9905" y="913"/>
                    <a:pt x="9842" y="787"/>
                    <a:pt x="9609" y="673"/>
                  </a:cubicBezTo>
                  <a:cubicBezTo>
                    <a:pt x="9545" y="643"/>
                    <a:pt x="9368" y="558"/>
                    <a:pt x="9368" y="558"/>
                  </a:cubicBezTo>
                  <a:cubicBezTo>
                    <a:pt x="9277" y="513"/>
                    <a:pt x="9235" y="460"/>
                    <a:pt x="9235" y="387"/>
                  </a:cubicBezTo>
                  <a:cubicBezTo>
                    <a:pt x="9235" y="310"/>
                    <a:pt x="9298" y="227"/>
                    <a:pt x="9452" y="227"/>
                  </a:cubicBezTo>
                  <a:cubicBezTo>
                    <a:pt x="9540" y="227"/>
                    <a:pt x="9609" y="255"/>
                    <a:pt x="9645" y="272"/>
                  </a:cubicBezTo>
                  <a:cubicBezTo>
                    <a:pt x="9662" y="280"/>
                    <a:pt x="9704" y="300"/>
                    <a:pt x="9743" y="300"/>
                  </a:cubicBezTo>
                  <a:cubicBezTo>
                    <a:pt x="9795" y="300"/>
                    <a:pt x="9852" y="263"/>
                    <a:pt x="9852" y="188"/>
                  </a:cubicBezTo>
                  <a:cubicBezTo>
                    <a:pt x="9852" y="125"/>
                    <a:pt x="9807" y="92"/>
                    <a:pt x="9767" y="73"/>
                  </a:cubicBezTo>
                  <a:cubicBezTo>
                    <a:pt x="9704" y="43"/>
                    <a:pt x="9605" y="0"/>
                    <a:pt x="9440" y="0"/>
                  </a:cubicBezTo>
                  <a:cubicBezTo>
                    <a:pt x="9179" y="0"/>
                    <a:pt x="8985" y="165"/>
                    <a:pt x="8985" y="395"/>
                  </a:cubicBezTo>
                  <a:cubicBezTo>
                    <a:pt x="8985" y="605"/>
                    <a:pt x="9125" y="710"/>
                    <a:pt x="9297" y="792"/>
                  </a:cubicBezTo>
                  <a:cubicBezTo>
                    <a:pt x="9329" y="807"/>
                    <a:pt x="9455" y="868"/>
                    <a:pt x="9490" y="885"/>
                  </a:cubicBezTo>
                  <a:cubicBezTo>
                    <a:pt x="9598" y="937"/>
                    <a:pt x="9655" y="987"/>
                    <a:pt x="9655" y="1077"/>
                  </a:cubicBezTo>
                  <a:cubicBezTo>
                    <a:pt x="9655" y="1175"/>
                    <a:pt x="9564" y="1257"/>
                    <a:pt x="9425" y="1257"/>
                  </a:cubicBezTo>
                  <a:cubicBezTo>
                    <a:pt x="9227" y="1257"/>
                    <a:pt x="9120" y="1127"/>
                    <a:pt x="9102" y="1105"/>
                  </a:cubicBezTo>
                  <a:lnTo>
                    <a:pt x="8929" y="1267"/>
                  </a:lnTo>
                  <a:close/>
                  <a:moveTo>
                    <a:pt x="7727" y="1267"/>
                  </a:moveTo>
                  <a:cubicBezTo>
                    <a:pt x="7757" y="1305"/>
                    <a:pt x="7897" y="1485"/>
                    <a:pt x="8202" y="1485"/>
                  </a:cubicBezTo>
                  <a:cubicBezTo>
                    <a:pt x="8500" y="1485"/>
                    <a:pt x="8704" y="1313"/>
                    <a:pt x="8704" y="1072"/>
                  </a:cubicBezTo>
                  <a:cubicBezTo>
                    <a:pt x="8704" y="913"/>
                    <a:pt x="8642" y="787"/>
                    <a:pt x="8407" y="673"/>
                  </a:cubicBezTo>
                  <a:cubicBezTo>
                    <a:pt x="8345" y="643"/>
                    <a:pt x="8168" y="558"/>
                    <a:pt x="8168" y="558"/>
                  </a:cubicBezTo>
                  <a:cubicBezTo>
                    <a:pt x="8075" y="513"/>
                    <a:pt x="8034" y="460"/>
                    <a:pt x="8034" y="387"/>
                  </a:cubicBezTo>
                  <a:cubicBezTo>
                    <a:pt x="8034" y="310"/>
                    <a:pt x="8097" y="227"/>
                    <a:pt x="8252" y="227"/>
                  </a:cubicBezTo>
                  <a:cubicBezTo>
                    <a:pt x="8340" y="227"/>
                    <a:pt x="8407" y="255"/>
                    <a:pt x="8443" y="272"/>
                  </a:cubicBezTo>
                  <a:cubicBezTo>
                    <a:pt x="8462" y="280"/>
                    <a:pt x="8504" y="300"/>
                    <a:pt x="8543" y="300"/>
                  </a:cubicBezTo>
                  <a:cubicBezTo>
                    <a:pt x="8595" y="300"/>
                    <a:pt x="8652" y="263"/>
                    <a:pt x="8652" y="188"/>
                  </a:cubicBezTo>
                  <a:cubicBezTo>
                    <a:pt x="8652" y="125"/>
                    <a:pt x="8607" y="92"/>
                    <a:pt x="8567" y="73"/>
                  </a:cubicBezTo>
                  <a:cubicBezTo>
                    <a:pt x="8504" y="43"/>
                    <a:pt x="8404" y="0"/>
                    <a:pt x="8240" y="0"/>
                  </a:cubicBezTo>
                  <a:cubicBezTo>
                    <a:pt x="7979" y="0"/>
                    <a:pt x="7785" y="165"/>
                    <a:pt x="7785" y="395"/>
                  </a:cubicBezTo>
                  <a:cubicBezTo>
                    <a:pt x="7785" y="605"/>
                    <a:pt x="7927" y="710"/>
                    <a:pt x="8097" y="792"/>
                  </a:cubicBezTo>
                  <a:cubicBezTo>
                    <a:pt x="8130" y="807"/>
                    <a:pt x="8257" y="868"/>
                    <a:pt x="8292" y="885"/>
                  </a:cubicBezTo>
                  <a:cubicBezTo>
                    <a:pt x="8398" y="937"/>
                    <a:pt x="8455" y="987"/>
                    <a:pt x="8455" y="1077"/>
                  </a:cubicBezTo>
                  <a:cubicBezTo>
                    <a:pt x="8455" y="1175"/>
                    <a:pt x="8364" y="1257"/>
                    <a:pt x="8225" y="1257"/>
                  </a:cubicBezTo>
                  <a:cubicBezTo>
                    <a:pt x="8025" y="1257"/>
                    <a:pt x="7920" y="1127"/>
                    <a:pt x="7902" y="1105"/>
                  </a:cubicBezTo>
                  <a:lnTo>
                    <a:pt x="7727" y="1267"/>
                  </a:lnTo>
                  <a:close/>
                  <a:moveTo>
                    <a:pt x="2880" y="1267"/>
                  </a:moveTo>
                  <a:cubicBezTo>
                    <a:pt x="2910" y="1305"/>
                    <a:pt x="3049" y="1485"/>
                    <a:pt x="3354" y="1485"/>
                  </a:cubicBezTo>
                  <a:cubicBezTo>
                    <a:pt x="3654" y="1485"/>
                    <a:pt x="3857" y="1313"/>
                    <a:pt x="3857" y="1072"/>
                  </a:cubicBezTo>
                  <a:cubicBezTo>
                    <a:pt x="3857" y="913"/>
                    <a:pt x="3795" y="787"/>
                    <a:pt x="3560" y="673"/>
                  </a:cubicBezTo>
                  <a:cubicBezTo>
                    <a:pt x="3497" y="643"/>
                    <a:pt x="3322" y="558"/>
                    <a:pt x="3322" y="558"/>
                  </a:cubicBezTo>
                  <a:cubicBezTo>
                    <a:pt x="3229" y="513"/>
                    <a:pt x="3187" y="460"/>
                    <a:pt x="3187" y="387"/>
                  </a:cubicBezTo>
                  <a:cubicBezTo>
                    <a:pt x="3187" y="310"/>
                    <a:pt x="3250" y="227"/>
                    <a:pt x="3405" y="227"/>
                  </a:cubicBezTo>
                  <a:cubicBezTo>
                    <a:pt x="3493" y="227"/>
                    <a:pt x="3562" y="255"/>
                    <a:pt x="3597" y="272"/>
                  </a:cubicBezTo>
                  <a:cubicBezTo>
                    <a:pt x="3615" y="280"/>
                    <a:pt x="3657" y="300"/>
                    <a:pt x="3697" y="300"/>
                  </a:cubicBezTo>
                  <a:cubicBezTo>
                    <a:pt x="3749" y="300"/>
                    <a:pt x="3805" y="263"/>
                    <a:pt x="3805" y="188"/>
                  </a:cubicBezTo>
                  <a:cubicBezTo>
                    <a:pt x="3805" y="125"/>
                    <a:pt x="3760" y="92"/>
                    <a:pt x="3720" y="73"/>
                  </a:cubicBezTo>
                  <a:cubicBezTo>
                    <a:pt x="3657" y="43"/>
                    <a:pt x="3559" y="0"/>
                    <a:pt x="3393" y="0"/>
                  </a:cubicBezTo>
                  <a:cubicBezTo>
                    <a:pt x="3132" y="0"/>
                    <a:pt x="2939" y="165"/>
                    <a:pt x="2939" y="395"/>
                  </a:cubicBezTo>
                  <a:cubicBezTo>
                    <a:pt x="2939" y="605"/>
                    <a:pt x="3080" y="710"/>
                    <a:pt x="3250" y="792"/>
                  </a:cubicBezTo>
                  <a:cubicBezTo>
                    <a:pt x="3282" y="807"/>
                    <a:pt x="3409" y="868"/>
                    <a:pt x="3443" y="885"/>
                  </a:cubicBezTo>
                  <a:cubicBezTo>
                    <a:pt x="3552" y="937"/>
                    <a:pt x="3609" y="987"/>
                    <a:pt x="3609" y="1077"/>
                  </a:cubicBezTo>
                  <a:cubicBezTo>
                    <a:pt x="3609" y="1175"/>
                    <a:pt x="3517" y="1257"/>
                    <a:pt x="3379" y="1257"/>
                  </a:cubicBezTo>
                  <a:cubicBezTo>
                    <a:pt x="3180" y="1257"/>
                    <a:pt x="3074" y="1127"/>
                    <a:pt x="3055" y="1105"/>
                  </a:cubicBezTo>
                  <a:lnTo>
                    <a:pt x="2880" y="1267"/>
                  </a:lnTo>
                  <a:close/>
                  <a:moveTo>
                    <a:pt x="5023" y="0"/>
                  </a:moveTo>
                  <a:cubicBezTo>
                    <a:pt x="4952" y="0"/>
                    <a:pt x="4905" y="52"/>
                    <a:pt x="4905" y="113"/>
                  </a:cubicBezTo>
                  <a:lnTo>
                    <a:pt x="4905" y="1370"/>
                  </a:lnTo>
                  <a:cubicBezTo>
                    <a:pt x="4905" y="1433"/>
                    <a:pt x="4960" y="1483"/>
                    <a:pt x="5023" y="1483"/>
                  </a:cubicBezTo>
                  <a:cubicBezTo>
                    <a:pt x="5085" y="1483"/>
                    <a:pt x="5140" y="1433"/>
                    <a:pt x="5140" y="1370"/>
                  </a:cubicBezTo>
                  <a:lnTo>
                    <a:pt x="5140" y="463"/>
                  </a:lnTo>
                  <a:cubicBezTo>
                    <a:pt x="5140" y="463"/>
                    <a:pt x="5717" y="1200"/>
                    <a:pt x="5868" y="1395"/>
                  </a:cubicBezTo>
                  <a:cubicBezTo>
                    <a:pt x="5907" y="1443"/>
                    <a:pt x="5934" y="1485"/>
                    <a:pt x="6002" y="1485"/>
                  </a:cubicBezTo>
                  <a:cubicBezTo>
                    <a:pt x="6070" y="1485"/>
                    <a:pt x="6117" y="1435"/>
                    <a:pt x="6117" y="1372"/>
                  </a:cubicBezTo>
                  <a:lnTo>
                    <a:pt x="6117" y="10"/>
                  </a:lnTo>
                  <a:lnTo>
                    <a:pt x="5884" y="10"/>
                  </a:lnTo>
                  <a:lnTo>
                    <a:pt x="5884" y="1027"/>
                  </a:lnTo>
                  <a:cubicBezTo>
                    <a:pt x="5884" y="1027"/>
                    <a:pt x="5242" y="203"/>
                    <a:pt x="5152" y="88"/>
                  </a:cubicBezTo>
                  <a:cubicBezTo>
                    <a:pt x="5110" y="35"/>
                    <a:pt x="5079" y="0"/>
                    <a:pt x="5023" y="0"/>
                  </a:cubicBezTo>
                  <a:close/>
                  <a:moveTo>
                    <a:pt x="882" y="682"/>
                  </a:moveTo>
                  <a:cubicBezTo>
                    <a:pt x="924" y="702"/>
                    <a:pt x="1099" y="777"/>
                    <a:pt x="1099" y="1037"/>
                  </a:cubicBezTo>
                  <a:cubicBezTo>
                    <a:pt x="1099" y="1283"/>
                    <a:pt x="915" y="1475"/>
                    <a:pt x="652" y="1475"/>
                  </a:cubicBezTo>
                  <a:lnTo>
                    <a:pt x="0" y="1475"/>
                  </a:lnTo>
                  <a:lnTo>
                    <a:pt x="0" y="122"/>
                  </a:lnTo>
                  <a:cubicBezTo>
                    <a:pt x="0" y="53"/>
                    <a:pt x="47" y="7"/>
                    <a:pt x="115" y="7"/>
                  </a:cubicBezTo>
                  <a:lnTo>
                    <a:pt x="622" y="7"/>
                  </a:lnTo>
                  <a:cubicBezTo>
                    <a:pt x="868" y="7"/>
                    <a:pt x="1030" y="155"/>
                    <a:pt x="1030" y="380"/>
                  </a:cubicBezTo>
                  <a:cubicBezTo>
                    <a:pt x="1030" y="572"/>
                    <a:pt x="922" y="657"/>
                    <a:pt x="882" y="682"/>
                  </a:cubicBezTo>
                  <a:moveTo>
                    <a:pt x="237" y="595"/>
                  </a:moveTo>
                  <a:lnTo>
                    <a:pt x="592" y="595"/>
                  </a:lnTo>
                  <a:cubicBezTo>
                    <a:pt x="718" y="595"/>
                    <a:pt x="790" y="515"/>
                    <a:pt x="790" y="417"/>
                  </a:cubicBezTo>
                  <a:cubicBezTo>
                    <a:pt x="790" y="318"/>
                    <a:pt x="725" y="238"/>
                    <a:pt x="592" y="238"/>
                  </a:cubicBezTo>
                  <a:lnTo>
                    <a:pt x="237" y="238"/>
                  </a:lnTo>
                  <a:lnTo>
                    <a:pt x="237" y="595"/>
                  </a:lnTo>
                  <a:close/>
                  <a:moveTo>
                    <a:pt x="607" y="1250"/>
                  </a:moveTo>
                  <a:cubicBezTo>
                    <a:pt x="774" y="1250"/>
                    <a:pt x="859" y="1152"/>
                    <a:pt x="859" y="1032"/>
                  </a:cubicBezTo>
                  <a:cubicBezTo>
                    <a:pt x="859" y="910"/>
                    <a:pt x="777" y="812"/>
                    <a:pt x="607" y="812"/>
                  </a:cubicBezTo>
                  <a:lnTo>
                    <a:pt x="237" y="812"/>
                  </a:lnTo>
                  <a:lnTo>
                    <a:pt x="237" y="1250"/>
                  </a:lnTo>
                  <a:lnTo>
                    <a:pt x="607" y="1250"/>
                  </a:lnTo>
                  <a:close/>
                  <a:moveTo>
                    <a:pt x="7367" y="240"/>
                  </a:moveTo>
                  <a:cubicBezTo>
                    <a:pt x="7445" y="240"/>
                    <a:pt x="7492" y="190"/>
                    <a:pt x="7492" y="125"/>
                  </a:cubicBezTo>
                  <a:cubicBezTo>
                    <a:pt x="7492" y="60"/>
                    <a:pt x="7443" y="10"/>
                    <a:pt x="7367" y="10"/>
                  </a:cubicBezTo>
                  <a:lnTo>
                    <a:pt x="6642" y="10"/>
                  </a:lnTo>
                  <a:cubicBezTo>
                    <a:pt x="6575" y="10"/>
                    <a:pt x="6527" y="58"/>
                    <a:pt x="6527" y="125"/>
                  </a:cubicBezTo>
                  <a:lnTo>
                    <a:pt x="6527" y="1365"/>
                  </a:lnTo>
                  <a:cubicBezTo>
                    <a:pt x="6527" y="1430"/>
                    <a:pt x="6575" y="1478"/>
                    <a:pt x="6642" y="1478"/>
                  </a:cubicBezTo>
                  <a:lnTo>
                    <a:pt x="7484" y="1478"/>
                  </a:lnTo>
                  <a:lnTo>
                    <a:pt x="7484" y="1248"/>
                  </a:lnTo>
                  <a:lnTo>
                    <a:pt x="6764" y="1248"/>
                  </a:lnTo>
                  <a:lnTo>
                    <a:pt x="6764" y="822"/>
                  </a:lnTo>
                  <a:lnTo>
                    <a:pt x="7307" y="822"/>
                  </a:lnTo>
                  <a:cubicBezTo>
                    <a:pt x="7389" y="822"/>
                    <a:pt x="7435" y="773"/>
                    <a:pt x="7435" y="707"/>
                  </a:cubicBezTo>
                  <a:cubicBezTo>
                    <a:pt x="7435" y="640"/>
                    <a:pt x="7390" y="592"/>
                    <a:pt x="7307" y="592"/>
                  </a:cubicBezTo>
                  <a:lnTo>
                    <a:pt x="6764" y="592"/>
                  </a:lnTo>
                  <a:lnTo>
                    <a:pt x="6764" y="240"/>
                  </a:lnTo>
                  <a:lnTo>
                    <a:pt x="7367" y="240"/>
                  </a:lnTo>
                  <a:close/>
                  <a:moveTo>
                    <a:pt x="1635" y="893"/>
                  </a:moveTo>
                  <a:lnTo>
                    <a:pt x="1635" y="115"/>
                  </a:lnTo>
                  <a:cubicBezTo>
                    <a:pt x="1635" y="52"/>
                    <a:pt x="1589" y="0"/>
                    <a:pt x="1517" y="0"/>
                  </a:cubicBezTo>
                  <a:cubicBezTo>
                    <a:pt x="1443" y="0"/>
                    <a:pt x="1399" y="52"/>
                    <a:pt x="1399" y="115"/>
                  </a:cubicBezTo>
                  <a:lnTo>
                    <a:pt x="1399" y="885"/>
                  </a:lnTo>
                  <a:cubicBezTo>
                    <a:pt x="1399" y="1215"/>
                    <a:pt x="1630" y="1483"/>
                    <a:pt x="2002" y="1483"/>
                  </a:cubicBezTo>
                  <a:cubicBezTo>
                    <a:pt x="2372" y="1483"/>
                    <a:pt x="2605" y="1215"/>
                    <a:pt x="2605" y="885"/>
                  </a:cubicBezTo>
                  <a:lnTo>
                    <a:pt x="2605" y="7"/>
                  </a:lnTo>
                  <a:lnTo>
                    <a:pt x="2367" y="7"/>
                  </a:lnTo>
                  <a:lnTo>
                    <a:pt x="2367" y="892"/>
                  </a:lnTo>
                  <a:cubicBezTo>
                    <a:pt x="2367" y="1087"/>
                    <a:pt x="2237" y="1260"/>
                    <a:pt x="2002" y="1260"/>
                  </a:cubicBezTo>
                  <a:cubicBezTo>
                    <a:pt x="1765" y="1262"/>
                    <a:pt x="1635" y="1088"/>
                    <a:pt x="1635" y="893"/>
                  </a:cubicBezTo>
                  <a:close/>
                  <a:moveTo>
                    <a:pt x="4320" y="0"/>
                  </a:moveTo>
                  <a:cubicBezTo>
                    <a:pt x="4393" y="0"/>
                    <a:pt x="4439" y="52"/>
                    <a:pt x="4439" y="115"/>
                  </a:cubicBezTo>
                  <a:lnTo>
                    <a:pt x="4439" y="1477"/>
                  </a:lnTo>
                  <a:lnTo>
                    <a:pt x="4202" y="1477"/>
                  </a:lnTo>
                  <a:lnTo>
                    <a:pt x="4202" y="115"/>
                  </a:lnTo>
                  <a:cubicBezTo>
                    <a:pt x="4202" y="52"/>
                    <a:pt x="4247" y="0"/>
                    <a:pt x="432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3314378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Open / Close 3">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01715D-BBCC-4185-A6D8-5FD229113338}"/>
              </a:ext>
            </a:extLst>
          </p:cNvPr>
          <p:cNvSpPr>
            <a:spLocks noGrp="1"/>
          </p:cNvSpPr>
          <p:nvPr>
            <p:ph type="ctrTitle" hasCustomPrompt="1"/>
          </p:nvPr>
        </p:nvSpPr>
        <p:spPr>
          <a:xfrm>
            <a:off x="419286" y="1870075"/>
            <a:ext cx="8735827" cy="2286000"/>
          </a:xfrm>
        </p:spPr>
        <p:txBody>
          <a:bodyPr lIns="0" tIns="0" rIns="0" bIns="0" anchor="ctr">
            <a:noAutofit/>
          </a:bodyPr>
          <a:lstStyle>
            <a:lvl1pPr algn="l">
              <a:defRPr sz="8000">
                <a:solidFill>
                  <a:schemeClr val="accent2"/>
                </a:solidFill>
              </a:defRPr>
            </a:lvl1pPr>
          </a:lstStyle>
          <a:p>
            <a:r>
              <a:rPr lang="en-US"/>
              <a:t>Welcome/Thank You, 80pt </a:t>
            </a:r>
            <a:r>
              <a:rPr lang="en-GB"/>
              <a:t>Regular</a:t>
            </a:r>
            <a:endParaRPr lang="en-US"/>
          </a:p>
        </p:txBody>
      </p:sp>
      <p:grpSp>
        <p:nvGrpSpPr>
          <p:cNvPr id="6" name="Group 4">
            <a:extLst>
              <a:ext uri="{FF2B5EF4-FFF2-40B4-BE49-F238E27FC236}">
                <a16:creationId xmlns:a16="http://schemas.microsoft.com/office/drawing/2014/main" id="{C970C037-77F2-467A-9CE4-EAEA416CACE9}"/>
              </a:ext>
            </a:extLst>
          </p:cNvPr>
          <p:cNvGrpSpPr>
            <a:grpSpLocks noChangeAspect="1"/>
          </p:cNvGrpSpPr>
          <p:nvPr userDrawn="1"/>
        </p:nvGrpSpPr>
        <p:grpSpPr bwMode="auto">
          <a:xfrm>
            <a:off x="457200" y="5518959"/>
            <a:ext cx="1581912" cy="804468"/>
            <a:chOff x="1276" y="2201"/>
            <a:chExt cx="4800" cy="2441"/>
          </a:xfrm>
          <a:solidFill>
            <a:srgbClr val="FFFFFF"/>
          </a:solidFill>
        </p:grpSpPr>
        <p:sp>
          <p:nvSpPr>
            <p:cNvPr id="10" name="Freeform 5">
              <a:extLst>
                <a:ext uri="{FF2B5EF4-FFF2-40B4-BE49-F238E27FC236}">
                  <a16:creationId xmlns:a16="http://schemas.microsoft.com/office/drawing/2014/main" id="{E2047F32-8C74-4068-AE0F-60AB9D89B9F4}"/>
                </a:ext>
              </a:extLst>
            </p:cNvPr>
            <p:cNvSpPr>
              <a:spLocks noEditPoints="1"/>
            </p:cNvSpPr>
            <p:nvPr userDrawn="1"/>
          </p:nvSpPr>
          <p:spPr bwMode="auto">
            <a:xfrm>
              <a:off x="1276" y="2201"/>
              <a:ext cx="4794" cy="2441"/>
            </a:xfrm>
            <a:custGeom>
              <a:avLst/>
              <a:gdLst>
                <a:gd name="T0" fmla="*/ 9572 w 9986"/>
                <a:gd name="T1" fmla="*/ 153 h 5085"/>
                <a:gd name="T2" fmla="*/ 6835 w 9986"/>
                <a:gd name="T3" fmla="*/ 925 h 5085"/>
                <a:gd name="T4" fmla="*/ 6895 w 9986"/>
                <a:gd name="T5" fmla="*/ 780 h 5085"/>
                <a:gd name="T6" fmla="*/ 3251 w 9986"/>
                <a:gd name="T7" fmla="*/ 1478 h 5085"/>
                <a:gd name="T8" fmla="*/ 4555 w 9986"/>
                <a:gd name="T9" fmla="*/ 55 h 5085"/>
                <a:gd name="T10" fmla="*/ 5001 w 9986"/>
                <a:gd name="T11" fmla="*/ 740 h 5085"/>
                <a:gd name="T12" fmla="*/ 1260 w 9986"/>
                <a:gd name="T13" fmla="*/ 320 h 5085"/>
                <a:gd name="T14" fmla="*/ 738 w 9986"/>
                <a:gd name="T15" fmla="*/ 1331 h 5085"/>
                <a:gd name="T16" fmla="*/ 8772 w 9986"/>
                <a:gd name="T17" fmla="*/ 158 h 5085"/>
                <a:gd name="T18" fmla="*/ 8053 w 9986"/>
                <a:gd name="T19" fmla="*/ 1163 h 5085"/>
                <a:gd name="T20" fmla="*/ 2988 w 9986"/>
                <a:gd name="T21" fmla="*/ 740 h 5085"/>
                <a:gd name="T22" fmla="*/ 9814 w 9986"/>
                <a:gd name="T23" fmla="*/ 4415 h 5085"/>
                <a:gd name="T24" fmla="*/ 9918 w 9986"/>
                <a:gd name="T25" fmla="*/ 4246 h 5085"/>
                <a:gd name="T26" fmla="*/ 9562 w 9986"/>
                <a:gd name="T27" fmla="*/ 4273 h 5085"/>
                <a:gd name="T28" fmla="*/ 9408 w 9986"/>
                <a:gd name="T29" fmla="*/ 4780 h 5085"/>
                <a:gd name="T30" fmla="*/ 9380 w 9986"/>
                <a:gd name="T31" fmla="*/ 4447 h 5085"/>
                <a:gd name="T32" fmla="*/ 9389 w 9986"/>
                <a:gd name="T33" fmla="*/ 4671 h 5085"/>
                <a:gd name="T34" fmla="*/ 8917 w 9986"/>
                <a:gd name="T35" fmla="*/ 4533 h 5085"/>
                <a:gd name="T36" fmla="*/ 9001 w 9986"/>
                <a:gd name="T37" fmla="*/ 4836 h 5085"/>
                <a:gd name="T38" fmla="*/ 8919 w 9986"/>
                <a:gd name="T39" fmla="*/ 4466 h 5085"/>
                <a:gd name="T40" fmla="*/ 8387 w 9986"/>
                <a:gd name="T41" fmla="*/ 4323 h 5085"/>
                <a:gd name="T42" fmla="*/ 8282 w 9986"/>
                <a:gd name="T43" fmla="*/ 4879 h 5085"/>
                <a:gd name="T44" fmla="*/ 8045 w 9986"/>
                <a:gd name="T45" fmla="*/ 4336 h 5085"/>
                <a:gd name="T46" fmla="*/ 8228 w 9986"/>
                <a:gd name="T47" fmla="*/ 4852 h 5085"/>
                <a:gd name="T48" fmla="*/ 7788 w 9986"/>
                <a:gd name="T49" fmla="*/ 4291 h 5085"/>
                <a:gd name="T50" fmla="*/ 7635 w 9986"/>
                <a:gd name="T51" fmla="*/ 4246 h 5085"/>
                <a:gd name="T52" fmla="*/ 7339 w 9986"/>
                <a:gd name="T53" fmla="*/ 4323 h 5085"/>
                <a:gd name="T54" fmla="*/ 7070 w 9986"/>
                <a:gd name="T55" fmla="*/ 4833 h 5085"/>
                <a:gd name="T56" fmla="*/ 6828 w 9986"/>
                <a:gd name="T57" fmla="*/ 4769 h 5085"/>
                <a:gd name="T58" fmla="*/ 6985 w 9986"/>
                <a:gd name="T59" fmla="*/ 4912 h 5085"/>
                <a:gd name="T60" fmla="*/ 6985 w 9986"/>
                <a:gd name="T61" fmla="*/ 4435 h 5085"/>
                <a:gd name="T62" fmla="*/ 6510 w 9986"/>
                <a:gd name="T63" fmla="*/ 4260 h 5085"/>
                <a:gd name="T64" fmla="*/ 6046 w 9986"/>
                <a:gd name="T65" fmla="*/ 4804 h 5085"/>
                <a:gd name="T66" fmla="*/ 6059 w 9986"/>
                <a:gd name="T67" fmla="*/ 4643 h 5085"/>
                <a:gd name="T68" fmla="*/ 6098 w 9986"/>
                <a:gd name="T69" fmla="*/ 4567 h 5085"/>
                <a:gd name="T70" fmla="*/ 6099 w 9986"/>
                <a:gd name="T71" fmla="*/ 4896 h 5085"/>
                <a:gd name="T72" fmla="*/ 5833 w 9986"/>
                <a:gd name="T73" fmla="*/ 4717 h 5085"/>
                <a:gd name="T74" fmla="*/ 5913 w 9986"/>
                <a:gd name="T75" fmla="*/ 4530 h 5085"/>
                <a:gd name="T76" fmla="*/ 5956 w 9986"/>
                <a:gd name="T77" fmla="*/ 4779 h 5085"/>
                <a:gd name="T78" fmla="*/ 5277 w 9986"/>
                <a:gd name="T79" fmla="*/ 4491 h 5085"/>
                <a:gd name="T80" fmla="*/ 5069 w 9986"/>
                <a:gd name="T81" fmla="*/ 4796 h 5085"/>
                <a:gd name="T82" fmla="*/ 5399 w 9986"/>
                <a:gd name="T83" fmla="*/ 4882 h 5085"/>
                <a:gd name="T84" fmla="*/ 4727 w 9986"/>
                <a:gd name="T85" fmla="*/ 4653 h 5085"/>
                <a:gd name="T86" fmla="*/ 4495 w 9986"/>
                <a:gd name="T87" fmla="*/ 4284 h 5085"/>
                <a:gd name="T88" fmla="*/ 3755 w 9986"/>
                <a:gd name="T89" fmla="*/ 4512 h 5085"/>
                <a:gd name="T90" fmla="*/ 4028 w 9986"/>
                <a:gd name="T91" fmla="*/ 5028 h 5085"/>
                <a:gd name="T92" fmla="*/ 4023 w 9986"/>
                <a:gd name="T93" fmla="*/ 4799 h 5085"/>
                <a:gd name="T94" fmla="*/ 3948 w 9986"/>
                <a:gd name="T95" fmla="*/ 4459 h 5085"/>
                <a:gd name="T96" fmla="*/ 3405 w 9986"/>
                <a:gd name="T97" fmla="*/ 4531 h 5085"/>
                <a:gd name="T98" fmla="*/ 3205 w 9986"/>
                <a:gd name="T99" fmla="*/ 4459 h 5085"/>
                <a:gd name="T100" fmla="*/ 2844 w 9986"/>
                <a:gd name="T101" fmla="*/ 4291 h 5085"/>
                <a:gd name="T102" fmla="*/ 2753 w 9986"/>
                <a:gd name="T103" fmla="*/ 4435 h 5085"/>
                <a:gd name="T104" fmla="*/ 2577 w 9986"/>
                <a:gd name="T105" fmla="*/ 4531 h 5085"/>
                <a:gd name="T106" fmla="*/ 2001 w 9986"/>
                <a:gd name="T107" fmla="*/ 4693 h 5085"/>
                <a:gd name="T108" fmla="*/ 1969 w 9986"/>
                <a:gd name="T109" fmla="*/ 4796 h 5085"/>
                <a:gd name="T110" fmla="*/ 1912 w 9986"/>
                <a:gd name="T111" fmla="*/ 4439 h 5085"/>
                <a:gd name="T112" fmla="*/ 1500 w 9986"/>
                <a:gd name="T113" fmla="*/ 4439 h 5085"/>
                <a:gd name="T114" fmla="*/ 965 w 9986"/>
                <a:gd name="T115" fmla="*/ 4513 h 5085"/>
                <a:gd name="T116" fmla="*/ 753 w 9986"/>
                <a:gd name="T117" fmla="*/ 4882 h 5085"/>
                <a:gd name="T118" fmla="*/ 1083 w 9986"/>
                <a:gd name="T119" fmla="*/ 4796 h 5085"/>
                <a:gd name="T120" fmla="*/ 159 w 9986"/>
                <a:gd name="T121" fmla="*/ 4653 h 5085"/>
                <a:gd name="T122" fmla="*/ 93 w 9986"/>
                <a:gd name="T123" fmla="*/ 4908 h 5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986" h="5085">
                  <a:moveTo>
                    <a:pt x="9986" y="81"/>
                  </a:moveTo>
                  <a:cubicBezTo>
                    <a:pt x="9986" y="41"/>
                    <a:pt x="9953" y="8"/>
                    <a:pt x="9913" y="8"/>
                  </a:cubicBezTo>
                  <a:lnTo>
                    <a:pt x="9093" y="8"/>
                  </a:lnTo>
                  <a:cubicBezTo>
                    <a:pt x="9053" y="8"/>
                    <a:pt x="9020" y="40"/>
                    <a:pt x="9020" y="81"/>
                  </a:cubicBezTo>
                  <a:cubicBezTo>
                    <a:pt x="9020" y="121"/>
                    <a:pt x="9051" y="153"/>
                    <a:pt x="9093" y="153"/>
                  </a:cubicBezTo>
                  <a:lnTo>
                    <a:pt x="9438" y="153"/>
                  </a:lnTo>
                  <a:lnTo>
                    <a:pt x="9438" y="1468"/>
                  </a:lnTo>
                  <a:lnTo>
                    <a:pt x="9572" y="1468"/>
                  </a:lnTo>
                  <a:lnTo>
                    <a:pt x="9572" y="153"/>
                  </a:lnTo>
                  <a:lnTo>
                    <a:pt x="9915" y="153"/>
                  </a:lnTo>
                  <a:cubicBezTo>
                    <a:pt x="9955" y="155"/>
                    <a:pt x="9986" y="121"/>
                    <a:pt x="9986" y="81"/>
                  </a:cubicBezTo>
                  <a:close/>
                  <a:moveTo>
                    <a:pt x="7113" y="1"/>
                  </a:moveTo>
                  <a:cubicBezTo>
                    <a:pt x="7085" y="1"/>
                    <a:pt x="7065" y="20"/>
                    <a:pt x="7051" y="43"/>
                  </a:cubicBezTo>
                  <a:cubicBezTo>
                    <a:pt x="7040" y="66"/>
                    <a:pt x="6505" y="1386"/>
                    <a:pt x="6505" y="1386"/>
                  </a:cubicBezTo>
                  <a:cubicBezTo>
                    <a:pt x="6501" y="1395"/>
                    <a:pt x="6500" y="1403"/>
                    <a:pt x="6500" y="1411"/>
                  </a:cubicBezTo>
                  <a:cubicBezTo>
                    <a:pt x="6500" y="1448"/>
                    <a:pt x="6528" y="1476"/>
                    <a:pt x="6565" y="1476"/>
                  </a:cubicBezTo>
                  <a:cubicBezTo>
                    <a:pt x="6593" y="1476"/>
                    <a:pt x="6617" y="1460"/>
                    <a:pt x="6626" y="1435"/>
                  </a:cubicBezTo>
                  <a:lnTo>
                    <a:pt x="6835" y="925"/>
                  </a:lnTo>
                  <a:lnTo>
                    <a:pt x="7393" y="925"/>
                  </a:lnTo>
                  <a:lnTo>
                    <a:pt x="7615" y="1468"/>
                  </a:lnTo>
                  <a:lnTo>
                    <a:pt x="7756" y="1468"/>
                  </a:lnTo>
                  <a:cubicBezTo>
                    <a:pt x="7756" y="1468"/>
                    <a:pt x="7188" y="65"/>
                    <a:pt x="7176" y="41"/>
                  </a:cubicBezTo>
                  <a:cubicBezTo>
                    <a:pt x="7163" y="20"/>
                    <a:pt x="7142" y="1"/>
                    <a:pt x="7113" y="1"/>
                  </a:cubicBezTo>
                  <a:moveTo>
                    <a:pt x="6895" y="780"/>
                  </a:moveTo>
                  <a:lnTo>
                    <a:pt x="7115" y="240"/>
                  </a:lnTo>
                  <a:lnTo>
                    <a:pt x="7335" y="780"/>
                  </a:lnTo>
                  <a:lnTo>
                    <a:pt x="6895" y="780"/>
                  </a:lnTo>
                  <a:close/>
                  <a:moveTo>
                    <a:pt x="4490" y="1"/>
                  </a:moveTo>
                  <a:cubicBezTo>
                    <a:pt x="4463" y="1"/>
                    <a:pt x="4441" y="20"/>
                    <a:pt x="4430" y="41"/>
                  </a:cubicBezTo>
                  <a:cubicBezTo>
                    <a:pt x="4418" y="65"/>
                    <a:pt x="3995" y="1108"/>
                    <a:pt x="3995" y="1108"/>
                  </a:cubicBezTo>
                  <a:cubicBezTo>
                    <a:pt x="3995" y="1108"/>
                    <a:pt x="3572" y="63"/>
                    <a:pt x="3560" y="41"/>
                  </a:cubicBezTo>
                  <a:cubicBezTo>
                    <a:pt x="3548" y="18"/>
                    <a:pt x="3526" y="1"/>
                    <a:pt x="3500" y="1"/>
                  </a:cubicBezTo>
                  <a:cubicBezTo>
                    <a:pt x="3468" y="1"/>
                    <a:pt x="3443" y="25"/>
                    <a:pt x="3435" y="55"/>
                  </a:cubicBezTo>
                  <a:cubicBezTo>
                    <a:pt x="3426" y="85"/>
                    <a:pt x="3188" y="1400"/>
                    <a:pt x="3188" y="1400"/>
                  </a:cubicBezTo>
                  <a:cubicBezTo>
                    <a:pt x="3188" y="1405"/>
                    <a:pt x="3186" y="1408"/>
                    <a:pt x="3186" y="1413"/>
                  </a:cubicBezTo>
                  <a:cubicBezTo>
                    <a:pt x="3186" y="1450"/>
                    <a:pt x="3216" y="1478"/>
                    <a:pt x="3251" y="1478"/>
                  </a:cubicBezTo>
                  <a:cubicBezTo>
                    <a:pt x="3283" y="1478"/>
                    <a:pt x="3310" y="1455"/>
                    <a:pt x="3316" y="1425"/>
                  </a:cubicBezTo>
                  <a:lnTo>
                    <a:pt x="3523" y="300"/>
                  </a:lnTo>
                  <a:cubicBezTo>
                    <a:pt x="3523" y="300"/>
                    <a:pt x="3921" y="1283"/>
                    <a:pt x="3933" y="1306"/>
                  </a:cubicBezTo>
                  <a:cubicBezTo>
                    <a:pt x="3945" y="1330"/>
                    <a:pt x="3966" y="1348"/>
                    <a:pt x="3995" y="1348"/>
                  </a:cubicBezTo>
                  <a:cubicBezTo>
                    <a:pt x="4022" y="1348"/>
                    <a:pt x="4045" y="1330"/>
                    <a:pt x="4056" y="1306"/>
                  </a:cubicBezTo>
                  <a:cubicBezTo>
                    <a:pt x="4068" y="1283"/>
                    <a:pt x="4466" y="300"/>
                    <a:pt x="4466" y="300"/>
                  </a:cubicBezTo>
                  <a:lnTo>
                    <a:pt x="4681" y="1470"/>
                  </a:lnTo>
                  <a:lnTo>
                    <a:pt x="4815" y="1470"/>
                  </a:lnTo>
                  <a:cubicBezTo>
                    <a:pt x="4815" y="1470"/>
                    <a:pt x="4563" y="85"/>
                    <a:pt x="4555" y="55"/>
                  </a:cubicBezTo>
                  <a:cubicBezTo>
                    <a:pt x="4545" y="25"/>
                    <a:pt x="4522" y="1"/>
                    <a:pt x="4490" y="1"/>
                  </a:cubicBezTo>
                  <a:moveTo>
                    <a:pt x="5740" y="146"/>
                  </a:moveTo>
                  <a:cubicBezTo>
                    <a:pt x="5898" y="146"/>
                    <a:pt x="6047" y="208"/>
                    <a:pt x="6158" y="320"/>
                  </a:cubicBezTo>
                  <a:cubicBezTo>
                    <a:pt x="6185" y="346"/>
                    <a:pt x="6235" y="346"/>
                    <a:pt x="6261" y="320"/>
                  </a:cubicBezTo>
                  <a:cubicBezTo>
                    <a:pt x="6275" y="306"/>
                    <a:pt x="6283" y="288"/>
                    <a:pt x="6283" y="268"/>
                  </a:cubicBezTo>
                  <a:cubicBezTo>
                    <a:pt x="6283" y="248"/>
                    <a:pt x="6275" y="230"/>
                    <a:pt x="6261" y="216"/>
                  </a:cubicBezTo>
                  <a:lnTo>
                    <a:pt x="6253" y="208"/>
                  </a:lnTo>
                  <a:cubicBezTo>
                    <a:pt x="6115" y="75"/>
                    <a:pt x="5933" y="1"/>
                    <a:pt x="5740" y="1"/>
                  </a:cubicBezTo>
                  <a:cubicBezTo>
                    <a:pt x="5333" y="1"/>
                    <a:pt x="5001" y="333"/>
                    <a:pt x="5001" y="740"/>
                  </a:cubicBezTo>
                  <a:cubicBezTo>
                    <a:pt x="5001" y="1146"/>
                    <a:pt x="5333" y="1478"/>
                    <a:pt x="5740" y="1478"/>
                  </a:cubicBezTo>
                  <a:cubicBezTo>
                    <a:pt x="5955" y="1478"/>
                    <a:pt x="6148" y="1386"/>
                    <a:pt x="6283" y="1238"/>
                  </a:cubicBezTo>
                  <a:lnTo>
                    <a:pt x="6180" y="1135"/>
                  </a:lnTo>
                  <a:cubicBezTo>
                    <a:pt x="6072" y="1255"/>
                    <a:pt x="5915" y="1331"/>
                    <a:pt x="5740" y="1331"/>
                  </a:cubicBezTo>
                  <a:cubicBezTo>
                    <a:pt x="5413" y="1331"/>
                    <a:pt x="5147" y="1065"/>
                    <a:pt x="5147" y="738"/>
                  </a:cubicBezTo>
                  <a:cubicBezTo>
                    <a:pt x="5147" y="413"/>
                    <a:pt x="5413" y="146"/>
                    <a:pt x="5740" y="146"/>
                  </a:cubicBezTo>
                  <a:moveTo>
                    <a:pt x="736" y="146"/>
                  </a:moveTo>
                  <a:cubicBezTo>
                    <a:pt x="895" y="146"/>
                    <a:pt x="1043" y="208"/>
                    <a:pt x="1156" y="320"/>
                  </a:cubicBezTo>
                  <a:cubicBezTo>
                    <a:pt x="1183" y="346"/>
                    <a:pt x="1233" y="346"/>
                    <a:pt x="1260" y="320"/>
                  </a:cubicBezTo>
                  <a:cubicBezTo>
                    <a:pt x="1273" y="306"/>
                    <a:pt x="1281" y="288"/>
                    <a:pt x="1281" y="268"/>
                  </a:cubicBezTo>
                  <a:cubicBezTo>
                    <a:pt x="1281" y="248"/>
                    <a:pt x="1275" y="230"/>
                    <a:pt x="1260" y="216"/>
                  </a:cubicBezTo>
                  <a:lnTo>
                    <a:pt x="1251" y="208"/>
                  </a:lnTo>
                  <a:cubicBezTo>
                    <a:pt x="1113" y="75"/>
                    <a:pt x="931" y="1"/>
                    <a:pt x="738" y="1"/>
                  </a:cubicBezTo>
                  <a:cubicBezTo>
                    <a:pt x="331" y="1"/>
                    <a:pt x="0" y="333"/>
                    <a:pt x="0" y="740"/>
                  </a:cubicBezTo>
                  <a:cubicBezTo>
                    <a:pt x="0" y="1146"/>
                    <a:pt x="331" y="1478"/>
                    <a:pt x="738" y="1478"/>
                  </a:cubicBezTo>
                  <a:cubicBezTo>
                    <a:pt x="953" y="1478"/>
                    <a:pt x="1147" y="1386"/>
                    <a:pt x="1281" y="1238"/>
                  </a:cubicBezTo>
                  <a:lnTo>
                    <a:pt x="1178" y="1135"/>
                  </a:lnTo>
                  <a:cubicBezTo>
                    <a:pt x="1070" y="1255"/>
                    <a:pt x="911" y="1331"/>
                    <a:pt x="738" y="1331"/>
                  </a:cubicBezTo>
                  <a:cubicBezTo>
                    <a:pt x="411" y="1331"/>
                    <a:pt x="145" y="1065"/>
                    <a:pt x="145" y="738"/>
                  </a:cubicBezTo>
                  <a:cubicBezTo>
                    <a:pt x="143" y="413"/>
                    <a:pt x="410" y="146"/>
                    <a:pt x="736" y="146"/>
                  </a:cubicBezTo>
                  <a:moveTo>
                    <a:pt x="8613" y="748"/>
                  </a:moveTo>
                  <a:cubicBezTo>
                    <a:pt x="8573" y="728"/>
                    <a:pt x="8333" y="603"/>
                    <a:pt x="8298" y="585"/>
                  </a:cubicBezTo>
                  <a:cubicBezTo>
                    <a:pt x="8172" y="520"/>
                    <a:pt x="8126" y="463"/>
                    <a:pt x="8126" y="366"/>
                  </a:cubicBezTo>
                  <a:cubicBezTo>
                    <a:pt x="8126" y="231"/>
                    <a:pt x="8236" y="145"/>
                    <a:pt x="8408" y="145"/>
                  </a:cubicBezTo>
                  <a:cubicBezTo>
                    <a:pt x="8508" y="145"/>
                    <a:pt x="8606" y="188"/>
                    <a:pt x="8663" y="221"/>
                  </a:cubicBezTo>
                  <a:cubicBezTo>
                    <a:pt x="8673" y="226"/>
                    <a:pt x="8686" y="230"/>
                    <a:pt x="8698" y="230"/>
                  </a:cubicBezTo>
                  <a:cubicBezTo>
                    <a:pt x="8738" y="230"/>
                    <a:pt x="8772" y="198"/>
                    <a:pt x="8772" y="158"/>
                  </a:cubicBezTo>
                  <a:cubicBezTo>
                    <a:pt x="8772" y="131"/>
                    <a:pt x="8756" y="108"/>
                    <a:pt x="8735" y="95"/>
                  </a:cubicBezTo>
                  <a:cubicBezTo>
                    <a:pt x="8663" y="55"/>
                    <a:pt x="8542" y="0"/>
                    <a:pt x="8410" y="0"/>
                  </a:cubicBezTo>
                  <a:cubicBezTo>
                    <a:pt x="8158" y="0"/>
                    <a:pt x="7983" y="150"/>
                    <a:pt x="7983" y="366"/>
                  </a:cubicBezTo>
                  <a:cubicBezTo>
                    <a:pt x="7983" y="560"/>
                    <a:pt x="8110" y="651"/>
                    <a:pt x="8235" y="715"/>
                  </a:cubicBezTo>
                  <a:cubicBezTo>
                    <a:pt x="8270" y="733"/>
                    <a:pt x="8513" y="858"/>
                    <a:pt x="8550" y="878"/>
                  </a:cubicBezTo>
                  <a:cubicBezTo>
                    <a:pt x="8647" y="928"/>
                    <a:pt x="8700" y="1005"/>
                    <a:pt x="8700" y="1091"/>
                  </a:cubicBezTo>
                  <a:cubicBezTo>
                    <a:pt x="8700" y="1208"/>
                    <a:pt x="8601" y="1331"/>
                    <a:pt x="8418" y="1331"/>
                  </a:cubicBezTo>
                  <a:cubicBezTo>
                    <a:pt x="8240" y="1331"/>
                    <a:pt x="8101" y="1211"/>
                    <a:pt x="8065" y="1175"/>
                  </a:cubicBezTo>
                  <a:lnTo>
                    <a:pt x="8053" y="1163"/>
                  </a:lnTo>
                  <a:lnTo>
                    <a:pt x="7945" y="1261"/>
                  </a:lnTo>
                  <a:lnTo>
                    <a:pt x="7958" y="1273"/>
                  </a:lnTo>
                  <a:cubicBezTo>
                    <a:pt x="8006" y="1320"/>
                    <a:pt x="8180" y="1475"/>
                    <a:pt x="8418" y="1475"/>
                  </a:cubicBezTo>
                  <a:cubicBezTo>
                    <a:pt x="8685" y="1475"/>
                    <a:pt x="8845" y="1278"/>
                    <a:pt x="8845" y="1088"/>
                  </a:cubicBezTo>
                  <a:cubicBezTo>
                    <a:pt x="8843" y="950"/>
                    <a:pt x="8760" y="825"/>
                    <a:pt x="8613" y="748"/>
                  </a:cubicBezTo>
                  <a:moveTo>
                    <a:pt x="2250" y="1"/>
                  </a:moveTo>
                  <a:cubicBezTo>
                    <a:pt x="1843" y="1"/>
                    <a:pt x="1511" y="333"/>
                    <a:pt x="1511" y="740"/>
                  </a:cubicBezTo>
                  <a:cubicBezTo>
                    <a:pt x="1511" y="1146"/>
                    <a:pt x="1843" y="1478"/>
                    <a:pt x="2250" y="1478"/>
                  </a:cubicBezTo>
                  <a:cubicBezTo>
                    <a:pt x="2656" y="1478"/>
                    <a:pt x="2988" y="1146"/>
                    <a:pt x="2988" y="740"/>
                  </a:cubicBezTo>
                  <a:cubicBezTo>
                    <a:pt x="2988" y="333"/>
                    <a:pt x="2656" y="1"/>
                    <a:pt x="2250" y="1"/>
                  </a:cubicBezTo>
                  <a:moveTo>
                    <a:pt x="2250" y="1331"/>
                  </a:moveTo>
                  <a:cubicBezTo>
                    <a:pt x="1923" y="1331"/>
                    <a:pt x="1656" y="1065"/>
                    <a:pt x="1656" y="738"/>
                  </a:cubicBezTo>
                  <a:cubicBezTo>
                    <a:pt x="1656" y="411"/>
                    <a:pt x="1923" y="145"/>
                    <a:pt x="2250" y="145"/>
                  </a:cubicBezTo>
                  <a:cubicBezTo>
                    <a:pt x="2576" y="145"/>
                    <a:pt x="2843" y="411"/>
                    <a:pt x="2843" y="738"/>
                  </a:cubicBezTo>
                  <a:cubicBezTo>
                    <a:pt x="2841" y="1066"/>
                    <a:pt x="2576" y="1331"/>
                    <a:pt x="2250" y="1331"/>
                  </a:cubicBezTo>
                  <a:close/>
                  <a:moveTo>
                    <a:pt x="9887" y="4438"/>
                  </a:moveTo>
                  <a:lnTo>
                    <a:pt x="9886" y="4303"/>
                  </a:lnTo>
                  <a:lnTo>
                    <a:pt x="9814" y="4415"/>
                  </a:lnTo>
                  <a:lnTo>
                    <a:pt x="9799" y="4415"/>
                  </a:lnTo>
                  <a:lnTo>
                    <a:pt x="9726" y="4306"/>
                  </a:lnTo>
                  <a:lnTo>
                    <a:pt x="9726" y="4438"/>
                  </a:lnTo>
                  <a:lnTo>
                    <a:pt x="9694" y="4438"/>
                  </a:lnTo>
                  <a:lnTo>
                    <a:pt x="9694" y="4246"/>
                  </a:lnTo>
                  <a:lnTo>
                    <a:pt x="9721" y="4246"/>
                  </a:lnTo>
                  <a:lnTo>
                    <a:pt x="9807" y="4377"/>
                  </a:lnTo>
                  <a:lnTo>
                    <a:pt x="9891" y="4246"/>
                  </a:lnTo>
                  <a:lnTo>
                    <a:pt x="9918" y="4246"/>
                  </a:lnTo>
                  <a:lnTo>
                    <a:pt x="9918" y="4438"/>
                  </a:lnTo>
                  <a:lnTo>
                    <a:pt x="9887" y="4438"/>
                  </a:lnTo>
                  <a:close/>
                  <a:moveTo>
                    <a:pt x="9492" y="4246"/>
                  </a:moveTo>
                  <a:lnTo>
                    <a:pt x="9666" y="4246"/>
                  </a:lnTo>
                  <a:lnTo>
                    <a:pt x="9666" y="4273"/>
                  </a:lnTo>
                  <a:lnTo>
                    <a:pt x="9596" y="4273"/>
                  </a:lnTo>
                  <a:lnTo>
                    <a:pt x="9596" y="4438"/>
                  </a:lnTo>
                  <a:lnTo>
                    <a:pt x="9562" y="4438"/>
                  </a:lnTo>
                  <a:lnTo>
                    <a:pt x="9562" y="4273"/>
                  </a:lnTo>
                  <a:lnTo>
                    <a:pt x="9492" y="4273"/>
                  </a:lnTo>
                  <a:lnTo>
                    <a:pt x="9492" y="4246"/>
                  </a:lnTo>
                  <a:close/>
                  <a:moveTo>
                    <a:pt x="9167" y="4896"/>
                  </a:moveTo>
                  <a:cubicBezTo>
                    <a:pt x="9133" y="4885"/>
                    <a:pt x="9105" y="4871"/>
                    <a:pt x="9086" y="4854"/>
                  </a:cubicBezTo>
                  <a:lnTo>
                    <a:pt x="9114" y="4804"/>
                  </a:lnTo>
                  <a:cubicBezTo>
                    <a:pt x="9134" y="4820"/>
                    <a:pt x="9159" y="4833"/>
                    <a:pt x="9188" y="4842"/>
                  </a:cubicBezTo>
                  <a:cubicBezTo>
                    <a:pt x="9218" y="4852"/>
                    <a:pt x="9249" y="4857"/>
                    <a:pt x="9281" y="4857"/>
                  </a:cubicBezTo>
                  <a:cubicBezTo>
                    <a:pt x="9324" y="4857"/>
                    <a:pt x="9356" y="4850"/>
                    <a:pt x="9377" y="4837"/>
                  </a:cubicBezTo>
                  <a:cubicBezTo>
                    <a:pt x="9397" y="4824"/>
                    <a:pt x="9408" y="4805"/>
                    <a:pt x="9408" y="4780"/>
                  </a:cubicBezTo>
                  <a:cubicBezTo>
                    <a:pt x="9408" y="4763"/>
                    <a:pt x="9402" y="4750"/>
                    <a:pt x="9390" y="4740"/>
                  </a:cubicBezTo>
                  <a:cubicBezTo>
                    <a:pt x="9379" y="4730"/>
                    <a:pt x="9365" y="4723"/>
                    <a:pt x="9348" y="4717"/>
                  </a:cubicBezTo>
                  <a:cubicBezTo>
                    <a:pt x="9330" y="4712"/>
                    <a:pt x="9307" y="4708"/>
                    <a:pt x="9279" y="4703"/>
                  </a:cubicBezTo>
                  <a:cubicBezTo>
                    <a:pt x="9241" y="4696"/>
                    <a:pt x="9210" y="4688"/>
                    <a:pt x="9187" y="4681"/>
                  </a:cubicBezTo>
                  <a:cubicBezTo>
                    <a:pt x="9163" y="4674"/>
                    <a:pt x="9144" y="4661"/>
                    <a:pt x="9127" y="4643"/>
                  </a:cubicBezTo>
                  <a:cubicBezTo>
                    <a:pt x="9111" y="4625"/>
                    <a:pt x="9103" y="4601"/>
                    <a:pt x="9103" y="4569"/>
                  </a:cubicBezTo>
                  <a:cubicBezTo>
                    <a:pt x="9103" y="4530"/>
                    <a:pt x="9119" y="4498"/>
                    <a:pt x="9152" y="4473"/>
                  </a:cubicBezTo>
                  <a:cubicBezTo>
                    <a:pt x="9185" y="4448"/>
                    <a:pt x="9230" y="4435"/>
                    <a:pt x="9289" y="4435"/>
                  </a:cubicBezTo>
                  <a:cubicBezTo>
                    <a:pt x="9319" y="4435"/>
                    <a:pt x="9349" y="4439"/>
                    <a:pt x="9380" y="4447"/>
                  </a:cubicBezTo>
                  <a:cubicBezTo>
                    <a:pt x="9410" y="4455"/>
                    <a:pt x="9435" y="4466"/>
                    <a:pt x="9455" y="4479"/>
                  </a:cubicBezTo>
                  <a:lnTo>
                    <a:pt x="9427" y="4530"/>
                  </a:lnTo>
                  <a:cubicBezTo>
                    <a:pt x="9388" y="4503"/>
                    <a:pt x="9342" y="4490"/>
                    <a:pt x="9289" y="4490"/>
                  </a:cubicBezTo>
                  <a:cubicBezTo>
                    <a:pt x="9248" y="4490"/>
                    <a:pt x="9218" y="4497"/>
                    <a:pt x="9197" y="4511"/>
                  </a:cubicBezTo>
                  <a:cubicBezTo>
                    <a:pt x="9176" y="4525"/>
                    <a:pt x="9166" y="4544"/>
                    <a:pt x="9166" y="4567"/>
                  </a:cubicBezTo>
                  <a:cubicBezTo>
                    <a:pt x="9166" y="4585"/>
                    <a:pt x="9172" y="4599"/>
                    <a:pt x="9184" y="4610"/>
                  </a:cubicBezTo>
                  <a:cubicBezTo>
                    <a:pt x="9195" y="4621"/>
                    <a:pt x="9210" y="4629"/>
                    <a:pt x="9227" y="4634"/>
                  </a:cubicBezTo>
                  <a:cubicBezTo>
                    <a:pt x="9244" y="4639"/>
                    <a:pt x="9268" y="4644"/>
                    <a:pt x="9298" y="4649"/>
                  </a:cubicBezTo>
                  <a:cubicBezTo>
                    <a:pt x="9336" y="4656"/>
                    <a:pt x="9366" y="4664"/>
                    <a:pt x="9389" y="4671"/>
                  </a:cubicBezTo>
                  <a:cubicBezTo>
                    <a:pt x="9411" y="4678"/>
                    <a:pt x="9431" y="4690"/>
                    <a:pt x="9447" y="4707"/>
                  </a:cubicBezTo>
                  <a:cubicBezTo>
                    <a:pt x="9463" y="4724"/>
                    <a:pt x="9471" y="4748"/>
                    <a:pt x="9471" y="4779"/>
                  </a:cubicBezTo>
                  <a:cubicBezTo>
                    <a:pt x="9471" y="4820"/>
                    <a:pt x="9454" y="4852"/>
                    <a:pt x="9420" y="4876"/>
                  </a:cubicBezTo>
                  <a:cubicBezTo>
                    <a:pt x="9385" y="4900"/>
                    <a:pt x="9338" y="4912"/>
                    <a:pt x="9277" y="4912"/>
                  </a:cubicBezTo>
                  <a:cubicBezTo>
                    <a:pt x="9239" y="4912"/>
                    <a:pt x="9202" y="4907"/>
                    <a:pt x="9167" y="4896"/>
                  </a:cubicBezTo>
                  <a:moveTo>
                    <a:pt x="8688" y="4533"/>
                  </a:moveTo>
                  <a:cubicBezTo>
                    <a:pt x="8658" y="4562"/>
                    <a:pt x="8640" y="4599"/>
                    <a:pt x="8636" y="4646"/>
                  </a:cubicBezTo>
                  <a:lnTo>
                    <a:pt x="8969" y="4646"/>
                  </a:lnTo>
                  <a:cubicBezTo>
                    <a:pt x="8965" y="4599"/>
                    <a:pt x="8948" y="4562"/>
                    <a:pt x="8917" y="4533"/>
                  </a:cubicBezTo>
                  <a:cubicBezTo>
                    <a:pt x="8886" y="4504"/>
                    <a:pt x="8848" y="4490"/>
                    <a:pt x="8802" y="4490"/>
                  </a:cubicBezTo>
                  <a:cubicBezTo>
                    <a:pt x="8757" y="4490"/>
                    <a:pt x="8719" y="4504"/>
                    <a:pt x="8688" y="4533"/>
                  </a:cubicBezTo>
                  <a:close/>
                  <a:moveTo>
                    <a:pt x="9029" y="4693"/>
                  </a:moveTo>
                  <a:lnTo>
                    <a:pt x="8636" y="4693"/>
                  </a:lnTo>
                  <a:cubicBezTo>
                    <a:pt x="8640" y="4742"/>
                    <a:pt x="8658" y="4781"/>
                    <a:pt x="8692" y="4811"/>
                  </a:cubicBezTo>
                  <a:cubicBezTo>
                    <a:pt x="8726" y="4841"/>
                    <a:pt x="8769" y="4856"/>
                    <a:pt x="8821" y="4856"/>
                  </a:cubicBezTo>
                  <a:cubicBezTo>
                    <a:pt x="8850" y="4856"/>
                    <a:pt x="8877" y="4851"/>
                    <a:pt x="8901" y="4841"/>
                  </a:cubicBezTo>
                  <a:cubicBezTo>
                    <a:pt x="8926" y="4830"/>
                    <a:pt x="8947" y="4815"/>
                    <a:pt x="8965" y="4795"/>
                  </a:cubicBezTo>
                  <a:lnTo>
                    <a:pt x="9001" y="4836"/>
                  </a:lnTo>
                  <a:cubicBezTo>
                    <a:pt x="8980" y="4861"/>
                    <a:pt x="8954" y="4880"/>
                    <a:pt x="8922" y="4893"/>
                  </a:cubicBezTo>
                  <a:cubicBezTo>
                    <a:pt x="8891" y="4906"/>
                    <a:pt x="8857" y="4912"/>
                    <a:pt x="8819" y="4912"/>
                  </a:cubicBezTo>
                  <a:cubicBezTo>
                    <a:pt x="8771" y="4912"/>
                    <a:pt x="8728" y="4902"/>
                    <a:pt x="8691" y="4882"/>
                  </a:cubicBezTo>
                  <a:cubicBezTo>
                    <a:pt x="8654" y="4861"/>
                    <a:pt x="8625" y="4833"/>
                    <a:pt x="8604" y="4796"/>
                  </a:cubicBezTo>
                  <a:cubicBezTo>
                    <a:pt x="8583" y="4760"/>
                    <a:pt x="8572" y="4719"/>
                    <a:pt x="8572" y="4673"/>
                  </a:cubicBezTo>
                  <a:cubicBezTo>
                    <a:pt x="8572" y="4628"/>
                    <a:pt x="8582" y="4587"/>
                    <a:pt x="8602" y="4550"/>
                  </a:cubicBezTo>
                  <a:cubicBezTo>
                    <a:pt x="8622" y="4514"/>
                    <a:pt x="8650" y="4486"/>
                    <a:pt x="8685" y="4466"/>
                  </a:cubicBezTo>
                  <a:cubicBezTo>
                    <a:pt x="8720" y="4445"/>
                    <a:pt x="8759" y="4435"/>
                    <a:pt x="8802" y="4435"/>
                  </a:cubicBezTo>
                  <a:cubicBezTo>
                    <a:pt x="8846" y="4435"/>
                    <a:pt x="8885" y="4445"/>
                    <a:pt x="8919" y="4466"/>
                  </a:cubicBezTo>
                  <a:cubicBezTo>
                    <a:pt x="8954" y="4486"/>
                    <a:pt x="8981" y="4514"/>
                    <a:pt x="9001" y="4550"/>
                  </a:cubicBezTo>
                  <a:cubicBezTo>
                    <a:pt x="9020" y="4586"/>
                    <a:pt x="9030" y="4627"/>
                    <a:pt x="9030" y="4673"/>
                  </a:cubicBezTo>
                  <a:lnTo>
                    <a:pt x="9029" y="4693"/>
                  </a:lnTo>
                  <a:close/>
                  <a:moveTo>
                    <a:pt x="8388" y="4439"/>
                  </a:moveTo>
                  <a:lnTo>
                    <a:pt x="8452" y="4439"/>
                  </a:lnTo>
                  <a:lnTo>
                    <a:pt x="8452" y="4908"/>
                  </a:lnTo>
                  <a:lnTo>
                    <a:pt x="8388" y="4908"/>
                  </a:lnTo>
                  <a:lnTo>
                    <a:pt x="8388" y="4439"/>
                  </a:lnTo>
                  <a:close/>
                  <a:moveTo>
                    <a:pt x="8387" y="4323"/>
                  </a:moveTo>
                  <a:cubicBezTo>
                    <a:pt x="8378" y="4314"/>
                    <a:pt x="8374" y="4303"/>
                    <a:pt x="8374" y="4291"/>
                  </a:cubicBezTo>
                  <a:cubicBezTo>
                    <a:pt x="8374" y="4279"/>
                    <a:pt x="8378" y="4268"/>
                    <a:pt x="8387" y="4260"/>
                  </a:cubicBezTo>
                  <a:cubicBezTo>
                    <a:pt x="8396" y="4251"/>
                    <a:pt x="8407" y="4246"/>
                    <a:pt x="8420" y="4246"/>
                  </a:cubicBezTo>
                  <a:cubicBezTo>
                    <a:pt x="8434" y="4246"/>
                    <a:pt x="8445" y="4250"/>
                    <a:pt x="8454" y="4259"/>
                  </a:cubicBezTo>
                  <a:cubicBezTo>
                    <a:pt x="8462" y="4268"/>
                    <a:pt x="8467" y="4278"/>
                    <a:pt x="8467" y="4290"/>
                  </a:cubicBezTo>
                  <a:cubicBezTo>
                    <a:pt x="8467" y="4303"/>
                    <a:pt x="8462" y="4314"/>
                    <a:pt x="8454" y="4323"/>
                  </a:cubicBezTo>
                  <a:cubicBezTo>
                    <a:pt x="8445" y="4332"/>
                    <a:pt x="8434" y="4336"/>
                    <a:pt x="8420" y="4336"/>
                  </a:cubicBezTo>
                  <a:cubicBezTo>
                    <a:pt x="8407" y="4336"/>
                    <a:pt x="8396" y="4332"/>
                    <a:pt x="8387" y="4323"/>
                  </a:cubicBezTo>
                  <a:close/>
                  <a:moveTo>
                    <a:pt x="8282" y="4879"/>
                  </a:moveTo>
                  <a:cubicBezTo>
                    <a:pt x="8270" y="4890"/>
                    <a:pt x="8255" y="4898"/>
                    <a:pt x="8238" y="4904"/>
                  </a:cubicBezTo>
                  <a:cubicBezTo>
                    <a:pt x="8220" y="4910"/>
                    <a:pt x="8202" y="4912"/>
                    <a:pt x="8183" y="4912"/>
                  </a:cubicBezTo>
                  <a:cubicBezTo>
                    <a:pt x="8139" y="4912"/>
                    <a:pt x="8105" y="4900"/>
                    <a:pt x="8081" y="4877"/>
                  </a:cubicBezTo>
                  <a:cubicBezTo>
                    <a:pt x="8057" y="4853"/>
                    <a:pt x="8045" y="4819"/>
                    <a:pt x="8045" y="4776"/>
                  </a:cubicBezTo>
                  <a:lnTo>
                    <a:pt x="8045" y="4492"/>
                  </a:lnTo>
                  <a:lnTo>
                    <a:pt x="7961" y="4492"/>
                  </a:lnTo>
                  <a:lnTo>
                    <a:pt x="7961" y="4439"/>
                  </a:lnTo>
                  <a:lnTo>
                    <a:pt x="8045" y="4439"/>
                  </a:lnTo>
                  <a:lnTo>
                    <a:pt x="8045" y="4336"/>
                  </a:lnTo>
                  <a:lnTo>
                    <a:pt x="8108" y="4336"/>
                  </a:lnTo>
                  <a:lnTo>
                    <a:pt x="8108" y="4439"/>
                  </a:lnTo>
                  <a:lnTo>
                    <a:pt x="8251" y="4439"/>
                  </a:lnTo>
                  <a:lnTo>
                    <a:pt x="8251" y="4492"/>
                  </a:lnTo>
                  <a:lnTo>
                    <a:pt x="8108" y="4492"/>
                  </a:lnTo>
                  <a:lnTo>
                    <a:pt x="8108" y="4772"/>
                  </a:lnTo>
                  <a:cubicBezTo>
                    <a:pt x="8108" y="4800"/>
                    <a:pt x="8115" y="4822"/>
                    <a:pt x="8129" y="4836"/>
                  </a:cubicBezTo>
                  <a:cubicBezTo>
                    <a:pt x="8143" y="4851"/>
                    <a:pt x="8164" y="4858"/>
                    <a:pt x="8190" y="4858"/>
                  </a:cubicBezTo>
                  <a:cubicBezTo>
                    <a:pt x="8203" y="4858"/>
                    <a:pt x="8216" y="4856"/>
                    <a:pt x="8228" y="4852"/>
                  </a:cubicBezTo>
                  <a:cubicBezTo>
                    <a:pt x="8240" y="4848"/>
                    <a:pt x="8251" y="4842"/>
                    <a:pt x="8260" y="4834"/>
                  </a:cubicBezTo>
                  <a:lnTo>
                    <a:pt x="8282" y="4879"/>
                  </a:lnTo>
                  <a:close/>
                  <a:moveTo>
                    <a:pt x="7803" y="4439"/>
                  </a:moveTo>
                  <a:lnTo>
                    <a:pt x="7866" y="4439"/>
                  </a:lnTo>
                  <a:lnTo>
                    <a:pt x="7866" y="4908"/>
                  </a:lnTo>
                  <a:lnTo>
                    <a:pt x="7803" y="4908"/>
                  </a:lnTo>
                  <a:lnTo>
                    <a:pt x="7803" y="4439"/>
                  </a:lnTo>
                  <a:close/>
                  <a:moveTo>
                    <a:pt x="7802" y="4323"/>
                  </a:moveTo>
                  <a:cubicBezTo>
                    <a:pt x="7793" y="4314"/>
                    <a:pt x="7788" y="4303"/>
                    <a:pt x="7788" y="4291"/>
                  </a:cubicBezTo>
                  <a:cubicBezTo>
                    <a:pt x="7788" y="4279"/>
                    <a:pt x="7793" y="4268"/>
                    <a:pt x="7802" y="4260"/>
                  </a:cubicBezTo>
                  <a:cubicBezTo>
                    <a:pt x="7811" y="4251"/>
                    <a:pt x="7822" y="4246"/>
                    <a:pt x="7835" y="4246"/>
                  </a:cubicBezTo>
                  <a:cubicBezTo>
                    <a:pt x="7848" y="4246"/>
                    <a:pt x="7859" y="4250"/>
                    <a:pt x="7868" y="4259"/>
                  </a:cubicBezTo>
                  <a:cubicBezTo>
                    <a:pt x="7877" y="4268"/>
                    <a:pt x="7881" y="4278"/>
                    <a:pt x="7881" y="4290"/>
                  </a:cubicBezTo>
                  <a:cubicBezTo>
                    <a:pt x="7881" y="4303"/>
                    <a:pt x="7877" y="4314"/>
                    <a:pt x="7868" y="4323"/>
                  </a:cubicBezTo>
                  <a:cubicBezTo>
                    <a:pt x="7859" y="4332"/>
                    <a:pt x="7848" y="4336"/>
                    <a:pt x="7835" y="4336"/>
                  </a:cubicBezTo>
                  <a:cubicBezTo>
                    <a:pt x="7822" y="4336"/>
                    <a:pt x="7811" y="4332"/>
                    <a:pt x="7802" y="4323"/>
                  </a:cubicBezTo>
                  <a:close/>
                  <a:moveTo>
                    <a:pt x="7571" y="4246"/>
                  </a:moveTo>
                  <a:lnTo>
                    <a:pt x="7635" y="4246"/>
                  </a:lnTo>
                  <a:lnTo>
                    <a:pt x="7635" y="4908"/>
                  </a:lnTo>
                  <a:lnTo>
                    <a:pt x="7571" y="4908"/>
                  </a:lnTo>
                  <a:lnTo>
                    <a:pt x="7571" y="4246"/>
                  </a:lnTo>
                  <a:close/>
                  <a:moveTo>
                    <a:pt x="7340" y="4439"/>
                  </a:moveTo>
                  <a:lnTo>
                    <a:pt x="7403" y="4439"/>
                  </a:lnTo>
                  <a:lnTo>
                    <a:pt x="7403" y="4908"/>
                  </a:lnTo>
                  <a:lnTo>
                    <a:pt x="7340" y="4908"/>
                  </a:lnTo>
                  <a:lnTo>
                    <a:pt x="7340" y="4439"/>
                  </a:lnTo>
                  <a:close/>
                  <a:moveTo>
                    <a:pt x="7339" y="4323"/>
                  </a:moveTo>
                  <a:cubicBezTo>
                    <a:pt x="7330" y="4314"/>
                    <a:pt x="7325" y="4303"/>
                    <a:pt x="7325" y="4291"/>
                  </a:cubicBezTo>
                  <a:cubicBezTo>
                    <a:pt x="7325" y="4279"/>
                    <a:pt x="7330" y="4268"/>
                    <a:pt x="7339" y="4260"/>
                  </a:cubicBezTo>
                  <a:cubicBezTo>
                    <a:pt x="7348" y="4251"/>
                    <a:pt x="7359" y="4246"/>
                    <a:pt x="7372" y="4246"/>
                  </a:cubicBezTo>
                  <a:cubicBezTo>
                    <a:pt x="7385" y="4246"/>
                    <a:pt x="7396" y="4250"/>
                    <a:pt x="7405" y="4259"/>
                  </a:cubicBezTo>
                  <a:cubicBezTo>
                    <a:pt x="7414" y="4268"/>
                    <a:pt x="7418" y="4278"/>
                    <a:pt x="7418" y="4290"/>
                  </a:cubicBezTo>
                  <a:cubicBezTo>
                    <a:pt x="7418" y="4303"/>
                    <a:pt x="7414" y="4314"/>
                    <a:pt x="7405" y="4323"/>
                  </a:cubicBezTo>
                  <a:cubicBezTo>
                    <a:pt x="7396" y="4332"/>
                    <a:pt x="7385" y="4336"/>
                    <a:pt x="7372" y="4336"/>
                  </a:cubicBezTo>
                  <a:cubicBezTo>
                    <a:pt x="7359" y="4336"/>
                    <a:pt x="7348" y="4332"/>
                    <a:pt x="7339" y="4323"/>
                  </a:cubicBezTo>
                  <a:close/>
                  <a:moveTo>
                    <a:pt x="7070" y="4833"/>
                  </a:moveTo>
                  <a:cubicBezTo>
                    <a:pt x="7096" y="4818"/>
                    <a:pt x="7117" y="4797"/>
                    <a:pt x="7133" y="4769"/>
                  </a:cubicBezTo>
                  <a:cubicBezTo>
                    <a:pt x="7148" y="4741"/>
                    <a:pt x="7155" y="4709"/>
                    <a:pt x="7155" y="4673"/>
                  </a:cubicBezTo>
                  <a:cubicBezTo>
                    <a:pt x="7155" y="4638"/>
                    <a:pt x="7148" y="4606"/>
                    <a:pt x="7133" y="4578"/>
                  </a:cubicBezTo>
                  <a:cubicBezTo>
                    <a:pt x="7117" y="4550"/>
                    <a:pt x="7096" y="4528"/>
                    <a:pt x="7070" y="4513"/>
                  </a:cubicBezTo>
                  <a:cubicBezTo>
                    <a:pt x="7043" y="4498"/>
                    <a:pt x="7013" y="4491"/>
                    <a:pt x="6980" y="4491"/>
                  </a:cubicBezTo>
                  <a:cubicBezTo>
                    <a:pt x="6947" y="4491"/>
                    <a:pt x="6917" y="4498"/>
                    <a:pt x="6890" y="4513"/>
                  </a:cubicBezTo>
                  <a:cubicBezTo>
                    <a:pt x="6864" y="4528"/>
                    <a:pt x="6843" y="4550"/>
                    <a:pt x="6828" y="4578"/>
                  </a:cubicBezTo>
                  <a:cubicBezTo>
                    <a:pt x="6813" y="4606"/>
                    <a:pt x="6805" y="4638"/>
                    <a:pt x="6805" y="4673"/>
                  </a:cubicBezTo>
                  <a:cubicBezTo>
                    <a:pt x="6805" y="4709"/>
                    <a:pt x="6813" y="4741"/>
                    <a:pt x="6828" y="4769"/>
                  </a:cubicBezTo>
                  <a:cubicBezTo>
                    <a:pt x="6843" y="4797"/>
                    <a:pt x="6864" y="4818"/>
                    <a:pt x="6890" y="4833"/>
                  </a:cubicBezTo>
                  <a:cubicBezTo>
                    <a:pt x="6917" y="4849"/>
                    <a:pt x="6947" y="4856"/>
                    <a:pt x="6980" y="4856"/>
                  </a:cubicBezTo>
                  <a:cubicBezTo>
                    <a:pt x="7013" y="4856"/>
                    <a:pt x="7043" y="4849"/>
                    <a:pt x="7070" y="4833"/>
                  </a:cubicBezTo>
                  <a:close/>
                  <a:moveTo>
                    <a:pt x="7104" y="4465"/>
                  </a:moveTo>
                  <a:cubicBezTo>
                    <a:pt x="7140" y="4485"/>
                    <a:pt x="7168" y="4513"/>
                    <a:pt x="7188" y="4549"/>
                  </a:cubicBezTo>
                  <a:cubicBezTo>
                    <a:pt x="7209" y="4586"/>
                    <a:pt x="7219" y="4627"/>
                    <a:pt x="7219" y="4673"/>
                  </a:cubicBezTo>
                  <a:cubicBezTo>
                    <a:pt x="7219" y="4720"/>
                    <a:pt x="7209" y="4761"/>
                    <a:pt x="7188" y="4797"/>
                  </a:cubicBezTo>
                  <a:cubicBezTo>
                    <a:pt x="7168" y="4834"/>
                    <a:pt x="7140" y="4862"/>
                    <a:pt x="7104" y="4882"/>
                  </a:cubicBezTo>
                  <a:cubicBezTo>
                    <a:pt x="7069" y="4902"/>
                    <a:pt x="7029" y="4912"/>
                    <a:pt x="6985" y="4912"/>
                  </a:cubicBezTo>
                  <a:cubicBezTo>
                    <a:pt x="6945" y="4912"/>
                    <a:pt x="6910" y="4904"/>
                    <a:pt x="6879" y="4887"/>
                  </a:cubicBezTo>
                  <a:cubicBezTo>
                    <a:pt x="6847" y="4871"/>
                    <a:pt x="6822" y="4847"/>
                    <a:pt x="6803" y="4815"/>
                  </a:cubicBezTo>
                  <a:lnTo>
                    <a:pt x="6803" y="4908"/>
                  </a:lnTo>
                  <a:lnTo>
                    <a:pt x="6742" y="4908"/>
                  </a:lnTo>
                  <a:lnTo>
                    <a:pt x="6742" y="4246"/>
                  </a:lnTo>
                  <a:lnTo>
                    <a:pt x="6806" y="4246"/>
                  </a:lnTo>
                  <a:lnTo>
                    <a:pt x="6806" y="4528"/>
                  </a:lnTo>
                  <a:cubicBezTo>
                    <a:pt x="6825" y="4498"/>
                    <a:pt x="6851" y="4475"/>
                    <a:pt x="6881" y="4459"/>
                  </a:cubicBezTo>
                  <a:cubicBezTo>
                    <a:pt x="6912" y="4443"/>
                    <a:pt x="6946" y="4435"/>
                    <a:pt x="6985" y="4435"/>
                  </a:cubicBezTo>
                  <a:cubicBezTo>
                    <a:pt x="7029" y="4435"/>
                    <a:pt x="7069" y="4445"/>
                    <a:pt x="7104" y="4465"/>
                  </a:cubicBezTo>
                  <a:close/>
                  <a:moveTo>
                    <a:pt x="6511" y="4439"/>
                  </a:moveTo>
                  <a:lnTo>
                    <a:pt x="6574" y="4439"/>
                  </a:lnTo>
                  <a:lnTo>
                    <a:pt x="6574" y="4908"/>
                  </a:lnTo>
                  <a:lnTo>
                    <a:pt x="6511" y="4908"/>
                  </a:lnTo>
                  <a:lnTo>
                    <a:pt x="6511" y="4439"/>
                  </a:lnTo>
                  <a:close/>
                  <a:moveTo>
                    <a:pt x="6510" y="4323"/>
                  </a:moveTo>
                  <a:cubicBezTo>
                    <a:pt x="6501" y="4314"/>
                    <a:pt x="6496" y="4303"/>
                    <a:pt x="6496" y="4291"/>
                  </a:cubicBezTo>
                  <a:cubicBezTo>
                    <a:pt x="6496" y="4279"/>
                    <a:pt x="6501" y="4268"/>
                    <a:pt x="6510" y="4260"/>
                  </a:cubicBezTo>
                  <a:cubicBezTo>
                    <a:pt x="6519" y="4251"/>
                    <a:pt x="6530" y="4246"/>
                    <a:pt x="6543" y="4246"/>
                  </a:cubicBezTo>
                  <a:cubicBezTo>
                    <a:pt x="6556" y="4246"/>
                    <a:pt x="6567" y="4250"/>
                    <a:pt x="6576" y="4259"/>
                  </a:cubicBezTo>
                  <a:cubicBezTo>
                    <a:pt x="6585" y="4268"/>
                    <a:pt x="6589" y="4278"/>
                    <a:pt x="6589" y="4290"/>
                  </a:cubicBezTo>
                  <a:cubicBezTo>
                    <a:pt x="6589" y="4303"/>
                    <a:pt x="6585" y="4314"/>
                    <a:pt x="6576" y="4323"/>
                  </a:cubicBezTo>
                  <a:cubicBezTo>
                    <a:pt x="6567" y="4332"/>
                    <a:pt x="6556" y="4336"/>
                    <a:pt x="6543" y="4336"/>
                  </a:cubicBezTo>
                  <a:cubicBezTo>
                    <a:pt x="6530" y="4336"/>
                    <a:pt x="6519" y="4332"/>
                    <a:pt x="6510" y="4323"/>
                  </a:cubicBezTo>
                  <a:close/>
                  <a:moveTo>
                    <a:pt x="6099" y="4896"/>
                  </a:moveTo>
                  <a:cubicBezTo>
                    <a:pt x="6064" y="4885"/>
                    <a:pt x="6037" y="4871"/>
                    <a:pt x="6017" y="4854"/>
                  </a:cubicBezTo>
                  <a:lnTo>
                    <a:pt x="6046" y="4804"/>
                  </a:lnTo>
                  <a:cubicBezTo>
                    <a:pt x="6066" y="4820"/>
                    <a:pt x="6090" y="4833"/>
                    <a:pt x="6120" y="4842"/>
                  </a:cubicBezTo>
                  <a:cubicBezTo>
                    <a:pt x="6150" y="4852"/>
                    <a:pt x="6181" y="4857"/>
                    <a:pt x="6213" y="4857"/>
                  </a:cubicBezTo>
                  <a:cubicBezTo>
                    <a:pt x="6256" y="4857"/>
                    <a:pt x="6288" y="4850"/>
                    <a:pt x="6308" y="4837"/>
                  </a:cubicBezTo>
                  <a:cubicBezTo>
                    <a:pt x="6329" y="4824"/>
                    <a:pt x="6339" y="4805"/>
                    <a:pt x="6339" y="4780"/>
                  </a:cubicBezTo>
                  <a:cubicBezTo>
                    <a:pt x="6339" y="4763"/>
                    <a:pt x="6333" y="4750"/>
                    <a:pt x="6322" y="4740"/>
                  </a:cubicBezTo>
                  <a:cubicBezTo>
                    <a:pt x="6311" y="4730"/>
                    <a:pt x="6296" y="4723"/>
                    <a:pt x="6279" y="4717"/>
                  </a:cubicBezTo>
                  <a:cubicBezTo>
                    <a:pt x="6262" y="4712"/>
                    <a:pt x="6239" y="4708"/>
                    <a:pt x="6210" y="4703"/>
                  </a:cubicBezTo>
                  <a:cubicBezTo>
                    <a:pt x="6172" y="4696"/>
                    <a:pt x="6141" y="4688"/>
                    <a:pt x="6118" y="4681"/>
                  </a:cubicBezTo>
                  <a:cubicBezTo>
                    <a:pt x="6095" y="4674"/>
                    <a:pt x="6075" y="4661"/>
                    <a:pt x="6059" y="4643"/>
                  </a:cubicBezTo>
                  <a:cubicBezTo>
                    <a:pt x="6042" y="4625"/>
                    <a:pt x="6034" y="4601"/>
                    <a:pt x="6034" y="4569"/>
                  </a:cubicBezTo>
                  <a:cubicBezTo>
                    <a:pt x="6034" y="4530"/>
                    <a:pt x="6051" y="4498"/>
                    <a:pt x="6083" y="4473"/>
                  </a:cubicBezTo>
                  <a:cubicBezTo>
                    <a:pt x="6116" y="4448"/>
                    <a:pt x="6162" y="4435"/>
                    <a:pt x="6220" y="4435"/>
                  </a:cubicBezTo>
                  <a:cubicBezTo>
                    <a:pt x="6251" y="4435"/>
                    <a:pt x="6281" y="4439"/>
                    <a:pt x="6311" y="4447"/>
                  </a:cubicBezTo>
                  <a:cubicBezTo>
                    <a:pt x="6342" y="4455"/>
                    <a:pt x="6367" y="4466"/>
                    <a:pt x="6386" y="4479"/>
                  </a:cubicBezTo>
                  <a:lnTo>
                    <a:pt x="6359" y="4530"/>
                  </a:lnTo>
                  <a:cubicBezTo>
                    <a:pt x="6320" y="4503"/>
                    <a:pt x="6274" y="4490"/>
                    <a:pt x="6220" y="4490"/>
                  </a:cubicBezTo>
                  <a:cubicBezTo>
                    <a:pt x="6180" y="4490"/>
                    <a:pt x="6149" y="4497"/>
                    <a:pt x="6129" y="4511"/>
                  </a:cubicBezTo>
                  <a:cubicBezTo>
                    <a:pt x="6108" y="4525"/>
                    <a:pt x="6098" y="4544"/>
                    <a:pt x="6098" y="4567"/>
                  </a:cubicBezTo>
                  <a:cubicBezTo>
                    <a:pt x="6098" y="4585"/>
                    <a:pt x="6104" y="4599"/>
                    <a:pt x="6115" y="4610"/>
                  </a:cubicBezTo>
                  <a:cubicBezTo>
                    <a:pt x="6127" y="4621"/>
                    <a:pt x="6141" y="4629"/>
                    <a:pt x="6158" y="4634"/>
                  </a:cubicBezTo>
                  <a:cubicBezTo>
                    <a:pt x="6176" y="4639"/>
                    <a:pt x="6200" y="4644"/>
                    <a:pt x="6230" y="4649"/>
                  </a:cubicBezTo>
                  <a:cubicBezTo>
                    <a:pt x="6268" y="4656"/>
                    <a:pt x="6298" y="4664"/>
                    <a:pt x="6320" y="4671"/>
                  </a:cubicBezTo>
                  <a:cubicBezTo>
                    <a:pt x="6343" y="4678"/>
                    <a:pt x="6362" y="4690"/>
                    <a:pt x="6378" y="4707"/>
                  </a:cubicBezTo>
                  <a:cubicBezTo>
                    <a:pt x="6395" y="4724"/>
                    <a:pt x="6403" y="4748"/>
                    <a:pt x="6403" y="4779"/>
                  </a:cubicBezTo>
                  <a:cubicBezTo>
                    <a:pt x="6403" y="4820"/>
                    <a:pt x="6385" y="4852"/>
                    <a:pt x="6351" y="4876"/>
                  </a:cubicBezTo>
                  <a:cubicBezTo>
                    <a:pt x="6317" y="4900"/>
                    <a:pt x="6269" y="4912"/>
                    <a:pt x="6209" y="4912"/>
                  </a:cubicBezTo>
                  <a:cubicBezTo>
                    <a:pt x="6170" y="4912"/>
                    <a:pt x="6134" y="4907"/>
                    <a:pt x="6099" y="4896"/>
                  </a:cubicBezTo>
                  <a:moveTo>
                    <a:pt x="5653" y="4896"/>
                  </a:moveTo>
                  <a:cubicBezTo>
                    <a:pt x="5618" y="4885"/>
                    <a:pt x="5591" y="4871"/>
                    <a:pt x="5571" y="4854"/>
                  </a:cubicBezTo>
                  <a:lnTo>
                    <a:pt x="5600" y="4804"/>
                  </a:lnTo>
                  <a:cubicBezTo>
                    <a:pt x="5619" y="4820"/>
                    <a:pt x="5644" y="4833"/>
                    <a:pt x="5674" y="4842"/>
                  </a:cubicBezTo>
                  <a:cubicBezTo>
                    <a:pt x="5704" y="4852"/>
                    <a:pt x="5735" y="4857"/>
                    <a:pt x="5767" y="4857"/>
                  </a:cubicBezTo>
                  <a:cubicBezTo>
                    <a:pt x="5810" y="4857"/>
                    <a:pt x="5842" y="4850"/>
                    <a:pt x="5862" y="4837"/>
                  </a:cubicBezTo>
                  <a:cubicBezTo>
                    <a:pt x="5883" y="4824"/>
                    <a:pt x="5893" y="4805"/>
                    <a:pt x="5893" y="4780"/>
                  </a:cubicBezTo>
                  <a:cubicBezTo>
                    <a:pt x="5893" y="4763"/>
                    <a:pt x="5887" y="4750"/>
                    <a:pt x="5876" y="4740"/>
                  </a:cubicBezTo>
                  <a:cubicBezTo>
                    <a:pt x="5865" y="4730"/>
                    <a:pt x="5850" y="4723"/>
                    <a:pt x="5833" y="4717"/>
                  </a:cubicBezTo>
                  <a:cubicBezTo>
                    <a:pt x="5816" y="4712"/>
                    <a:pt x="5793" y="4708"/>
                    <a:pt x="5764" y="4703"/>
                  </a:cubicBezTo>
                  <a:cubicBezTo>
                    <a:pt x="5726" y="4696"/>
                    <a:pt x="5695" y="4688"/>
                    <a:pt x="5672" y="4681"/>
                  </a:cubicBezTo>
                  <a:cubicBezTo>
                    <a:pt x="5649" y="4674"/>
                    <a:pt x="5629" y="4661"/>
                    <a:pt x="5613" y="4643"/>
                  </a:cubicBezTo>
                  <a:cubicBezTo>
                    <a:pt x="5596" y="4625"/>
                    <a:pt x="5588" y="4601"/>
                    <a:pt x="5588" y="4569"/>
                  </a:cubicBezTo>
                  <a:cubicBezTo>
                    <a:pt x="5588" y="4530"/>
                    <a:pt x="5604" y="4498"/>
                    <a:pt x="5637" y="4473"/>
                  </a:cubicBezTo>
                  <a:cubicBezTo>
                    <a:pt x="5670" y="4448"/>
                    <a:pt x="5716" y="4435"/>
                    <a:pt x="5774" y="4435"/>
                  </a:cubicBezTo>
                  <a:cubicBezTo>
                    <a:pt x="5804" y="4435"/>
                    <a:pt x="5835" y="4439"/>
                    <a:pt x="5865" y="4447"/>
                  </a:cubicBezTo>
                  <a:cubicBezTo>
                    <a:pt x="5896" y="4455"/>
                    <a:pt x="5921" y="4466"/>
                    <a:pt x="5940" y="4479"/>
                  </a:cubicBezTo>
                  <a:lnTo>
                    <a:pt x="5913" y="4530"/>
                  </a:lnTo>
                  <a:cubicBezTo>
                    <a:pt x="5874" y="4503"/>
                    <a:pt x="5828" y="4490"/>
                    <a:pt x="5774" y="4490"/>
                  </a:cubicBezTo>
                  <a:cubicBezTo>
                    <a:pt x="5734" y="4490"/>
                    <a:pt x="5703" y="4497"/>
                    <a:pt x="5682" y="4511"/>
                  </a:cubicBezTo>
                  <a:cubicBezTo>
                    <a:pt x="5662" y="4525"/>
                    <a:pt x="5652" y="4544"/>
                    <a:pt x="5652" y="4567"/>
                  </a:cubicBezTo>
                  <a:cubicBezTo>
                    <a:pt x="5652" y="4585"/>
                    <a:pt x="5657" y="4599"/>
                    <a:pt x="5669" y="4610"/>
                  </a:cubicBezTo>
                  <a:cubicBezTo>
                    <a:pt x="5681" y="4621"/>
                    <a:pt x="5695" y="4629"/>
                    <a:pt x="5712" y="4634"/>
                  </a:cubicBezTo>
                  <a:cubicBezTo>
                    <a:pt x="5730" y="4639"/>
                    <a:pt x="5754" y="4644"/>
                    <a:pt x="5784" y="4649"/>
                  </a:cubicBezTo>
                  <a:cubicBezTo>
                    <a:pt x="5821" y="4656"/>
                    <a:pt x="5852" y="4664"/>
                    <a:pt x="5874" y="4671"/>
                  </a:cubicBezTo>
                  <a:cubicBezTo>
                    <a:pt x="5897" y="4678"/>
                    <a:pt x="5916" y="4690"/>
                    <a:pt x="5932" y="4707"/>
                  </a:cubicBezTo>
                  <a:cubicBezTo>
                    <a:pt x="5948" y="4724"/>
                    <a:pt x="5956" y="4748"/>
                    <a:pt x="5956" y="4779"/>
                  </a:cubicBezTo>
                  <a:cubicBezTo>
                    <a:pt x="5956" y="4820"/>
                    <a:pt x="5939" y="4852"/>
                    <a:pt x="5905" y="4876"/>
                  </a:cubicBezTo>
                  <a:cubicBezTo>
                    <a:pt x="5871" y="4900"/>
                    <a:pt x="5823" y="4912"/>
                    <a:pt x="5762" y="4912"/>
                  </a:cubicBezTo>
                  <a:cubicBezTo>
                    <a:pt x="5724" y="4912"/>
                    <a:pt x="5688" y="4907"/>
                    <a:pt x="5653" y="4896"/>
                  </a:cubicBezTo>
                  <a:moveTo>
                    <a:pt x="5367" y="4833"/>
                  </a:moveTo>
                  <a:cubicBezTo>
                    <a:pt x="5393" y="4818"/>
                    <a:pt x="5414" y="4797"/>
                    <a:pt x="5429" y="4769"/>
                  </a:cubicBezTo>
                  <a:cubicBezTo>
                    <a:pt x="5444" y="4741"/>
                    <a:pt x="5451" y="4709"/>
                    <a:pt x="5451" y="4673"/>
                  </a:cubicBezTo>
                  <a:cubicBezTo>
                    <a:pt x="5451" y="4638"/>
                    <a:pt x="5444" y="4606"/>
                    <a:pt x="5429" y="4578"/>
                  </a:cubicBezTo>
                  <a:cubicBezTo>
                    <a:pt x="5414" y="4550"/>
                    <a:pt x="5393" y="4528"/>
                    <a:pt x="5367" y="4513"/>
                  </a:cubicBezTo>
                  <a:cubicBezTo>
                    <a:pt x="5340" y="4498"/>
                    <a:pt x="5310" y="4491"/>
                    <a:pt x="5277" y="4491"/>
                  </a:cubicBezTo>
                  <a:cubicBezTo>
                    <a:pt x="5244" y="4491"/>
                    <a:pt x="5214" y="4498"/>
                    <a:pt x="5187" y="4513"/>
                  </a:cubicBezTo>
                  <a:cubicBezTo>
                    <a:pt x="5161" y="4528"/>
                    <a:pt x="5140" y="4550"/>
                    <a:pt x="5124" y="4578"/>
                  </a:cubicBezTo>
                  <a:cubicBezTo>
                    <a:pt x="5109" y="4606"/>
                    <a:pt x="5102" y="4638"/>
                    <a:pt x="5102" y="4673"/>
                  </a:cubicBezTo>
                  <a:cubicBezTo>
                    <a:pt x="5102" y="4709"/>
                    <a:pt x="5109" y="4741"/>
                    <a:pt x="5124" y="4769"/>
                  </a:cubicBezTo>
                  <a:cubicBezTo>
                    <a:pt x="5140" y="4797"/>
                    <a:pt x="5161" y="4818"/>
                    <a:pt x="5187" y="4833"/>
                  </a:cubicBezTo>
                  <a:cubicBezTo>
                    <a:pt x="5214" y="4849"/>
                    <a:pt x="5244" y="4856"/>
                    <a:pt x="5277" y="4856"/>
                  </a:cubicBezTo>
                  <a:cubicBezTo>
                    <a:pt x="5310" y="4856"/>
                    <a:pt x="5340" y="4849"/>
                    <a:pt x="5367" y="4833"/>
                  </a:cubicBezTo>
                  <a:close/>
                  <a:moveTo>
                    <a:pt x="5154" y="4882"/>
                  </a:moveTo>
                  <a:cubicBezTo>
                    <a:pt x="5118" y="4861"/>
                    <a:pt x="5089" y="4833"/>
                    <a:pt x="5069" y="4796"/>
                  </a:cubicBezTo>
                  <a:cubicBezTo>
                    <a:pt x="5048" y="4760"/>
                    <a:pt x="5037" y="4719"/>
                    <a:pt x="5037" y="4673"/>
                  </a:cubicBezTo>
                  <a:cubicBezTo>
                    <a:pt x="5037" y="4628"/>
                    <a:pt x="5048" y="4587"/>
                    <a:pt x="5069" y="4550"/>
                  </a:cubicBezTo>
                  <a:cubicBezTo>
                    <a:pt x="5089" y="4514"/>
                    <a:pt x="5118" y="4486"/>
                    <a:pt x="5154" y="4466"/>
                  </a:cubicBezTo>
                  <a:cubicBezTo>
                    <a:pt x="5191" y="4445"/>
                    <a:pt x="5232" y="4435"/>
                    <a:pt x="5277" y="4435"/>
                  </a:cubicBezTo>
                  <a:cubicBezTo>
                    <a:pt x="5322" y="4435"/>
                    <a:pt x="5363" y="4445"/>
                    <a:pt x="5399" y="4466"/>
                  </a:cubicBezTo>
                  <a:cubicBezTo>
                    <a:pt x="5436" y="4486"/>
                    <a:pt x="5464" y="4514"/>
                    <a:pt x="5485" y="4550"/>
                  </a:cubicBezTo>
                  <a:cubicBezTo>
                    <a:pt x="5505" y="4587"/>
                    <a:pt x="5516" y="4628"/>
                    <a:pt x="5516" y="4673"/>
                  </a:cubicBezTo>
                  <a:cubicBezTo>
                    <a:pt x="5516" y="4719"/>
                    <a:pt x="5505" y="4760"/>
                    <a:pt x="5485" y="4796"/>
                  </a:cubicBezTo>
                  <a:cubicBezTo>
                    <a:pt x="5464" y="4833"/>
                    <a:pt x="5436" y="4861"/>
                    <a:pt x="5399" y="4882"/>
                  </a:cubicBezTo>
                  <a:cubicBezTo>
                    <a:pt x="5363" y="4902"/>
                    <a:pt x="5322" y="4912"/>
                    <a:pt x="5277" y="4912"/>
                  </a:cubicBezTo>
                  <a:cubicBezTo>
                    <a:pt x="5232" y="4912"/>
                    <a:pt x="5191" y="4902"/>
                    <a:pt x="5154" y="4882"/>
                  </a:cubicBezTo>
                  <a:close/>
                  <a:moveTo>
                    <a:pt x="4869" y="4612"/>
                  </a:moveTo>
                  <a:cubicBezTo>
                    <a:pt x="4902" y="4585"/>
                    <a:pt x="4918" y="4547"/>
                    <a:pt x="4918" y="4498"/>
                  </a:cubicBezTo>
                  <a:cubicBezTo>
                    <a:pt x="4918" y="4447"/>
                    <a:pt x="4902" y="4408"/>
                    <a:pt x="4869" y="4381"/>
                  </a:cubicBezTo>
                  <a:cubicBezTo>
                    <a:pt x="4836" y="4354"/>
                    <a:pt x="4789" y="4341"/>
                    <a:pt x="4727" y="4341"/>
                  </a:cubicBezTo>
                  <a:lnTo>
                    <a:pt x="4561" y="4341"/>
                  </a:lnTo>
                  <a:lnTo>
                    <a:pt x="4561" y="4653"/>
                  </a:lnTo>
                  <a:lnTo>
                    <a:pt x="4727" y="4653"/>
                  </a:lnTo>
                  <a:cubicBezTo>
                    <a:pt x="4789" y="4653"/>
                    <a:pt x="4836" y="4639"/>
                    <a:pt x="4869" y="4612"/>
                  </a:cubicBezTo>
                  <a:close/>
                  <a:moveTo>
                    <a:pt x="4917" y="4341"/>
                  </a:moveTo>
                  <a:cubicBezTo>
                    <a:pt x="4962" y="4379"/>
                    <a:pt x="4985" y="4431"/>
                    <a:pt x="4985" y="4498"/>
                  </a:cubicBezTo>
                  <a:cubicBezTo>
                    <a:pt x="4985" y="4564"/>
                    <a:pt x="4962" y="4616"/>
                    <a:pt x="4917" y="4654"/>
                  </a:cubicBezTo>
                  <a:cubicBezTo>
                    <a:pt x="4871" y="4692"/>
                    <a:pt x="4809" y="4711"/>
                    <a:pt x="4729" y="4711"/>
                  </a:cubicBezTo>
                  <a:lnTo>
                    <a:pt x="4561" y="4711"/>
                  </a:lnTo>
                  <a:lnTo>
                    <a:pt x="4561" y="4908"/>
                  </a:lnTo>
                  <a:lnTo>
                    <a:pt x="4495" y="4908"/>
                  </a:lnTo>
                  <a:lnTo>
                    <a:pt x="4495" y="4284"/>
                  </a:lnTo>
                  <a:lnTo>
                    <a:pt x="4729" y="4284"/>
                  </a:lnTo>
                  <a:cubicBezTo>
                    <a:pt x="4809" y="4284"/>
                    <a:pt x="4871" y="4303"/>
                    <a:pt x="4917" y="4341"/>
                  </a:cubicBezTo>
                  <a:moveTo>
                    <a:pt x="3939" y="4812"/>
                  </a:moveTo>
                  <a:cubicBezTo>
                    <a:pt x="3966" y="4797"/>
                    <a:pt x="3987" y="4777"/>
                    <a:pt x="4002" y="4751"/>
                  </a:cubicBezTo>
                  <a:cubicBezTo>
                    <a:pt x="4018" y="4725"/>
                    <a:pt x="4025" y="4695"/>
                    <a:pt x="4025" y="4662"/>
                  </a:cubicBezTo>
                  <a:cubicBezTo>
                    <a:pt x="4025" y="4628"/>
                    <a:pt x="4018" y="4599"/>
                    <a:pt x="4002" y="4573"/>
                  </a:cubicBezTo>
                  <a:cubicBezTo>
                    <a:pt x="3987" y="4547"/>
                    <a:pt x="3966" y="4527"/>
                    <a:pt x="3939" y="4512"/>
                  </a:cubicBezTo>
                  <a:cubicBezTo>
                    <a:pt x="3912" y="4498"/>
                    <a:pt x="3881" y="4491"/>
                    <a:pt x="3846" y="4491"/>
                  </a:cubicBezTo>
                  <a:cubicBezTo>
                    <a:pt x="3812" y="4491"/>
                    <a:pt x="3782" y="4498"/>
                    <a:pt x="3755" y="4512"/>
                  </a:cubicBezTo>
                  <a:cubicBezTo>
                    <a:pt x="3728" y="4526"/>
                    <a:pt x="3707" y="4546"/>
                    <a:pt x="3691" y="4573"/>
                  </a:cubicBezTo>
                  <a:cubicBezTo>
                    <a:pt x="3676" y="4599"/>
                    <a:pt x="3669" y="4628"/>
                    <a:pt x="3669" y="4662"/>
                  </a:cubicBezTo>
                  <a:cubicBezTo>
                    <a:pt x="3669" y="4695"/>
                    <a:pt x="3676" y="4725"/>
                    <a:pt x="3691" y="4751"/>
                  </a:cubicBezTo>
                  <a:cubicBezTo>
                    <a:pt x="3707" y="4777"/>
                    <a:pt x="3728" y="4797"/>
                    <a:pt x="3755" y="4812"/>
                  </a:cubicBezTo>
                  <a:cubicBezTo>
                    <a:pt x="3782" y="4827"/>
                    <a:pt x="3812" y="4834"/>
                    <a:pt x="3846" y="4834"/>
                  </a:cubicBezTo>
                  <a:cubicBezTo>
                    <a:pt x="3880" y="4834"/>
                    <a:pt x="3911" y="4827"/>
                    <a:pt x="3939" y="4812"/>
                  </a:cubicBezTo>
                  <a:moveTo>
                    <a:pt x="4087" y="4439"/>
                  </a:moveTo>
                  <a:lnTo>
                    <a:pt x="4087" y="4851"/>
                  </a:lnTo>
                  <a:cubicBezTo>
                    <a:pt x="4087" y="4930"/>
                    <a:pt x="4067" y="4990"/>
                    <a:pt x="4028" y="5028"/>
                  </a:cubicBezTo>
                  <a:cubicBezTo>
                    <a:pt x="3989" y="5066"/>
                    <a:pt x="3930" y="5085"/>
                    <a:pt x="3852" y="5085"/>
                  </a:cubicBezTo>
                  <a:cubicBezTo>
                    <a:pt x="3808" y="5085"/>
                    <a:pt x="3767" y="5079"/>
                    <a:pt x="3728" y="5066"/>
                  </a:cubicBezTo>
                  <a:cubicBezTo>
                    <a:pt x="3689" y="5053"/>
                    <a:pt x="3657" y="5036"/>
                    <a:pt x="3633" y="5013"/>
                  </a:cubicBezTo>
                  <a:lnTo>
                    <a:pt x="3665" y="4965"/>
                  </a:lnTo>
                  <a:cubicBezTo>
                    <a:pt x="3688" y="4985"/>
                    <a:pt x="3715" y="5001"/>
                    <a:pt x="3748" y="5012"/>
                  </a:cubicBezTo>
                  <a:cubicBezTo>
                    <a:pt x="3780" y="5024"/>
                    <a:pt x="3814" y="5029"/>
                    <a:pt x="3850" y="5029"/>
                  </a:cubicBezTo>
                  <a:cubicBezTo>
                    <a:pt x="3910" y="5029"/>
                    <a:pt x="3953" y="5015"/>
                    <a:pt x="3981" y="4988"/>
                  </a:cubicBezTo>
                  <a:cubicBezTo>
                    <a:pt x="4009" y="4960"/>
                    <a:pt x="4023" y="4917"/>
                    <a:pt x="4023" y="4859"/>
                  </a:cubicBezTo>
                  <a:lnTo>
                    <a:pt x="4023" y="4799"/>
                  </a:lnTo>
                  <a:cubicBezTo>
                    <a:pt x="4004" y="4829"/>
                    <a:pt x="3978" y="4851"/>
                    <a:pt x="3946" y="4867"/>
                  </a:cubicBezTo>
                  <a:cubicBezTo>
                    <a:pt x="3914" y="4882"/>
                    <a:pt x="3879" y="4890"/>
                    <a:pt x="3840" y="4890"/>
                  </a:cubicBezTo>
                  <a:cubicBezTo>
                    <a:pt x="3796" y="4890"/>
                    <a:pt x="3756" y="4880"/>
                    <a:pt x="3720" y="4861"/>
                  </a:cubicBezTo>
                  <a:cubicBezTo>
                    <a:pt x="3684" y="4842"/>
                    <a:pt x="3656" y="4815"/>
                    <a:pt x="3635" y="4780"/>
                  </a:cubicBezTo>
                  <a:cubicBezTo>
                    <a:pt x="3614" y="4745"/>
                    <a:pt x="3604" y="4706"/>
                    <a:pt x="3604" y="4662"/>
                  </a:cubicBezTo>
                  <a:cubicBezTo>
                    <a:pt x="3604" y="4618"/>
                    <a:pt x="3614" y="4578"/>
                    <a:pt x="3635" y="4544"/>
                  </a:cubicBezTo>
                  <a:cubicBezTo>
                    <a:pt x="3656" y="4510"/>
                    <a:pt x="3684" y="4483"/>
                    <a:pt x="3719" y="4464"/>
                  </a:cubicBezTo>
                  <a:cubicBezTo>
                    <a:pt x="3755" y="4445"/>
                    <a:pt x="3795" y="4435"/>
                    <a:pt x="3840" y="4435"/>
                  </a:cubicBezTo>
                  <a:cubicBezTo>
                    <a:pt x="3880" y="4435"/>
                    <a:pt x="3916" y="4443"/>
                    <a:pt x="3948" y="4459"/>
                  </a:cubicBezTo>
                  <a:cubicBezTo>
                    <a:pt x="3981" y="4475"/>
                    <a:pt x="4006" y="4499"/>
                    <a:pt x="4026" y="4529"/>
                  </a:cubicBezTo>
                  <a:lnTo>
                    <a:pt x="4026" y="4439"/>
                  </a:lnTo>
                  <a:lnTo>
                    <a:pt x="4087" y="4439"/>
                  </a:lnTo>
                  <a:close/>
                  <a:moveTo>
                    <a:pt x="3453" y="4487"/>
                  </a:moveTo>
                  <a:cubicBezTo>
                    <a:pt x="3487" y="4521"/>
                    <a:pt x="3505" y="4570"/>
                    <a:pt x="3505" y="4636"/>
                  </a:cubicBezTo>
                  <a:lnTo>
                    <a:pt x="3505" y="4908"/>
                  </a:lnTo>
                  <a:lnTo>
                    <a:pt x="3441" y="4908"/>
                  </a:lnTo>
                  <a:lnTo>
                    <a:pt x="3441" y="4642"/>
                  </a:lnTo>
                  <a:cubicBezTo>
                    <a:pt x="3441" y="4593"/>
                    <a:pt x="3429" y="4556"/>
                    <a:pt x="3405" y="4531"/>
                  </a:cubicBezTo>
                  <a:cubicBezTo>
                    <a:pt x="3380" y="4505"/>
                    <a:pt x="3345" y="4492"/>
                    <a:pt x="3300" y="4492"/>
                  </a:cubicBezTo>
                  <a:cubicBezTo>
                    <a:pt x="3249" y="4492"/>
                    <a:pt x="3209" y="4507"/>
                    <a:pt x="3180" y="4537"/>
                  </a:cubicBezTo>
                  <a:cubicBezTo>
                    <a:pt x="3150" y="4567"/>
                    <a:pt x="3136" y="4609"/>
                    <a:pt x="3136" y="4662"/>
                  </a:cubicBezTo>
                  <a:lnTo>
                    <a:pt x="3136" y="4908"/>
                  </a:lnTo>
                  <a:lnTo>
                    <a:pt x="3072" y="4908"/>
                  </a:lnTo>
                  <a:lnTo>
                    <a:pt x="3072" y="4439"/>
                  </a:lnTo>
                  <a:lnTo>
                    <a:pt x="3133" y="4439"/>
                  </a:lnTo>
                  <a:lnTo>
                    <a:pt x="3133" y="4525"/>
                  </a:lnTo>
                  <a:cubicBezTo>
                    <a:pt x="3150" y="4497"/>
                    <a:pt x="3174" y="4475"/>
                    <a:pt x="3205" y="4459"/>
                  </a:cubicBezTo>
                  <a:cubicBezTo>
                    <a:pt x="3236" y="4443"/>
                    <a:pt x="3271" y="4435"/>
                    <a:pt x="3312" y="4435"/>
                  </a:cubicBezTo>
                  <a:cubicBezTo>
                    <a:pt x="3371" y="4435"/>
                    <a:pt x="3418" y="4452"/>
                    <a:pt x="3453" y="4487"/>
                  </a:cubicBezTo>
                  <a:close/>
                  <a:moveTo>
                    <a:pt x="2858" y="4439"/>
                  </a:moveTo>
                  <a:lnTo>
                    <a:pt x="2922" y="4439"/>
                  </a:lnTo>
                  <a:lnTo>
                    <a:pt x="2922" y="4908"/>
                  </a:lnTo>
                  <a:lnTo>
                    <a:pt x="2858" y="4908"/>
                  </a:lnTo>
                  <a:lnTo>
                    <a:pt x="2858" y="4439"/>
                  </a:lnTo>
                  <a:close/>
                  <a:moveTo>
                    <a:pt x="2858" y="4323"/>
                  </a:moveTo>
                  <a:cubicBezTo>
                    <a:pt x="2849" y="4314"/>
                    <a:pt x="2844" y="4303"/>
                    <a:pt x="2844" y="4291"/>
                  </a:cubicBezTo>
                  <a:cubicBezTo>
                    <a:pt x="2844" y="4279"/>
                    <a:pt x="2849" y="4268"/>
                    <a:pt x="2858" y="4260"/>
                  </a:cubicBezTo>
                  <a:cubicBezTo>
                    <a:pt x="2867" y="4251"/>
                    <a:pt x="2878" y="4246"/>
                    <a:pt x="2891" y="4246"/>
                  </a:cubicBezTo>
                  <a:cubicBezTo>
                    <a:pt x="2904" y="4246"/>
                    <a:pt x="2915" y="4250"/>
                    <a:pt x="2924" y="4259"/>
                  </a:cubicBezTo>
                  <a:cubicBezTo>
                    <a:pt x="2933" y="4268"/>
                    <a:pt x="2937" y="4278"/>
                    <a:pt x="2937" y="4290"/>
                  </a:cubicBezTo>
                  <a:cubicBezTo>
                    <a:pt x="2937" y="4303"/>
                    <a:pt x="2933" y="4314"/>
                    <a:pt x="2924" y="4323"/>
                  </a:cubicBezTo>
                  <a:cubicBezTo>
                    <a:pt x="2915" y="4332"/>
                    <a:pt x="2904" y="4336"/>
                    <a:pt x="2891" y="4336"/>
                  </a:cubicBezTo>
                  <a:cubicBezTo>
                    <a:pt x="2878" y="4336"/>
                    <a:pt x="2867" y="4332"/>
                    <a:pt x="2858" y="4323"/>
                  </a:cubicBezTo>
                  <a:close/>
                  <a:moveTo>
                    <a:pt x="2643" y="4459"/>
                  </a:moveTo>
                  <a:cubicBezTo>
                    <a:pt x="2673" y="4443"/>
                    <a:pt x="2710" y="4435"/>
                    <a:pt x="2753" y="4435"/>
                  </a:cubicBezTo>
                  <a:lnTo>
                    <a:pt x="2753" y="4497"/>
                  </a:lnTo>
                  <a:lnTo>
                    <a:pt x="2738" y="4496"/>
                  </a:lnTo>
                  <a:cubicBezTo>
                    <a:pt x="2688" y="4496"/>
                    <a:pt x="2650" y="4511"/>
                    <a:pt x="2622" y="4541"/>
                  </a:cubicBezTo>
                  <a:cubicBezTo>
                    <a:pt x="2594" y="4572"/>
                    <a:pt x="2580" y="4614"/>
                    <a:pt x="2580" y="4669"/>
                  </a:cubicBezTo>
                  <a:lnTo>
                    <a:pt x="2580" y="4908"/>
                  </a:lnTo>
                  <a:lnTo>
                    <a:pt x="2516" y="4908"/>
                  </a:lnTo>
                  <a:lnTo>
                    <a:pt x="2516" y="4439"/>
                  </a:lnTo>
                  <a:lnTo>
                    <a:pt x="2577" y="4439"/>
                  </a:lnTo>
                  <a:lnTo>
                    <a:pt x="2577" y="4531"/>
                  </a:lnTo>
                  <a:cubicBezTo>
                    <a:pt x="2592" y="4499"/>
                    <a:pt x="2614" y="4475"/>
                    <a:pt x="2643" y="4459"/>
                  </a:cubicBezTo>
                  <a:close/>
                  <a:moveTo>
                    <a:pt x="2053" y="4533"/>
                  </a:moveTo>
                  <a:cubicBezTo>
                    <a:pt x="2023" y="4562"/>
                    <a:pt x="2005" y="4599"/>
                    <a:pt x="2001" y="4646"/>
                  </a:cubicBezTo>
                  <a:lnTo>
                    <a:pt x="2335" y="4646"/>
                  </a:lnTo>
                  <a:cubicBezTo>
                    <a:pt x="2330" y="4599"/>
                    <a:pt x="2313" y="4562"/>
                    <a:pt x="2282" y="4533"/>
                  </a:cubicBezTo>
                  <a:cubicBezTo>
                    <a:pt x="2252" y="4504"/>
                    <a:pt x="2213" y="4490"/>
                    <a:pt x="2167" y="4490"/>
                  </a:cubicBezTo>
                  <a:cubicBezTo>
                    <a:pt x="2122" y="4490"/>
                    <a:pt x="2084" y="4504"/>
                    <a:pt x="2053" y="4533"/>
                  </a:cubicBezTo>
                  <a:close/>
                  <a:moveTo>
                    <a:pt x="2395" y="4693"/>
                  </a:moveTo>
                  <a:lnTo>
                    <a:pt x="2001" y="4693"/>
                  </a:lnTo>
                  <a:cubicBezTo>
                    <a:pt x="2005" y="4742"/>
                    <a:pt x="2023" y="4781"/>
                    <a:pt x="2057" y="4811"/>
                  </a:cubicBezTo>
                  <a:cubicBezTo>
                    <a:pt x="2091" y="4841"/>
                    <a:pt x="2134" y="4856"/>
                    <a:pt x="2186" y="4856"/>
                  </a:cubicBezTo>
                  <a:cubicBezTo>
                    <a:pt x="2215" y="4856"/>
                    <a:pt x="2242" y="4851"/>
                    <a:pt x="2267" y="4841"/>
                  </a:cubicBezTo>
                  <a:cubicBezTo>
                    <a:pt x="2291" y="4830"/>
                    <a:pt x="2312" y="4815"/>
                    <a:pt x="2330" y="4795"/>
                  </a:cubicBezTo>
                  <a:lnTo>
                    <a:pt x="2366" y="4836"/>
                  </a:lnTo>
                  <a:cubicBezTo>
                    <a:pt x="2345" y="4861"/>
                    <a:pt x="2319" y="4880"/>
                    <a:pt x="2288" y="4893"/>
                  </a:cubicBezTo>
                  <a:cubicBezTo>
                    <a:pt x="2256" y="4906"/>
                    <a:pt x="2222" y="4912"/>
                    <a:pt x="2184" y="4912"/>
                  </a:cubicBezTo>
                  <a:cubicBezTo>
                    <a:pt x="2136" y="4912"/>
                    <a:pt x="2093" y="4902"/>
                    <a:pt x="2056" y="4882"/>
                  </a:cubicBezTo>
                  <a:cubicBezTo>
                    <a:pt x="2019" y="4861"/>
                    <a:pt x="1990" y="4833"/>
                    <a:pt x="1969" y="4796"/>
                  </a:cubicBezTo>
                  <a:cubicBezTo>
                    <a:pt x="1948" y="4760"/>
                    <a:pt x="1938" y="4719"/>
                    <a:pt x="1938" y="4673"/>
                  </a:cubicBezTo>
                  <a:cubicBezTo>
                    <a:pt x="1938" y="4628"/>
                    <a:pt x="1948" y="4587"/>
                    <a:pt x="1968" y="4550"/>
                  </a:cubicBezTo>
                  <a:cubicBezTo>
                    <a:pt x="1988" y="4514"/>
                    <a:pt x="2015" y="4486"/>
                    <a:pt x="2050" y="4466"/>
                  </a:cubicBezTo>
                  <a:cubicBezTo>
                    <a:pt x="2085" y="4445"/>
                    <a:pt x="2124" y="4435"/>
                    <a:pt x="2167" y="4435"/>
                  </a:cubicBezTo>
                  <a:cubicBezTo>
                    <a:pt x="2211" y="4435"/>
                    <a:pt x="2250" y="4445"/>
                    <a:pt x="2285" y="4466"/>
                  </a:cubicBezTo>
                  <a:cubicBezTo>
                    <a:pt x="2319" y="4486"/>
                    <a:pt x="2346" y="4514"/>
                    <a:pt x="2366" y="4550"/>
                  </a:cubicBezTo>
                  <a:cubicBezTo>
                    <a:pt x="2386" y="4586"/>
                    <a:pt x="2395" y="4627"/>
                    <a:pt x="2395" y="4673"/>
                  </a:cubicBezTo>
                  <a:lnTo>
                    <a:pt x="2395" y="4693"/>
                  </a:lnTo>
                  <a:close/>
                  <a:moveTo>
                    <a:pt x="1912" y="4439"/>
                  </a:moveTo>
                  <a:lnTo>
                    <a:pt x="1734" y="4908"/>
                  </a:lnTo>
                  <a:lnTo>
                    <a:pt x="1674" y="4908"/>
                  </a:lnTo>
                  <a:lnTo>
                    <a:pt x="1525" y="4524"/>
                  </a:lnTo>
                  <a:lnTo>
                    <a:pt x="1377" y="4908"/>
                  </a:lnTo>
                  <a:lnTo>
                    <a:pt x="1317" y="4908"/>
                  </a:lnTo>
                  <a:lnTo>
                    <a:pt x="1140" y="4439"/>
                  </a:lnTo>
                  <a:lnTo>
                    <a:pt x="1201" y="4439"/>
                  </a:lnTo>
                  <a:lnTo>
                    <a:pt x="1348" y="4837"/>
                  </a:lnTo>
                  <a:lnTo>
                    <a:pt x="1500" y="4439"/>
                  </a:lnTo>
                  <a:lnTo>
                    <a:pt x="1554" y="4439"/>
                  </a:lnTo>
                  <a:lnTo>
                    <a:pt x="1704" y="4837"/>
                  </a:lnTo>
                  <a:lnTo>
                    <a:pt x="1854" y="4439"/>
                  </a:lnTo>
                  <a:lnTo>
                    <a:pt x="1912" y="4439"/>
                  </a:lnTo>
                  <a:close/>
                  <a:moveTo>
                    <a:pt x="965" y="4833"/>
                  </a:moveTo>
                  <a:cubicBezTo>
                    <a:pt x="992" y="4818"/>
                    <a:pt x="1013" y="4797"/>
                    <a:pt x="1027" y="4769"/>
                  </a:cubicBezTo>
                  <a:cubicBezTo>
                    <a:pt x="1042" y="4741"/>
                    <a:pt x="1050" y="4709"/>
                    <a:pt x="1050" y="4673"/>
                  </a:cubicBezTo>
                  <a:cubicBezTo>
                    <a:pt x="1050" y="4638"/>
                    <a:pt x="1042" y="4606"/>
                    <a:pt x="1027" y="4578"/>
                  </a:cubicBezTo>
                  <a:cubicBezTo>
                    <a:pt x="1013" y="4550"/>
                    <a:pt x="992" y="4528"/>
                    <a:pt x="965" y="4513"/>
                  </a:cubicBezTo>
                  <a:cubicBezTo>
                    <a:pt x="939" y="4498"/>
                    <a:pt x="909" y="4491"/>
                    <a:pt x="875" y="4491"/>
                  </a:cubicBezTo>
                  <a:cubicBezTo>
                    <a:pt x="842" y="4491"/>
                    <a:pt x="812" y="4498"/>
                    <a:pt x="786" y="4513"/>
                  </a:cubicBezTo>
                  <a:cubicBezTo>
                    <a:pt x="759" y="4528"/>
                    <a:pt x="738" y="4550"/>
                    <a:pt x="723" y="4578"/>
                  </a:cubicBezTo>
                  <a:cubicBezTo>
                    <a:pt x="708" y="4606"/>
                    <a:pt x="700" y="4638"/>
                    <a:pt x="700" y="4673"/>
                  </a:cubicBezTo>
                  <a:cubicBezTo>
                    <a:pt x="700" y="4709"/>
                    <a:pt x="708" y="4741"/>
                    <a:pt x="723" y="4769"/>
                  </a:cubicBezTo>
                  <a:cubicBezTo>
                    <a:pt x="738" y="4797"/>
                    <a:pt x="759" y="4818"/>
                    <a:pt x="786" y="4833"/>
                  </a:cubicBezTo>
                  <a:cubicBezTo>
                    <a:pt x="812" y="4849"/>
                    <a:pt x="842" y="4856"/>
                    <a:pt x="875" y="4856"/>
                  </a:cubicBezTo>
                  <a:cubicBezTo>
                    <a:pt x="909" y="4856"/>
                    <a:pt x="939" y="4849"/>
                    <a:pt x="965" y="4833"/>
                  </a:cubicBezTo>
                  <a:close/>
                  <a:moveTo>
                    <a:pt x="753" y="4882"/>
                  </a:moveTo>
                  <a:cubicBezTo>
                    <a:pt x="717" y="4861"/>
                    <a:pt x="688" y="4833"/>
                    <a:pt x="667" y="4796"/>
                  </a:cubicBezTo>
                  <a:cubicBezTo>
                    <a:pt x="646" y="4760"/>
                    <a:pt x="636" y="4719"/>
                    <a:pt x="636" y="4673"/>
                  </a:cubicBezTo>
                  <a:cubicBezTo>
                    <a:pt x="636" y="4628"/>
                    <a:pt x="646" y="4587"/>
                    <a:pt x="667" y="4550"/>
                  </a:cubicBezTo>
                  <a:cubicBezTo>
                    <a:pt x="688" y="4514"/>
                    <a:pt x="717" y="4486"/>
                    <a:pt x="753" y="4466"/>
                  </a:cubicBezTo>
                  <a:cubicBezTo>
                    <a:pt x="789" y="4445"/>
                    <a:pt x="830" y="4435"/>
                    <a:pt x="875" y="4435"/>
                  </a:cubicBezTo>
                  <a:cubicBezTo>
                    <a:pt x="921" y="4435"/>
                    <a:pt x="962" y="4445"/>
                    <a:pt x="998" y="4466"/>
                  </a:cubicBezTo>
                  <a:cubicBezTo>
                    <a:pt x="1034" y="4486"/>
                    <a:pt x="1063" y="4514"/>
                    <a:pt x="1083" y="4550"/>
                  </a:cubicBezTo>
                  <a:cubicBezTo>
                    <a:pt x="1104" y="4587"/>
                    <a:pt x="1114" y="4628"/>
                    <a:pt x="1114" y="4673"/>
                  </a:cubicBezTo>
                  <a:cubicBezTo>
                    <a:pt x="1114" y="4719"/>
                    <a:pt x="1104" y="4760"/>
                    <a:pt x="1083" y="4796"/>
                  </a:cubicBezTo>
                  <a:cubicBezTo>
                    <a:pt x="1063" y="4833"/>
                    <a:pt x="1034" y="4861"/>
                    <a:pt x="998" y="4882"/>
                  </a:cubicBezTo>
                  <a:cubicBezTo>
                    <a:pt x="962" y="4902"/>
                    <a:pt x="921" y="4912"/>
                    <a:pt x="875" y="4912"/>
                  </a:cubicBezTo>
                  <a:cubicBezTo>
                    <a:pt x="830" y="4912"/>
                    <a:pt x="789" y="4902"/>
                    <a:pt x="753" y="4882"/>
                  </a:cubicBezTo>
                  <a:close/>
                  <a:moveTo>
                    <a:pt x="468" y="4612"/>
                  </a:moveTo>
                  <a:cubicBezTo>
                    <a:pt x="501" y="4585"/>
                    <a:pt x="517" y="4547"/>
                    <a:pt x="517" y="4498"/>
                  </a:cubicBezTo>
                  <a:cubicBezTo>
                    <a:pt x="517" y="4447"/>
                    <a:pt x="501" y="4408"/>
                    <a:pt x="468" y="4381"/>
                  </a:cubicBezTo>
                  <a:cubicBezTo>
                    <a:pt x="435" y="4354"/>
                    <a:pt x="388" y="4341"/>
                    <a:pt x="326" y="4341"/>
                  </a:cubicBezTo>
                  <a:lnTo>
                    <a:pt x="159" y="4341"/>
                  </a:lnTo>
                  <a:lnTo>
                    <a:pt x="159" y="4653"/>
                  </a:lnTo>
                  <a:lnTo>
                    <a:pt x="326" y="4653"/>
                  </a:lnTo>
                  <a:cubicBezTo>
                    <a:pt x="388" y="4653"/>
                    <a:pt x="435" y="4639"/>
                    <a:pt x="468" y="4612"/>
                  </a:cubicBezTo>
                  <a:moveTo>
                    <a:pt x="515" y="4341"/>
                  </a:moveTo>
                  <a:cubicBezTo>
                    <a:pt x="560" y="4379"/>
                    <a:pt x="583" y="4431"/>
                    <a:pt x="583" y="4498"/>
                  </a:cubicBezTo>
                  <a:cubicBezTo>
                    <a:pt x="583" y="4564"/>
                    <a:pt x="560" y="4616"/>
                    <a:pt x="515" y="4654"/>
                  </a:cubicBezTo>
                  <a:cubicBezTo>
                    <a:pt x="470" y="4692"/>
                    <a:pt x="407" y="4711"/>
                    <a:pt x="327" y="4711"/>
                  </a:cubicBezTo>
                  <a:lnTo>
                    <a:pt x="159" y="4711"/>
                  </a:lnTo>
                  <a:lnTo>
                    <a:pt x="159" y="4908"/>
                  </a:lnTo>
                  <a:lnTo>
                    <a:pt x="93" y="4908"/>
                  </a:lnTo>
                  <a:lnTo>
                    <a:pt x="93" y="4284"/>
                  </a:lnTo>
                  <a:lnTo>
                    <a:pt x="327" y="4284"/>
                  </a:lnTo>
                  <a:cubicBezTo>
                    <a:pt x="407" y="4284"/>
                    <a:pt x="470" y="4303"/>
                    <a:pt x="515" y="4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6">
              <a:extLst>
                <a:ext uri="{FF2B5EF4-FFF2-40B4-BE49-F238E27FC236}">
                  <a16:creationId xmlns:a16="http://schemas.microsoft.com/office/drawing/2014/main" id="{AF8157E4-29EC-48EA-A492-FAA55317EA63}"/>
                </a:ext>
              </a:extLst>
            </p:cNvPr>
            <p:cNvSpPr>
              <a:spLocks noEditPoints="1"/>
            </p:cNvSpPr>
            <p:nvPr userDrawn="1"/>
          </p:nvSpPr>
          <p:spPr bwMode="auto">
            <a:xfrm>
              <a:off x="1321" y="3148"/>
              <a:ext cx="4755" cy="713"/>
            </a:xfrm>
            <a:custGeom>
              <a:avLst/>
              <a:gdLst>
                <a:gd name="T0" fmla="*/ 9402 w 9905"/>
                <a:gd name="T1" fmla="*/ 1485 h 1485"/>
                <a:gd name="T2" fmla="*/ 9609 w 9905"/>
                <a:gd name="T3" fmla="*/ 673 h 1485"/>
                <a:gd name="T4" fmla="*/ 9235 w 9905"/>
                <a:gd name="T5" fmla="*/ 387 h 1485"/>
                <a:gd name="T6" fmla="*/ 9645 w 9905"/>
                <a:gd name="T7" fmla="*/ 272 h 1485"/>
                <a:gd name="T8" fmla="*/ 9852 w 9905"/>
                <a:gd name="T9" fmla="*/ 188 h 1485"/>
                <a:gd name="T10" fmla="*/ 9440 w 9905"/>
                <a:gd name="T11" fmla="*/ 0 h 1485"/>
                <a:gd name="T12" fmla="*/ 9297 w 9905"/>
                <a:gd name="T13" fmla="*/ 792 h 1485"/>
                <a:gd name="T14" fmla="*/ 9655 w 9905"/>
                <a:gd name="T15" fmla="*/ 1077 h 1485"/>
                <a:gd name="T16" fmla="*/ 9102 w 9905"/>
                <a:gd name="T17" fmla="*/ 1105 h 1485"/>
                <a:gd name="T18" fmla="*/ 7727 w 9905"/>
                <a:gd name="T19" fmla="*/ 1267 h 1485"/>
                <a:gd name="T20" fmla="*/ 8704 w 9905"/>
                <a:gd name="T21" fmla="*/ 1072 h 1485"/>
                <a:gd name="T22" fmla="*/ 8168 w 9905"/>
                <a:gd name="T23" fmla="*/ 558 h 1485"/>
                <a:gd name="T24" fmla="*/ 8252 w 9905"/>
                <a:gd name="T25" fmla="*/ 227 h 1485"/>
                <a:gd name="T26" fmla="*/ 8543 w 9905"/>
                <a:gd name="T27" fmla="*/ 300 h 1485"/>
                <a:gd name="T28" fmla="*/ 8567 w 9905"/>
                <a:gd name="T29" fmla="*/ 73 h 1485"/>
                <a:gd name="T30" fmla="*/ 7785 w 9905"/>
                <a:gd name="T31" fmla="*/ 395 h 1485"/>
                <a:gd name="T32" fmla="*/ 8292 w 9905"/>
                <a:gd name="T33" fmla="*/ 885 h 1485"/>
                <a:gd name="T34" fmla="*/ 8225 w 9905"/>
                <a:gd name="T35" fmla="*/ 1257 h 1485"/>
                <a:gd name="T36" fmla="*/ 7727 w 9905"/>
                <a:gd name="T37" fmla="*/ 1267 h 1485"/>
                <a:gd name="T38" fmla="*/ 3354 w 9905"/>
                <a:gd name="T39" fmla="*/ 1485 h 1485"/>
                <a:gd name="T40" fmla="*/ 3560 w 9905"/>
                <a:gd name="T41" fmla="*/ 673 h 1485"/>
                <a:gd name="T42" fmla="*/ 3187 w 9905"/>
                <a:gd name="T43" fmla="*/ 387 h 1485"/>
                <a:gd name="T44" fmla="*/ 3597 w 9905"/>
                <a:gd name="T45" fmla="*/ 272 h 1485"/>
                <a:gd name="T46" fmla="*/ 3805 w 9905"/>
                <a:gd name="T47" fmla="*/ 188 h 1485"/>
                <a:gd name="T48" fmla="*/ 3393 w 9905"/>
                <a:gd name="T49" fmla="*/ 0 h 1485"/>
                <a:gd name="T50" fmla="*/ 3250 w 9905"/>
                <a:gd name="T51" fmla="*/ 792 h 1485"/>
                <a:gd name="T52" fmla="*/ 3609 w 9905"/>
                <a:gd name="T53" fmla="*/ 1077 h 1485"/>
                <a:gd name="T54" fmla="*/ 3055 w 9905"/>
                <a:gd name="T55" fmla="*/ 1105 h 1485"/>
                <a:gd name="T56" fmla="*/ 5023 w 9905"/>
                <a:gd name="T57" fmla="*/ 0 h 1485"/>
                <a:gd name="T58" fmla="*/ 4905 w 9905"/>
                <a:gd name="T59" fmla="*/ 1370 h 1485"/>
                <a:gd name="T60" fmla="*/ 5140 w 9905"/>
                <a:gd name="T61" fmla="*/ 1370 h 1485"/>
                <a:gd name="T62" fmla="*/ 5868 w 9905"/>
                <a:gd name="T63" fmla="*/ 1395 h 1485"/>
                <a:gd name="T64" fmla="*/ 6117 w 9905"/>
                <a:gd name="T65" fmla="*/ 1372 h 1485"/>
                <a:gd name="T66" fmla="*/ 5884 w 9905"/>
                <a:gd name="T67" fmla="*/ 10 h 1485"/>
                <a:gd name="T68" fmla="*/ 5152 w 9905"/>
                <a:gd name="T69" fmla="*/ 88 h 1485"/>
                <a:gd name="T70" fmla="*/ 882 w 9905"/>
                <a:gd name="T71" fmla="*/ 682 h 1485"/>
                <a:gd name="T72" fmla="*/ 652 w 9905"/>
                <a:gd name="T73" fmla="*/ 1475 h 1485"/>
                <a:gd name="T74" fmla="*/ 0 w 9905"/>
                <a:gd name="T75" fmla="*/ 122 h 1485"/>
                <a:gd name="T76" fmla="*/ 622 w 9905"/>
                <a:gd name="T77" fmla="*/ 7 h 1485"/>
                <a:gd name="T78" fmla="*/ 882 w 9905"/>
                <a:gd name="T79" fmla="*/ 682 h 1485"/>
                <a:gd name="T80" fmla="*/ 592 w 9905"/>
                <a:gd name="T81" fmla="*/ 595 h 1485"/>
                <a:gd name="T82" fmla="*/ 592 w 9905"/>
                <a:gd name="T83" fmla="*/ 238 h 1485"/>
                <a:gd name="T84" fmla="*/ 237 w 9905"/>
                <a:gd name="T85" fmla="*/ 595 h 1485"/>
                <a:gd name="T86" fmla="*/ 859 w 9905"/>
                <a:gd name="T87" fmla="*/ 1032 h 1485"/>
                <a:gd name="T88" fmla="*/ 237 w 9905"/>
                <a:gd name="T89" fmla="*/ 812 h 1485"/>
                <a:gd name="T90" fmla="*/ 607 w 9905"/>
                <a:gd name="T91" fmla="*/ 1250 h 1485"/>
                <a:gd name="T92" fmla="*/ 7492 w 9905"/>
                <a:gd name="T93" fmla="*/ 125 h 1485"/>
                <a:gd name="T94" fmla="*/ 6642 w 9905"/>
                <a:gd name="T95" fmla="*/ 10 h 1485"/>
                <a:gd name="T96" fmla="*/ 6527 w 9905"/>
                <a:gd name="T97" fmla="*/ 1365 h 1485"/>
                <a:gd name="T98" fmla="*/ 7484 w 9905"/>
                <a:gd name="T99" fmla="*/ 1478 h 1485"/>
                <a:gd name="T100" fmla="*/ 6764 w 9905"/>
                <a:gd name="T101" fmla="*/ 1248 h 1485"/>
                <a:gd name="T102" fmla="*/ 7307 w 9905"/>
                <a:gd name="T103" fmla="*/ 822 h 1485"/>
                <a:gd name="T104" fmla="*/ 7307 w 9905"/>
                <a:gd name="T105" fmla="*/ 592 h 1485"/>
                <a:gd name="T106" fmla="*/ 6764 w 9905"/>
                <a:gd name="T107" fmla="*/ 240 h 1485"/>
                <a:gd name="T108" fmla="*/ 1635 w 9905"/>
                <a:gd name="T109" fmla="*/ 893 h 1485"/>
                <a:gd name="T110" fmla="*/ 1517 w 9905"/>
                <a:gd name="T111" fmla="*/ 0 h 1485"/>
                <a:gd name="T112" fmla="*/ 1399 w 9905"/>
                <a:gd name="T113" fmla="*/ 885 h 1485"/>
                <a:gd name="T114" fmla="*/ 2605 w 9905"/>
                <a:gd name="T115" fmla="*/ 885 h 1485"/>
                <a:gd name="T116" fmla="*/ 2367 w 9905"/>
                <a:gd name="T117" fmla="*/ 7 h 1485"/>
                <a:gd name="T118" fmla="*/ 2002 w 9905"/>
                <a:gd name="T119" fmla="*/ 1260 h 1485"/>
                <a:gd name="T120" fmla="*/ 4320 w 9905"/>
                <a:gd name="T121" fmla="*/ 0 h 1485"/>
                <a:gd name="T122" fmla="*/ 4439 w 9905"/>
                <a:gd name="T123" fmla="*/ 1477 h 1485"/>
                <a:gd name="T124" fmla="*/ 4202 w 9905"/>
                <a:gd name="T125" fmla="*/ 115 h 1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905" h="1485">
                  <a:moveTo>
                    <a:pt x="8929" y="1267"/>
                  </a:moveTo>
                  <a:cubicBezTo>
                    <a:pt x="8959" y="1305"/>
                    <a:pt x="9097" y="1485"/>
                    <a:pt x="9402" y="1485"/>
                  </a:cubicBezTo>
                  <a:cubicBezTo>
                    <a:pt x="9700" y="1485"/>
                    <a:pt x="9905" y="1313"/>
                    <a:pt x="9905" y="1072"/>
                  </a:cubicBezTo>
                  <a:cubicBezTo>
                    <a:pt x="9905" y="913"/>
                    <a:pt x="9842" y="787"/>
                    <a:pt x="9609" y="673"/>
                  </a:cubicBezTo>
                  <a:cubicBezTo>
                    <a:pt x="9545" y="643"/>
                    <a:pt x="9368" y="558"/>
                    <a:pt x="9368" y="558"/>
                  </a:cubicBezTo>
                  <a:cubicBezTo>
                    <a:pt x="9277" y="513"/>
                    <a:pt x="9235" y="460"/>
                    <a:pt x="9235" y="387"/>
                  </a:cubicBezTo>
                  <a:cubicBezTo>
                    <a:pt x="9235" y="310"/>
                    <a:pt x="9298" y="227"/>
                    <a:pt x="9452" y="227"/>
                  </a:cubicBezTo>
                  <a:cubicBezTo>
                    <a:pt x="9540" y="227"/>
                    <a:pt x="9609" y="255"/>
                    <a:pt x="9645" y="272"/>
                  </a:cubicBezTo>
                  <a:cubicBezTo>
                    <a:pt x="9662" y="280"/>
                    <a:pt x="9704" y="300"/>
                    <a:pt x="9743" y="300"/>
                  </a:cubicBezTo>
                  <a:cubicBezTo>
                    <a:pt x="9795" y="300"/>
                    <a:pt x="9852" y="263"/>
                    <a:pt x="9852" y="188"/>
                  </a:cubicBezTo>
                  <a:cubicBezTo>
                    <a:pt x="9852" y="125"/>
                    <a:pt x="9807" y="92"/>
                    <a:pt x="9767" y="73"/>
                  </a:cubicBezTo>
                  <a:cubicBezTo>
                    <a:pt x="9704" y="43"/>
                    <a:pt x="9605" y="0"/>
                    <a:pt x="9440" y="0"/>
                  </a:cubicBezTo>
                  <a:cubicBezTo>
                    <a:pt x="9179" y="0"/>
                    <a:pt x="8985" y="165"/>
                    <a:pt x="8985" y="395"/>
                  </a:cubicBezTo>
                  <a:cubicBezTo>
                    <a:pt x="8985" y="605"/>
                    <a:pt x="9125" y="710"/>
                    <a:pt x="9297" y="792"/>
                  </a:cubicBezTo>
                  <a:cubicBezTo>
                    <a:pt x="9329" y="807"/>
                    <a:pt x="9455" y="868"/>
                    <a:pt x="9490" y="885"/>
                  </a:cubicBezTo>
                  <a:cubicBezTo>
                    <a:pt x="9598" y="937"/>
                    <a:pt x="9655" y="987"/>
                    <a:pt x="9655" y="1077"/>
                  </a:cubicBezTo>
                  <a:cubicBezTo>
                    <a:pt x="9655" y="1175"/>
                    <a:pt x="9564" y="1257"/>
                    <a:pt x="9425" y="1257"/>
                  </a:cubicBezTo>
                  <a:cubicBezTo>
                    <a:pt x="9227" y="1257"/>
                    <a:pt x="9120" y="1127"/>
                    <a:pt x="9102" y="1105"/>
                  </a:cubicBezTo>
                  <a:lnTo>
                    <a:pt x="8929" y="1267"/>
                  </a:lnTo>
                  <a:close/>
                  <a:moveTo>
                    <a:pt x="7727" y="1267"/>
                  </a:moveTo>
                  <a:cubicBezTo>
                    <a:pt x="7757" y="1305"/>
                    <a:pt x="7897" y="1485"/>
                    <a:pt x="8202" y="1485"/>
                  </a:cubicBezTo>
                  <a:cubicBezTo>
                    <a:pt x="8500" y="1485"/>
                    <a:pt x="8704" y="1313"/>
                    <a:pt x="8704" y="1072"/>
                  </a:cubicBezTo>
                  <a:cubicBezTo>
                    <a:pt x="8704" y="913"/>
                    <a:pt x="8642" y="787"/>
                    <a:pt x="8407" y="673"/>
                  </a:cubicBezTo>
                  <a:cubicBezTo>
                    <a:pt x="8345" y="643"/>
                    <a:pt x="8168" y="558"/>
                    <a:pt x="8168" y="558"/>
                  </a:cubicBezTo>
                  <a:cubicBezTo>
                    <a:pt x="8075" y="513"/>
                    <a:pt x="8034" y="460"/>
                    <a:pt x="8034" y="387"/>
                  </a:cubicBezTo>
                  <a:cubicBezTo>
                    <a:pt x="8034" y="310"/>
                    <a:pt x="8097" y="227"/>
                    <a:pt x="8252" y="227"/>
                  </a:cubicBezTo>
                  <a:cubicBezTo>
                    <a:pt x="8340" y="227"/>
                    <a:pt x="8407" y="255"/>
                    <a:pt x="8443" y="272"/>
                  </a:cubicBezTo>
                  <a:cubicBezTo>
                    <a:pt x="8462" y="280"/>
                    <a:pt x="8504" y="300"/>
                    <a:pt x="8543" y="300"/>
                  </a:cubicBezTo>
                  <a:cubicBezTo>
                    <a:pt x="8595" y="300"/>
                    <a:pt x="8652" y="263"/>
                    <a:pt x="8652" y="188"/>
                  </a:cubicBezTo>
                  <a:cubicBezTo>
                    <a:pt x="8652" y="125"/>
                    <a:pt x="8607" y="92"/>
                    <a:pt x="8567" y="73"/>
                  </a:cubicBezTo>
                  <a:cubicBezTo>
                    <a:pt x="8504" y="43"/>
                    <a:pt x="8404" y="0"/>
                    <a:pt x="8240" y="0"/>
                  </a:cubicBezTo>
                  <a:cubicBezTo>
                    <a:pt x="7979" y="0"/>
                    <a:pt x="7785" y="165"/>
                    <a:pt x="7785" y="395"/>
                  </a:cubicBezTo>
                  <a:cubicBezTo>
                    <a:pt x="7785" y="605"/>
                    <a:pt x="7927" y="710"/>
                    <a:pt x="8097" y="792"/>
                  </a:cubicBezTo>
                  <a:cubicBezTo>
                    <a:pt x="8130" y="807"/>
                    <a:pt x="8257" y="868"/>
                    <a:pt x="8292" y="885"/>
                  </a:cubicBezTo>
                  <a:cubicBezTo>
                    <a:pt x="8398" y="937"/>
                    <a:pt x="8455" y="987"/>
                    <a:pt x="8455" y="1077"/>
                  </a:cubicBezTo>
                  <a:cubicBezTo>
                    <a:pt x="8455" y="1175"/>
                    <a:pt x="8364" y="1257"/>
                    <a:pt x="8225" y="1257"/>
                  </a:cubicBezTo>
                  <a:cubicBezTo>
                    <a:pt x="8025" y="1257"/>
                    <a:pt x="7920" y="1127"/>
                    <a:pt x="7902" y="1105"/>
                  </a:cubicBezTo>
                  <a:lnTo>
                    <a:pt x="7727" y="1267"/>
                  </a:lnTo>
                  <a:close/>
                  <a:moveTo>
                    <a:pt x="2880" y="1267"/>
                  </a:moveTo>
                  <a:cubicBezTo>
                    <a:pt x="2910" y="1305"/>
                    <a:pt x="3049" y="1485"/>
                    <a:pt x="3354" y="1485"/>
                  </a:cubicBezTo>
                  <a:cubicBezTo>
                    <a:pt x="3654" y="1485"/>
                    <a:pt x="3857" y="1313"/>
                    <a:pt x="3857" y="1072"/>
                  </a:cubicBezTo>
                  <a:cubicBezTo>
                    <a:pt x="3857" y="913"/>
                    <a:pt x="3795" y="787"/>
                    <a:pt x="3560" y="673"/>
                  </a:cubicBezTo>
                  <a:cubicBezTo>
                    <a:pt x="3497" y="643"/>
                    <a:pt x="3322" y="558"/>
                    <a:pt x="3322" y="558"/>
                  </a:cubicBezTo>
                  <a:cubicBezTo>
                    <a:pt x="3229" y="513"/>
                    <a:pt x="3187" y="460"/>
                    <a:pt x="3187" y="387"/>
                  </a:cubicBezTo>
                  <a:cubicBezTo>
                    <a:pt x="3187" y="310"/>
                    <a:pt x="3250" y="227"/>
                    <a:pt x="3405" y="227"/>
                  </a:cubicBezTo>
                  <a:cubicBezTo>
                    <a:pt x="3493" y="227"/>
                    <a:pt x="3562" y="255"/>
                    <a:pt x="3597" y="272"/>
                  </a:cubicBezTo>
                  <a:cubicBezTo>
                    <a:pt x="3615" y="280"/>
                    <a:pt x="3657" y="300"/>
                    <a:pt x="3697" y="300"/>
                  </a:cubicBezTo>
                  <a:cubicBezTo>
                    <a:pt x="3749" y="300"/>
                    <a:pt x="3805" y="263"/>
                    <a:pt x="3805" y="188"/>
                  </a:cubicBezTo>
                  <a:cubicBezTo>
                    <a:pt x="3805" y="125"/>
                    <a:pt x="3760" y="92"/>
                    <a:pt x="3720" y="73"/>
                  </a:cubicBezTo>
                  <a:cubicBezTo>
                    <a:pt x="3657" y="43"/>
                    <a:pt x="3559" y="0"/>
                    <a:pt x="3393" y="0"/>
                  </a:cubicBezTo>
                  <a:cubicBezTo>
                    <a:pt x="3132" y="0"/>
                    <a:pt x="2939" y="165"/>
                    <a:pt x="2939" y="395"/>
                  </a:cubicBezTo>
                  <a:cubicBezTo>
                    <a:pt x="2939" y="605"/>
                    <a:pt x="3080" y="710"/>
                    <a:pt x="3250" y="792"/>
                  </a:cubicBezTo>
                  <a:cubicBezTo>
                    <a:pt x="3282" y="807"/>
                    <a:pt x="3409" y="868"/>
                    <a:pt x="3443" y="885"/>
                  </a:cubicBezTo>
                  <a:cubicBezTo>
                    <a:pt x="3552" y="937"/>
                    <a:pt x="3609" y="987"/>
                    <a:pt x="3609" y="1077"/>
                  </a:cubicBezTo>
                  <a:cubicBezTo>
                    <a:pt x="3609" y="1175"/>
                    <a:pt x="3517" y="1257"/>
                    <a:pt x="3379" y="1257"/>
                  </a:cubicBezTo>
                  <a:cubicBezTo>
                    <a:pt x="3180" y="1257"/>
                    <a:pt x="3074" y="1127"/>
                    <a:pt x="3055" y="1105"/>
                  </a:cubicBezTo>
                  <a:lnTo>
                    <a:pt x="2880" y="1267"/>
                  </a:lnTo>
                  <a:close/>
                  <a:moveTo>
                    <a:pt x="5023" y="0"/>
                  </a:moveTo>
                  <a:cubicBezTo>
                    <a:pt x="4952" y="0"/>
                    <a:pt x="4905" y="52"/>
                    <a:pt x="4905" y="113"/>
                  </a:cubicBezTo>
                  <a:lnTo>
                    <a:pt x="4905" y="1370"/>
                  </a:lnTo>
                  <a:cubicBezTo>
                    <a:pt x="4905" y="1433"/>
                    <a:pt x="4960" y="1483"/>
                    <a:pt x="5023" y="1483"/>
                  </a:cubicBezTo>
                  <a:cubicBezTo>
                    <a:pt x="5085" y="1483"/>
                    <a:pt x="5140" y="1433"/>
                    <a:pt x="5140" y="1370"/>
                  </a:cubicBezTo>
                  <a:lnTo>
                    <a:pt x="5140" y="463"/>
                  </a:lnTo>
                  <a:cubicBezTo>
                    <a:pt x="5140" y="463"/>
                    <a:pt x="5717" y="1200"/>
                    <a:pt x="5868" y="1395"/>
                  </a:cubicBezTo>
                  <a:cubicBezTo>
                    <a:pt x="5907" y="1443"/>
                    <a:pt x="5934" y="1485"/>
                    <a:pt x="6002" y="1485"/>
                  </a:cubicBezTo>
                  <a:cubicBezTo>
                    <a:pt x="6070" y="1485"/>
                    <a:pt x="6117" y="1435"/>
                    <a:pt x="6117" y="1372"/>
                  </a:cubicBezTo>
                  <a:lnTo>
                    <a:pt x="6117" y="10"/>
                  </a:lnTo>
                  <a:lnTo>
                    <a:pt x="5884" y="10"/>
                  </a:lnTo>
                  <a:lnTo>
                    <a:pt x="5884" y="1027"/>
                  </a:lnTo>
                  <a:cubicBezTo>
                    <a:pt x="5884" y="1027"/>
                    <a:pt x="5242" y="203"/>
                    <a:pt x="5152" y="88"/>
                  </a:cubicBezTo>
                  <a:cubicBezTo>
                    <a:pt x="5110" y="35"/>
                    <a:pt x="5079" y="0"/>
                    <a:pt x="5023" y="0"/>
                  </a:cubicBezTo>
                  <a:close/>
                  <a:moveTo>
                    <a:pt x="882" y="682"/>
                  </a:moveTo>
                  <a:cubicBezTo>
                    <a:pt x="924" y="702"/>
                    <a:pt x="1099" y="777"/>
                    <a:pt x="1099" y="1037"/>
                  </a:cubicBezTo>
                  <a:cubicBezTo>
                    <a:pt x="1099" y="1283"/>
                    <a:pt x="915" y="1475"/>
                    <a:pt x="652" y="1475"/>
                  </a:cubicBezTo>
                  <a:lnTo>
                    <a:pt x="0" y="1475"/>
                  </a:lnTo>
                  <a:lnTo>
                    <a:pt x="0" y="122"/>
                  </a:lnTo>
                  <a:cubicBezTo>
                    <a:pt x="0" y="53"/>
                    <a:pt x="47" y="7"/>
                    <a:pt x="115" y="7"/>
                  </a:cubicBezTo>
                  <a:lnTo>
                    <a:pt x="622" y="7"/>
                  </a:lnTo>
                  <a:cubicBezTo>
                    <a:pt x="868" y="7"/>
                    <a:pt x="1030" y="155"/>
                    <a:pt x="1030" y="380"/>
                  </a:cubicBezTo>
                  <a:cubicBezTo>
                    <a:pt x="1030" y="572"/>
                    <a:pt x="922" y="657"/>
                    <a:pt x="882" y="682"/>
                  </a:cubicBezTo>
                  <a:moveTo>
                    <a:pt x="237" y="595"/>
                  </a:moveTo>
                  <a:lnTo>
                    <a:pt x="592" y="595"/>
                  </a:lnTo>
                  <a:cubicBezTo>
                    <a:pt x="718" y="595"/>
                    <a:pt x="790" y="515"/>
                    <a:pt x="790" y="417"/>
                  </a:cubicBezTo>
                  <a:cubicBezTo>
                    <a:pt x="790" y="318"/>
                    <a:pt x="725" y="238"/>
                    <a:pt x="592" y="238"/>
                  </a:cubicBezTo>
                  <a:lnTo>
                    <a:pt x="237" y="238"/>
                  </a:lnTo>
                  <a:lnTo>
                    <a:pt x="237" y="595"/>
                  </a:lnTo>
                  <a:close/>
                  <a:moveTo>
                    <a:pt x="607" y="1250"/>
                  </a:moveTo>
                  <a:cubicBezTo>
                    <a:pt x="774" y="1250"/>
                    <a:pt x="859" y="1152"/>
                    <a:pt x="859" y="1032"/>
                  </a:cubicBezTo>
                  <a:cubicBezTo>
                    <a:pt x="859" y="910"/>
                    <a:pt x="777" y="812"/>
                    <a:pt x="607" y="812"/>
                  </a:cubicBezTo>
                  <a:lnTo>
                    <a:pt x="237" y="812"/>
                  </a:lnTo>
                  <a:lnTo>
                    <a:pt x="237" y="1250"/>
                  </a:lnTo>
                  <a:lnTo>
                    <a:pt x="607" y="1250"/>
                  </a:lnTo>
                  <a:close/>
                  <a:moveTo>
                    <a:pt x="7367" y="240"/>
                  </a:moveTo>
                  <a:cubicBezTo>
                    <a:pt x="7445" y="240"/>
                    <a:pt x="7492" y="190"/>
                    <a:pt x="7492" y="125"/>
                  </a:cubicBezTo>
                  <a:cubicBezTo>
                    <a:pt x="7492" y="60"/>
                    <a:pt x="7443" y="10"/>
                    <a:pt x="7367" y="10"/>
                  </a:cubicBezTo>
                  <a:lnTo>
                    <a:pt x="6642" y="10"/>
                  </a:lnTo>
                  <a:cubicBezTo>
                    <a:pt x="6575" y="10"/>
                    <a:pt x="6527" y="58"/>
                    <a:pt x="6527" y="125"/>
                  </a:cubicBezTo>
                  <a:lnTo>
                    <a:pt x="6527" y="1365"/>
                  </a:lnTo>
                  <a:cubicBezTo>
                    <a:pt x="6527" y="1430"/>
                    <a:pt x="6575" y="1478"/>
                    <a:pt x="6642" y="1478"/>
                  </a:cubicBezTo>
                  <a:lnTo>
                    <a:pt x="7484" y="1478"/>
                  </a:lnTo>
                  <a:lnTo>
                    <a:pt x="7484" y="1248"/>
                  </a:lnTo>
                  <a:lnTo>
                    <a:pt x="6764" y="1248"/>
                  </a:lnTo>
                  <a:lnTo>
                    <a:pt x="6764" y="822"/>
                  </a:lnTo>
                  <a:lnTo>
                    <a:pt x="7307" y="822"/>
                  </a:lnTo>
                  <a:cubicBezTo>
                    <a:pt x="7389" y="822"/>
                    <a:pt x="7435" y="773"/>
                    <a:pt x="7435" y="707"/>
                  </a:cubicBezTo>
                  <a:cubicBezTo>
                    <a:pt x="7435" y="640"/>
                    <a:pt x="7390" y="592"/>
                    <a:pt x="7307" y="592"/>
                  </a:cubicBezTo>
                  <a:lnTo>
                    <a:pt x="6764" y="592"/>
                  </a:lnTo>
                  <a:lnTo>
                    <a:pt x="6764" y="240"/>
                  </a:lnTo>
                  <a:lnTo>
                    <a:pt x="7367" y="240"/>
                  </a:lnTo>
                  <a:close/>
                  <a:moveTo>
                    <a:pt x="1635" y="893"/>
                  </a:moveTo>
                  <a:lnTo>
                    <a:pt x="1635" y="115"/>
                  </a:lnTo>
                  <a:cubicBezTo>
                    <a:pt x="1635" y="52"/>
                    <a:pt x="1589" y="0"/>
                    <a:pt x="1517" y="0"/>
                  </a:cubicBezTo>
                  <a:cubicBezTo>
                    <a:pt x="1443" y="0"/>
                    <a:pt x="1399" y="52"/>
                    <a:pt x="1399" y="115"/>
                  </a:cubicBezTo>
                  <a:lnTo>
                    <a:pt x="1399" y="885"/>
                  </a:lnTo>
                  <a:cubicBezTo>
                    <a:pt x="1399" y="1215"/>
                    <a:pt x="1630" y="1483"/>
                    <a:pt x="2002" y="1483"/>
                  </a:cubicBezTo>
                  <a:cubicBezTo>
                    <a:pt x="2372" y="1483"/>
                    <a:pt x="2605" y="1215"/>
                    <a:pt x="2605" y="885"/>
                  </a:cubicBezTo>
                  <a:lnTo>
                    <a:pt x="2605" y="7"/>
                  </a:lnTo>
                  <a:lnTo>
                    <a:pt x="2367" y="7"/>
                  </a:lnTo>
                  <a:lnTo>
                    <a:pt x="2367" y="892"/>
                  </a:lnTo>
                  <a:cubicBezTo>
                    <a:pt x="2367" y="1087"/>
                    <a:pt x="2237" y="1260"/>
                    <a:pt x="2002" y="1260"/>
                  </a:cubicBezTo>
                  <a:cubicBezTo>
                    <a:pt x="1765" y="1262"/>
                    <a:pt x="1635" y="1088"/>
                    <a:pt x="1635" y="893"/>
                  </a:cubicBezTo>
                  <a:close/>
                  <a:moveTo>
                    <a:pt x="4320" y="0"/>
                  </a:moveTo>
                  <a:cubicBezTo>
                    <a:pt x="4393" y="0"/>
                    <a:pt x="4439" y="52"/>
                    <a:pt x="4439" y="115"/>
                  </a:cubicBezTo>
                  <a:lnTo>
                    <a:pt x="4439" y="1477"/>
                  </a:lnTo>
                  <a:lnTo>
                    <a:pt x="4202" y="1477"/>
                  </a:lnTo>
                  <a:lnTo>
                    <a:pt x="4202" y="115"/>
                  </a:lnTo>
                  <a:cubicBezTo>
                    <a:pt x="4202" y="52"/>
                    <a:pt x="4247" y="0"/>
                    <a:pt x="432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754466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Content Slide - Full Width">
    <p:spTree>
      <p:nvGrpSpPr>
        <p:cNvPr id="1" name=""/>
        <p:cNvGrpSpPr/>
        <p:nvPr/>
      </p:nvGrpSpPr>
      <p:grpSpPr>
        <a:xfrm>
          <a:off x="0" y="0"/>
          <a:ext cx="0" cy="0"/>
          <a:chOff x="0" y="0"/>
          <a:chExt cx="0" cy="0"/>
        </a:xfrm>
      </p:grpSpPr>
      <p:sp>
        <p:nvSpPr>
          <p:cNvPr id="19" name="Text Placeholder 5">
            <a:extLst>
              <a:ext uri="{FF2B5EF4-FFF2-40B4-BE49-F238E27FC236}">
                <a16:creationId xmlns:a16="http://schemas.microsoft.com/office/drawing/2014/main" id="{3F686C8C-E081-5242-90B9-38796068D595}"/>
              </a:ext>
            </a:extLst>
          </p:cNvPr>
          <p:cNvSpPr>
            <a:spLocks noGrp="1"/>
          </p:cNvSpPr>
          <p:nvPr>
            <p:ph type="body" sz="quarter" idx="26"/>
          </p:nvPr>
        </p:nvSpPr>
        <p:spPr>
          <a:xfrm>
            <a:off x="463550" y="1097280"/>
            <a:ext cx="11271250" cy="4872162"/>
          </a:xfrm>
          <a:prstGeom prst="rect">
            <a:avLst/>
          </a:prstGeom>
        </p:spPr>
        <p:txBody>
          <a:bodyPr lIns="0" tIns="0" rIns="0" bIns="0"/>
          <a:lstStyle>
            <a:lvl1pPr marL="0" indent="0" algn="l">
              <a:buNone/>
              <a:defRPr sz="1800" b="0" i="0">
                <a:latin typeface="Montserrat Light" pitchFamily="2" charset="77"/>
                <a:cs typeface="Montserrat Light" pitchFamily="2" charset="77"/>
              </a:defRPr>
            </a:lvl1pPr>
            <a:lvl2pPr marL="174625" indent="-174625" algn="l">
              <a:spcBef>
                <a:spcPts val="1200"/>
              </a:spcBef>
              <a:buFont typeface="Arial" panose="020B0604020202020204" pitchFamily="34" charset="0"/>
              <a:buChar char="•"/>
              <a:tabLst/>
              <a:defRPr sz="1800" b="0" i="0">
                <a:latin typeface="Montserrat Light" pitchFamily="2" charset="77"/>
                <a:cs typeface="Montserrat Light" pitchFamily="2" charset="77"/>
              </a:defRPr>
            </a:lvl2pPr>
            <a:lvl3pPr marL="560070" indent="-285750" algn="l">
              <a:spcBef>
                <a:spcPts val="1200"/>
              </a:spcBef>
              <a:buFont typeface="Montserrat" panose="00000500000000000000" pitchFamily="2" charset="0"/>
              <a:buChar char="–"/>
              <a:defRPr sz="1800" b="0" i="0">
                <a:latin typeface="Montserrat Light" pitchFamily="2" charset="77"/>
                <a:cs typeface="Montserrat Light" pitchFamily="2" charset="77"/>
              </a:defRPr>
            </a:lvl3pPr>
            <a:lvl4pPr marL="834390" indent="-285750" algn="l">
              <a:spcBef>
                <a:spcPts val="1200"/>
              </a:spcBef>
              <a:buFont typeface="Courier New" panose="02070309020205020404" pitchFamily="49" charset="0"/>
              <a:buChar char="o"/>
              <a:defRPr sz="1600" b="0" i="0">
                <a:latin typeface="Montserrat Light" pitchFamily="2" charset="77"/>
                <a:cs typeface="Montserrat Light" pitchFamily="2" charset="77"/>
              </a:defRPr>
            </a:lvl4pPr>
            <a:lvl5pPr marL="1108710" indent="-285750" algn="l">
              <a:defRPr lang="en-US" sz="1400" b="0" i="0" u="none" strike="noStrike" cap="none" spc="0" baseline="0" dirty="0">
                <a:solidFill>
                  <a:srgbClr val="000000"/>
                </a:solidFill>
                <a:uFillTx/>
                <a:latin typeface="Montserrat Light" pitchFamily="2" charset="77"/>
                <a:ea typeface="Montserrat" panose="00000500000000000000" pitchFamily="2" charset="0"/>
                <a:cs typeface="Montserrat Light" pitchFamily="2" charset="77"/>
                <a:sym typeface="Montserrat"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a:extLst>
              <a:ext uri="{FF2B5EF4-FFF2-40B4-BE49-F238E27FC236}">
                <a16:creationId xmlns:a16="http://schemas.microsoft.com/office/drawing/2014/main" id="{F21AE09E-697C-FC45-9E96-2E45E76886AB}"/>
              </a:ext>
            </a:extLst>
          </p:cNvPr>
          <p:cNvSpPr>
            <a:spLocks noGrp="1"/>
          </p:cNvSpPr>
          <p:nvPr>
            <p:ph type="title"/>
          </p:nvPr>
        </p:nvSpPr>
        <p:spPr>
          <a:xfrm>
            <a:off x="463548" y="514928"/>
            <a:ext cx="11271251" cy="365760"/>
          </a:xfrm>
          <a:prstGeom prst="rect">
            <a:avLst/>
          </a:prstGeom>
        </p:spPr>
        <p:txBody>
          <a:bodyPr lIns="0" tIns="0" rIns="0" bIns="0" anchor="t"/>
          <a:lstStyle>
            <a:lvl1pPr marL="0" marR="0" indent="0" algn="l" defTabSz="412750" rtl="0" latinLnBrk="0">
              <a:lnSpc>
                <a:spcPct val="100000"/>
              </a:lnSpc>
              <a:spcBef>
                <a:spcPts val="0"/>
              </a:spcBef>
              <a:spcAft>
                <a:spcPts val="0"/>
              </a:spcAft>
              <a:buClrTx/>
              <a:buSzTx/>
              <a:buFontTx/>
              <a:buNone/>
              <a:tabLst/>
              <a:defRPr lang="en-US" sz="2200" b="1" i="0" u="none" strike="noStrike" cap="none" spc="0" baseline="0" dirty="0" smtClean="0">
                <a:solidFill>
                  <a:srgbClr val="000000"/>
                </a:solidFill>
                <a:uFillTx/>
                <a:latin typeface="Montserrat" panose="00000500000000000000" pitchFamily="2" charset="0"/>
                <a:ea typeface="Montserrat" panose="00000500000000000000" pitchFamily="2" charset="0"/>
                <a:cs typeface="Montserrat" panose="00000500000000000000" pitchFamily="2" charset="0"/>
                <a:sym typeface="Montserrat" panose="00000500000000000000" pitchFamily="2" charset="0"/>
              </a:defRPr>
            </a:lvl1pPr>
          </a:lstStyle>
          <a:p>
            <a:r>
              <a:rPr lang="en-US"/>
              <a:t>Click to edit Master title style</a:t>
            </a:r>
          </a:p>
        </p:txBody>
      </p:sp>
      <p:sp>
        <p:nvSpPr>
          <p:cNvPr id="10" name="Text Placeholder 2">
            <a:extLst>
              <a:ext uri="{FF2B5EF4-FFF2-40B4-BE49-F238E27FC236}">
                <a16:creationId xmlns:a16="http://schemas.microsoft.com/office/drawing/2014/main" id="{E4AEF971-9BCB-1E42-9E22-F8D1F1044C95}"/>
              </a:ext>
            </a:extLst>
          </p:cNvPr>
          <p:cNvSpPr>
            <a:spLocks noGrp="1"/>
          </p:cNvSpPr>
          <p:nvPr>
            <p:ph type="body" sz="quarter" idx="25" hasCustomPrompt="1"/>
          </p:nvPr>
        </p:nvSpPr>
        <p:spPr>
          <a:xfrm>
            <a:off x="463548" y="255612"/>
            <a:ext cx="11271251" cy="201168"/>
          </a:xfrm>
          <a:prstGeom prst="rect">
            <a:avLst/>
          </a:prstGeom>
        </p:spPr>
        <p:txBody>
          <a:bodyPr lIns="0" tIns="0" rIns="0" bIns="0" anchor="ctr"/>
          <a:lstStyle>
            <a:lvl1pPr marL="0" indent="0" algn="l">
              <a:buNone/>
              <a:defRPr lang="en-US" sz="1000" b="0" i="0" cap="all" spc="200" baseline="0" dirty="0">
                <a:solidFill>
                  <a:schemeClr val="accent1"/>
                </a:solidFill>
                <a:latin typeface="Montserrat" panose="00000500000000000000" pitchFamily="2" charset="0"/>
                <a:ea typeface="Montserrat" panose="00000500000000000000" pitchFamily="2" charset="0"/>
                <a:cs typeface="Montserrat" panose="00000500000000000000" pitchFamily="2" charset="0"/>
              </a:defRPr>
            </a:lvl1pPr>
          </a:lstStyle>
          <a:p>
            <a:pPr lvl="0" algn="l"/>
            <a:r>
              <a:rPr lang="en-US"/>
              <a:t>OPTIONAL BREADCRUMB HERE</a:t>
            </a:r>
          </a:p>
        </p:txBody>
      </p:sp>
      <p:sp>
        <p:nvSpPr>
          <p:cNvPr id="8" name="Slide Number Placeholder 5">
            <a:extLst>
              <a:ext uri="{FF2B5EF4-FFF2-40B4-BE49-F238E27FC236}">
                <a16:creationId xmlns:a16="http://schemas.microsoft.com/office/drawing/2014/main" id="{3DB84E04-7731-345F-77EA-3F29E135A0BC}"/>
              </a:ext>
            </a:extLst>
          </p:cNvPr>
          <p:cNvSpPr txBox="1">
            <a:spLocks/>
          </p:cNvSpPr>
          <p:nvPr userDrawn="1"/>
        </p:nvSpPr>
        <p:spPr>
          <a:xfrm>
            <a:off x="11341100" y="6424613"/>
            <a:ext cx="393700" cy="200025"/>
          </a:xfrm>
          <a:prstGeom prst="rect">
            <a:avLst/>
          </a:prstGeom>
        </p:spPr>
        <p:txBody>
          <a:bodyPr vert="horz" lIns="0" tIns="0" rIns="0" bIns="0" rtlCol="0" anchor="ctr">
            <a:noAutofit/>
          </a:bodyPr>
          <a:lstStyle>
            <a:defPPr>
              <a:defRPr lang="en-US"/>
            </a:defPPr>
            <a:lvl1pPr algn="r" rtl="0" eaLnBrk="1" fontAlgn="auto" hangingPunct="1">
              <a:spcBef>
                <a:spcPts val="0"/>
              </a:spcBef>
              <a:spcAft>
                <a:spcPts val="0"/>
              </a:spcAft>
              <a:defRPr sz="800" kern="1200">
                <a:solidFill>
                  <a:schemeClr val="tx2"/>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fld id="{5F05AE8C-CF5F-4A4E-B69B-C9D8FA4EC18A}" type="slidenum">
              <a:rPr lang="en-US" smtClean="0">
                <a:solidFill>
                  <a:srgbClr val="112F64"/>
                </a:solidFill>
                <a:latin typeface="Montserrat" panose="00000500000000000000" pitchFamily="2" charset="0"/>
              </a:rPr>
              <a:pPr>
                <a:defRPr/>
              </a:pPr>
              <a:t>‹#›</a:t>
            </a:fld>
            <a:endParaRPr lang="en-US">
              <a:solidFill>
                <a:srgbClr val="112F64"/>
              </a:solidFill>
              <a:latin typeface="Montserrat" panose="00000500000000000000" pitchFamily="2" charset="0"/>
            </a:endParaRPr>
          </a:p>
        </p:txBody>
      </p:sp>
      <p:sp>
        <p:nvSpPr>
          <p:cNvPr id="11" name="Footer Placeholder 4">
            <a:extLst>
              <a:ext uri="{FF2B5EF4-FFF2-40B4-BE49-F238E27FC236}">
                <a16:creationId xmlns:a16="http://schemas.microsoft.com/office/drawing/2014/main" id="{75064991-9187-8694-627F-2FECE8244915}"/>
              </a:ext>
            </a:extLst>
          </p:cNvPr>
          <p:cNvSpPr txBox="1">
            <a:spLocks/>
          </p:cNvSpPr>
          <p:nvPr userDrawn="1"/>
        </p:nvSpPr>
        <p:spPr>
          <a:xfrm>
            <a:off x="463550" y="6427788"/>
            <a:ext cx="4114800" cy="198437"/>
          </a:xfrm>
          <a:prstGeom prst="rect">
            <a:avLst/>
          </a:prstGeom>
        </p:spPr>
        <p:txBody>
          <a:bodyPr vert="horz" lIns="0" tIns="0" rIns="0" bIns="0" rtlCol="0" anchor="ctr">
            <a:noAutofit/>
          </a:bodyPr>
          <a:lstStyle>
            <a:defPPr>
              <a:defRPr lang="en-US"/>
            </a:defPPr>
            <a:lvl1pPr algn="l" rtl="0" eaLnBrk="1" fontAlgn="auto" hangingPunct="1">
              <a:spcBef>
                <a:spcPts val="0"/>
              </a:spcBef>
              <a:spcAft>
                <a:spcPts val="0"/>
              </a:spcAft>
              <a:defRPr sz="800" kern="1200">
                <a:solidFill>
                  <a:schemeClr val="tx1"/>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r>
              <a:rPr lang="en-US">
                <a:solidFill>
                  <a:srgbClr val="000000"/>
                </a:solidFill>
                <a:latin typeface="Montserrat" panose="00000500000000000000" pitchFamily="2" charset="0"/>
              </a:rPr>
              <a:t>© 2024 Comcast. All rights reserved.</a:t>
            </a:r>
          </a:p>
        </p:txBody>
      </p:sp>
    </p:spTree>
    <p:extLst>
      <p:ext uri="{BB962C8B-B14F-4D97-AF65-F5344CB8AC3E}">
        <p14:creationId xmlns:p14="http://schemas.microsoft.com/office/powerpoint/2010/main" val="2607191033"/>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432">
          <p15:clr>
            <a:srgbClr val="FBAE40"/>
          </p15:clr>
        </p15:guide>
        <p15:guide id="3" pos="7248">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Open / Close 4 (light image, no tex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53CE0BEE-3AF9-4A1F-BA76-1CBDB6A0730E}"/>
              </a:ext>
            </a:extLst>
          </p:cNvPr>
          <p:cNvSpPr>
            <a:spLocks noGrp="1"/>
          </p:cNvSpPr>
          <p:nvPr>
            <p:ph type="pic" sz="quarter" idx="11" hasCustomPrompt="1"/>
          </p:nvPr>
        </p:nvSpPr>
        <p:spPr>
          <a:xfrm>
            <a:off x="-9144" y="-4713"/>
            <a:ext cx="12207240" cy="6876288"/>
          </a:xfrm>
          <a:solidFill>
            <a:schemeClr val="bg2">
              <a:lumMod val="95000"/>
            </a:schemeClr>
          </a:solidFill>
        </p:spPr>
        <p:txBody>
          <a:bodyPr lIns="1920240" tIns="731520" rIns="1920240"/>
          <a:lstStyle>
            <a:lvl1pPr marL="0" indent="0">
              <a:lnSpc>
                <a:spcPct val="100000"/>
              </a:lnSpc>
              <a:spcBef>
                <a:spcPts val="0"/>
              </a:spcBef>
              <a:buNone/>
              <a:defRPr sz="1800"/>
            </a:lvl1pPr>
          </a:lstStyle>
          <a:p>
            <a:r>
              <a:rPr lang="en-GB"/>
              <a:t>Drag picture to placeholder or click icon to add, then send to back. If logo not showing on slide, copy from slide master and paste on slide layout ensuring position matches the slide master (it should by default).</a:t>
            </a:r>
          </a:p>
        </p:txBody>
      </p:sp>
      <p:grpSp>
        <p:nvGrpSpPr>
          <p:cNvPr id="7" name="Group 4">
            <a:extLst>
              <a:ext uri="{FF2B5EF4-FFF2-40B4-BE49-F238E27FC236}">
                <a16:creationId xmlns:a16="http://schemas.microsoft.com/office/drawing/2014/main" id="{A5834913-29B4-434C-9EA3-011295D666ED}"/>
              </a:ext>
            </a:extLst>
          </p:cNvPr>
          <p:cNvGrpSpPr>
            <a:grpSpLocks noChangeAspect="1"/>
          </p:cNvGrpSpPr>
          <p:nvPr userDrawn="1"/>
        </p:nvGrpSpPr>
        <p:grpSpPr bwMode="auto">
          <a:xfrm>
            <a:off x="5305042" y="5518737"/>
            <a:ext cx="1581912" cy="804798"/>
            <a:chOff x="1436" y="934"/>
            <a:chExt cx="4800" cy="2442"/>
          </a:xfrm>
        </p:grpSpPr>
        <p:sp>
          <p:nvSpPr>
            <p:cNvPr id="8" name="Freeform 5">
              <a:extLst>
                <a:ext uri="{FF2B5EF4-FFF2-40B4-BE49-F238E27FC236}">
                  <a16:creationId xmlns:a16="http://schemas.microsoft.com/office/drawing/2014/main" id="{EE859BC5-1244-4873-AC90-2CDB41CFAD1D}"/>
                </a:ext>
              </a:extLst>
            </p:cNvPr>
            <p:cNvSpPr>
              <a:spLocks noEditPoints="1"/>
            </p:cNvSpPr>
            <p:nvPr userDrawn="1"/>
          </p:nvSpPr>
          <p:spPr bwMode="auto">
            <a:xfrm>
              <a:off x="1436" y="934"/>
              <a:ext cx="4794" cy="2442"/>
            </a:xfrm>
            <a:custGeom>
              <a:avLst/>
              <a:gdLst>
                <a:gd name="T0" fmla="*/ 9572 w 9986"/>
                <a:gd name="T1" fmla="*/ 153 h 5085"/>
                <a:gd name="T2" fmla="*/ 6835 w 9986"/>
                <a:gd name="T3" fmla="*/ 925 h 5085"/>
                <a:gd name="T4" fmla="*/ 6895 w 9986"/>
                <a:gd name="T5" fmla="*/ 780 h 5085"/>
                <a:gd name="T6" fmla="*/ 3251 w 9986"/>
                <a:gd name="T7" fmla="*/ 1478 h 5085"/>
                <a:gd name="T8" fmla="*/ 4555 w 9986"/>
                <a:gd name="T9" fmla="*/ 55 h 5085"/>
                <a:gd name="T10" fmla="*/ 5001 w 9986"/>
                <a:gd name="T11" fmla="*/ 740 h 5085"/>
                <a:gd name="T12" fmla="*/ 1260 w 9986"/>
                <a:gd name="T13" fmla="*/ 320 h 5085"/>
                <a:gd name="T14" fmla="*/ 738 w 9986"/>
                <a:gd name="T15" fmla="*/ 1331 h 5085"/>
                <a:gd name="T16" fmla="*/ 8772 w 9986"/>
                <a:gd name="T17" fmla="*/ 158 h 5085"/>
                <a:gd name="T18" fmla="*/ 8053 w 9986"/>
                <a:gd name="T19" fmla="*/ 1163 h 5085"/>
                <a:gd name="T20" fmla="*/ 2988 w 9986"/>
                <a:gd name="T21" fmla="*/ 740 h 5085"/>
                <a:gd name="T22" fmla="*/ 9814 w 9986"/>
                <a:gd name="T23" fmla="*/ 4415 h 5085"/>
                <a:gd name="T24" fmla="*/ 9918 w 9986"/>
                <a:gd name="T25" fmla="*/ 4246 h 5085"/>
                <a:gd name="T26" fmla="*/ 9562 w 9986"/>
                <a:gd name="T27" fmla="*/ 4273 h 5085"/>
                <a:gd name="T28" fmla="*/ 9408 w 9986"/>
                <a:gd name="T29" fmla="*/ 4780 h 5085"/>
                <a:gd name="T30" fmla="*/ 9380 w 9986"/>
                <a:gd name="T31" fmla="*/ 4447 h 5085"/>
                <a:gd name="T32" fmla="*/ 9389 w 9986"/>
                <a:gd name="T33" fmla="*/ 4671 h 5085"/>
                <a:gd name="T34" fmla="*/ 8917 w 9986"/>
                <a:gd name="T35" fmla="*/ 4533 h 5085"/>
                <a:gd name="T36" fmla="*/ 9001 w 9986"/>
                <a:gd name="T37" fmla="*/ 4836 h 5085"/>
                <a:gd name="T38" fmla="*/ 8919 w 9986"/>
                <a:gd name="T39" fmla="*/ 4466 h 5085"/>
                <a:gd name="T40" fmla="*/ 8387 w 9986"/>
                <a:gd name="T41" fmla="*/ 4323 h 5085"/>
                <a:gd name="T42" fmla="*/ 8282 w 9986"/>
                <a:gd name="T43" fmla="*/ 4879 h 5085"/>
                <a:gd name="T44" fmla="*/ 8045 w 9986"/>
                <a:gd name="T45" fmla="*/ 4336 h 5085"/>
                <a:gd name="T46" fmla="*/ 8228 w 9986"/>
                <a:gd name="T47" fmla="*/ 4852 h 5085"/>
                <a:gd name="T48" fmla="*/ 7788 w 9986"/>
                <a:gd name="T49" fmla="*/ 4291 h 5085"/>
                <a:gd name="T50" fmla="*/ 7635 w 9986"/>
                <a:gd name="T51" fmla="*/ 4246 h 5085"/>
                <a:gd name="T52" fmla="*/ 7339 w 9986"/>
                <a:gd name="T53" fmla="*/ 4323 h 5085"/>
                <a:gd name="T54" fmla="*/ 7070 w 9986"/>
                <a:gd name="T55" fmla="*/ 4833 h 5085"/>
                <a:gd name="T56" fmla="*/ 6828 w 9986"/>
                <a:gd name="T57" fmla="*/ 4769 h 5085"/>
                <a:gd name="T58" fmla="*/ 6985 w 9986"/>
                <a:gd name="T59" fmla="*/ 4912 h 5085"/>
                <a:gd name="T60" fmla="*/ 6985 w 9986"/>
                <a:gd name="T61" fmla="*/ 4435 h 5085"/>
                <a:gd name="T62" fmla="*/ 6510 w 9986"/>
                <a:gd name="T63" fmla="*/ 4260 h 5085"/>
                <a:gd name="T64" fmla="*/ 6046 w 9986"/>
                <a:gd name="T65" fmla="*/ 4804 h 5085"/>
                <a:gd name="T66" fmla="*/ 6059 w 9986"/>
                <a:gd name="T67" fmla="*/ 4643 h 5085"/>
                <a:gd name="T68" fmla="*/ 6098 w 9986"/>
                <a:gd name="T69" fmla="*/ 4567 h 5085"/>
                <a:gd name="T70" fmla="*/ 6099 w 9986"/>
                <a:gd name="T71" fmla="*/ 4896 h 5085"/>
                <a:gd name="T72" fmla="*/ 5833 w 9986"/>
                <a:gd name="T73" fmla="*/ 4717 h 5085"/>
                <a:gd name="T74" fmla="*/ 5913 w 9986"/>
                <a:gd name="T75" fmla="*/ 4530 h 5085"/>
                <a:gd name="T76" fmla="*/ 5956 w 9986"/>
                <a:gd name="T77" fmla="*/ 4779 h 5085"/>
                <a:gd name="T78" fmla="*/ 5277 w 9986"/>
                <a:gd name="T79" fmla="*/ 4491 h 5085"/>
                <a:gd name="T80" fmla="*/ 5069 w 9986"/>
                <a:gd name="T81" fmla="*/ 4796 h 5085"/>
                <a:gd name="T82" fmla="*/ 5399 w 9986"/>
                <a:gd name="T83" fmla="*/ 4882 h 5085"/>
                <a:gd name="T84" fmla="*/ 4727 w 9986"/>
                <a:gd name="T85" fmla="*/ 4653 h 5085"/>
                <a:gd name="T86" fmla="*/ 4495 w 9986"/>
                <a:gd name="T87" fmla="*/ 4284 h 5085"/>
                <a:gd name="T88" fmla="*/ 3755 w 9986"/>
                <a:gd name="T89" fmla="*/ 4512 h 5085"/>
                <a:gd name="T90" fmla="*/ 4028 w 9986"/>
                <a:gd name="T91" fmla="*/ 5028 h 5085"/>
                <a:gd name="T92" fmla="*/ 4023 w 9986"/>
                <a:gd name="T93" fmla="*/ 4799 h 5085"/>
                <a:gd name="T94" fmla="*/ 3948 w 9986"/>
                <a:gd name="T95" fmla="*/ 4459 h 5085"/>
                <a:gd name="T96" fmla="*/ 3405 w 9986"/>
                <a:gd name="T97" fmla="*/ 4531 h 5085"/>
                <a:gd name="T98" fmla="*/ 3205 w 9986"/>
                <a:gd name="T99" fmla="*/ 4459 h 5085"/>
                <a:gd name="T100" fmla="*/ 2844 w 9986"/>
                <a:gd name="T101" fmla="*/ 4291 h 5085"/>
                <a:gd name="T102" fmla="*/ 2753 w 9986"/>
                <a:gd name="T103" fmla="*/ 4435 h 5085"/>
                <a:gd name="T104" fmla="*/ 2577 w 9986"/>
                <a:gd name="T105" fmla="*/ 4531 h 5085"/>
                <a:gd name="T106" fmla="*/ 2001 w 9986"/>
                <a:gd name="T107" fmla="*/ 4693 h 5085"/>
                <a:gd name="T108" fmla="*/ 1969 w 9986"/>
                <a:gd name="T109" fmla="*/ 4796 h 5085"/>
                <a:gd name="T110" fmla="*/ 1912 w 9986"/>
                <a:gd name="T111" fmla="*/ 4439 h 5085"/>
                <a:gd name="T112" fmla="*/ 1500 w 9986"/>
                <a:gd name="T113" fmla="*/ 4439 h 5085"/>
                <a:gd name="T114" fmla="*/ 965 w 9986"/>
                <a:gd name="T115" fmla="*/ 4513 h 5085"/>
                <a:gd name="T116" fmla="*/ 753 w 9986"/>
                <a:gd name="T117" fmla="*/ 4882 h 5085"/>
                <a:gd name="T118" fmla="*/ 1083 w 9986"/>
                <a:gd name="T119" fmla="*/ 4796 h 5085"/>
                <a:gd name="T120" fmla="*/ 159 w 9986"/>
                <a:gd name="T121" fmla="*/ 4653 h 5085"/>
                <a:gd name="T122" fmla="*/ 93 w 9986"/>
                <a:gd name="T123" fmla="*/ 4908 h 5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986" h="5085">
                  <a:moveTo>
                    <a:pt x="9986" y="81"/>
                  </a:moveTo>
                  <a:cubicBezTo>
                    <a:pt x="9986" y="41"/>
                    <a:pt x="9953" y="8"/>
                    <a:pt x="9913" y="8"/>
                  </a:cubicBezTo>
                  <a:lnTo>
                    <a:pt x="9093" y="8"/>
                  </a:lnTo>
                  <a:cubicBezTo>
                    <a:pt x="9053" y="8"/>
                    <a:pt x="9020" y="40"/>
                    <a:pt x="9020" y="81"/>
                  </a:cubicBezTo>
                  <a:cubicBezTo>
                    <a:pt x="9020" y="121"/>
                    <a:pt x="9051" y="153"/>
                    <a:pt x="9093" y="153"/>
                  </a:cubicBezTo>
                  <a:lnTo>
                    <a:pt x="9438" y="153"/>
                  </a:lnTo>
                  <a:lnTo>
                    <a:pt x="9438" y="1468"/>
                  </a:lnTo>
                  <a:lnTo>
                    <a:pt x="9572" y="1468"/>
                  </a:lnTo>
                  <a:lnTo>
                    <a:pt x="9572" y="153"/>
                  </a:lnTo>
                  <a:lnTo>
                    <a:pt x="9915" y="153"/>
                  </a:lnTo>
                  <a:cubicBezTo>
                    <a:pt x="9955" y="155"/>
                    <a:pt x="9986" y="121"/>
                    <a:pt x="9986" y="81"/>
                  </a:cubicBezTo>
                  <a:close/>
                  <a:moveTo>
                    <a:pt x="7113" y="1"/>
                  </a:moveTo>
                  <a:cubicBezTo>
                    <a:pt x="7085" y="1"/>
                    <a:pt x="7065" y="20"/>
                    <a:pt x="7051" y="43"/>
                  </a:cubicBezTo>
                  <a:cubicBezTo>
                    <a:pt x="7040" y="66"/>
                    <a:pt x="6505" y="1386"/>
                    <a:pt x="6505" y="1386"/>
                  </a:cubicBezTo>
                  <a:cubicBezTo>
                    <a:pt x="6501" y="1395"/>
                    <a:pt x="6500" y="1403"/>
                    <a:pt x="6500" y="1411"/>
                  </a:cubicBezTo>
                  <a:cubicBezTo>
                    <a:pt x="6500" y="1448"/>
                    <a:pt x="6528" y="1476"/>
                    <a:pt x="6565" y="1476"/>
                  </a:cubicBezTo>
                  <a:cubicBezTo>
                    <a:pt x="6593" y="1476"/>
                    <a:pt x="6617" y="1460"/>
                    <a:pt x="6626" y="1435"/>
                  </a:cubicBezTo>
                  <a:lnTo>
                    <a:pt x="6835" y="925"/>
                  </a:lnTo>
                  <a:lnTo>
                    <a:pt x="7393" y="925"/>
                  </a:lnTo>
                  <a:lnTo>
                    <a:pt x="7615" y="1468"/>
                  </a:lnTo>
                  <a:lnTo>
                    <a:pt x="7756" y="1468"/>
                  </a:lnTo>
                  <a:cubicBezTo>
                    <a:pt x="7756" y="1468"/>
                    <a:pt x="7188" y="65"/>
                    <a:pt x="7176" y="41"/>
                  </a:cubicBezTo>
                  <a:cubicBezTo>
                    <a:pt x="7163" y="20"/>
                    <a:pt x="7142" y="1"/>
                    <a:pt x="7113" y="1"/>
                  </a:cubicBezTo>
                  <a:moveTo>
                    <a:pt x="6895" y="780"/>
                  </a:moveTo>
                  <a:lnTo>
                    <a:pt x="7115" y="240"/>
                  </a:lnTo>
                  <a:lnTo>
                    <a:pt x="7335" y="780"/>
                  </a:lnTo>
                  <a:lnTo>
                    <a:pt x="6895" y="780"/>
                  </a:lnTo>
                  <a:close/>
                  <a:moveTo>
                    <a:pt x="4490" y="1"/>
                  </a:moveTo>
                  <a:cubicBezTo>
                    <a:pt x="4463" y="1"/>
                    <a:pt x="4441" y="20"/>
                    <a:pt x="4430" y="41"/>
                  </a:cubicBezTo>
                  <a:cubicBezTo>
                    <a:pt x="4418" y="65"/>
                    <a:pt x="3995" y="1108"/>
                    <a:pt x="3995" y="1108"/>
                  </a:cubicBezTo>
                  <a:cubicBezTo>
                    <a:pt x="3995" y="1108"/>
                    <a:pt x="3572" y="63"/>
                    <a:pt x="3560" y="41"/>
                  </a:cubicBezTo>
                  <a:cubicBezTo>
                    <a:pt x="3548" y="18"/>
                    <a:pt x="3526" y="1"/>
                    <a:pt x="3500" y="1"/>
                  </a:cubicBezTo>
                  <a:cubicBezTo>
                    <a:pt x="3468" y="1"/>
                    <a:pt x="3443" y="25"/>
                    <a:pt x="3435" y="55"/>
                  </a:cubicBezTo>
                  <a:cubicBezTo>
                    <a:pt x="3426" y="85"/>
                    <a:pt x="3188" y="1400"/>
                    <a:pt x="3188" y="1400"/>
                  </a:cubicBezTo>
                  <a:cubicBezTo>
                    <a:pt x="3188" y="1405"/>
                    <a:pt x="3186" y="1408"/>
                    <a:pt x="3186" y="1413"/>
                  </a:cubicBezTo>
                  <a:cubicBezTo>
                    <a:pt x="3186" y="1450"/>
                    <a:pt x="3216" y="1478"/>
                    <a:pt x="3251" y="1478"/>
                  </a:cubicBezTo>
                  <a:cubicBezTo>
                    <a:pt x="3283" y="1478"/>
                    <a:pt x="3310" y="1455"/>
                    <a:pt x="3316" y="1425"/>
                  </a:cubicBezTo>
                  <a:lnTo>
                    <a:pt x="3523" y="300"/>
                  </a:lnTo>
                  <a:cubicBezTo>
                    <a:pt x="3523" y="300"/>
                    <a:pt x="3921" y="1283"/>
                    <a:pt x="3933" y="1306"/>
                  </a:cubicBezTo>
                  <a:cubicBezTo>
                    <a:pt x="3945" y="1330"/>
                    <a:pt x="3966" y="1348"/>
                    <a:pt x="3995" y="1348"/>
                  </a:cubicBezTo>
                  <a:cubicBezTo>
                    <a:pt x="4022" y="1348"/>
                    <a:pt x="4045" y="1330"/>
                    <a:pt x="4056" y="1306"/>
                  </a:cubicBezTo>
                  <a:cubicBezTo>
                    <a:pt x="4068" y="1283"/>
                    <a:pt x="4466" y="300"/>
                    <a:pt x="4466" y="300"/>
                  </a:cubicBezTo>
                  <a:lnTo>
                    <a:pt x="4681" y="1470"/>
                  </a:lnTo>
                  <a:lnTo>
                    <a:pt x="4815" y="1470"/>
                  </a:lnTo>
                  <a:cubicBezTo>
                    <a:pt x="4815" y="1470"/>
                    <a:pt x="4563" y="85"/>
                    <a:pt x="4555" y="55"/>
                  </a:cubicBezTo>
                  <a:cubicBezTo>
                    <a:pt x="4545" y="25"/>
                    <a:pt x="4522" y="1"/>
                    <a:pt x="4490" y="1"/>
                  </a:cubicBezTo>
                  <a:moveTo>
                    <a:pt x="5740" y="146"/>
                  </a:moveTo>
                  <a:cubicBezTo>
                    <a:pt x="5898" y="146"/>
                    <a:pt x="6047" y="208"/>
                    <a:pt x="6158" y="320"/>
                  </a:cubicBezTo>
                  <a:cubicBezTo>
                    <a:pt x="6185" y="346"/>
                    <a:pt x="6235" y="346"/>
                    <a:pt x="6261" y="320"/>
                  </a:cubicBezTo>
                  <a:cubicBezTo>
                    <a:pt x="6275" y="306"/>
                    <a:pt x="6283" y="288"/>
                    <a:pt x="6283" y="268"/>
                  </a:cubicBezTo>
                  <a:cubicBezTo>
                    <a:pt x="6283" y="248"/>
                    <a:pt x="6275" y="230"/>
                    <a:pt x="6261" y="216"/>
                  </a:cubicBezTo>
                  <a:lnTo>
                    <a:pt x="6253" y="208"/>
                  </a:lnTo>
                  <a:cubicBezTo>
                    <a:pt x="6115" y="75"/>
                    <a:pt x="5933" y="1"/>
                    <a:pt x="5740" y="1"/>
                  </a:cubicBezTo>
                  <a:cubicBezTo>
                    <a:pt x="5333" y="1"/>
                    <a:pt x="5001" y="333"/>
                    <a:pt x="5001" y="740"/>
                  </a:cubicBezTo>
                  <a:cubicBezTo>
                    <a:pt x="5001" y="1146"/>
                    <a:pt x="5333" y="1478"/>
                    <a:pt x="5740" y="1478"/>
                  </a:cubicBezTo>
                  <a:cubicBezTo>
                    <a:pt x="5955" y="1478"/>
                    <a:pt x="6148" y="1386"/>
                    <a:pt x="6283" y="1238"/>
                  </a:cubicBezTo>
                  <a:lnTo>
                    <a:pt x="6180" y="1135"/>
                  </a:lnTo>
                  <a:cubicBezTo>
                    <a:pt x="6072" y="1255"/>
                    <a:pt x="5915" y="1331"/>
                    <a:pt x="5740" y="1331"/>
                  </a:cubicBezTo>
                  <a:cubicBezTo>
                    <a:pt x="5413" y="1331"/>
                    <a:pt x="5147" y="1065"/>
                    <a:pt x="5147" y="738"/>
                  </a:cubicBezTo>
                  <a:cubicBezTo>
                    <a:pt x="5147" y="413"/>
                    <a:pt x="5413" y="146"/>
                    <a:pt x="5740" y="146"/>
                  </a:cubicBezTo>
                  <a:moveTo>
                    <a:pt x="736" y="146"/>
                  </a:moveTo>
                  <a:cubicBezTo>
                    <a:pt x="895" y="146"/>
                    <a:pt x="1043" y="208"/>
                    <a:pt x="1156" y="320"/>
                  </a:cubicBezTo>
                  <a:cubicBezTo>
                    <a:pt x="1183" y="346"/>
                    <a:pt x="1233" y="346"/>
                    <a:pt x="1260" y="320"/>
                  </a:cubicBezTo>
                  <a:cubicBezTo>
                    <a:pt x="1273" y="306"/>
                    <a:pt x="1281" y="288"/>
                    <a:pt x="1281" y="268"/>
                  </a:cubicBezTo>
                  <a:cubicBezTo>
                    <a:pt x="1281" y="248"/>
                    <a:pt x="1275" y="230"/>
                    <a:pt x="1260" y="216"/>
                  </a:cubicBezTo>
                  <a:lnTo>
                    <a:pt x="1251" y="208"/>
                  </a:lnTo>
                  <a:cubicBezTo>
                    <a:pt x="1113" y="75"/>
                    <a:pt x="931" y="1"/>
                    <a:pt x="738" y="1"/>
                  </a:cubicBezTo>
                  <a:cubicBezTo>
                    <a:pt x="331" y="1"/>
                    <a:pt x="0" y="333"/>
                    <a:pt x="0" y="740"/>
                  </a:cubicBezTo>
                  <a:cubicBezTo>
                    <a:pt x="0" y="1146"/>
                    <a:pt x="331" y="1478"/>
                    <a:pt x="738" y="1478"/>
                  </a:cubicBezTo>
                  <a:cubicBezTo>
                    <a:pt x="953" y="1478"/>
                    <a:pt x="1147" y="1386"/>
                    <a:pt x="1281" y="1238"/>
                  </a:cubicBezTo>
                  <a:lnTo>
                    <a:pt x="1178" y="1135"/>
                  </a:lnTo>
                  <a:cubicBezTo>
                    <a:pt x="1070" y="1255"/>
                    <a:pt x="911" y="1331"/>
                    <a:pt x="738" y="1331"/>
                  </a:cubicBezTo>
                  <a:cubicBezTo>
                    <a:pt x="411" y="1331"/>
                    <a:pt x="145" y="1065"/>
                    <a:pt x="145" y="738"/>
                  </a:cubicBezTo>
                  <a:cubicBezTo>
                    <a:pt x="143" y="413"/>
                    <a:pt x="410" y="146"/>
                    <a:pt x="736" y="146"/>
                  </a:cubicBezTo>
                  <a:moveTo>
                    <a:pt x="8613" y="748"/>
                  </a:moveTo>
                  <a:cubicBezTo>
                    <a:pt x="8573" y="728"/>
                    <a:pt x="8333" y="603"/>
                    <a:pt x="8298" y="585"/>
                  </a:cubicBezTo>
                  <a:cubicBezTo>
                    <a:pt x="8172" y="520"/>
                    <a:pt x="8126" y="463"/>
                    <a:pt x="8126" y="366"/>
                  </a:cubicBezTo>
                  <a:cubicBezTo>
                    <a:pt x="8126" y="231"/>
                    <a:pt x="8236" y="145"/>
                    <a:pt x="8408" y="145"/>
                  </a:cubicBezTo>
                  <a:cubicBezTo>
                    <a:pt x="8508" y="145"/>
                    <a:pt x="8606" y="188"/>
                    <a:pt x="8663" y="221"/>
                  </a:cubicBezTo>
                  <a:cubicBezTo>
                    <a:pt x="8673" y="226"/>
                    <a:pt x="8686" y="230"/>
                    <a:pt x="8698" y="230"/>
                  </a:cubicBezTo>
                  <a:cubicBezTo>
                    <a:pt x="8738" y="230"/>
                    <a:pt x="8772" y="198"/>
                    <a:pt x="8772" y="158"/>
                  </a:cubicBezTo>
                  <a:cubicBezTo>
                    <a:pt x="8772" y="131"/>
                    <a:pt x="8756" y="108"/>
                    <a:pt x="8735" y="95"/>
                  </a:cubicBezTo>
                  <a:cubicBezTo>
                    <a:pt x="8663" y="55"/>
                    <a:pt x="8542" y="0"/>
                    <a:pt x="8410" y="0"/>
                  </a:cubicBezTo>
                  <a:cubicBezTo>
                    <a:pt x="8158" y="0"/>
                    <a:pt x="7983" y="150"/>
                    <a:pt x="7983" y="366"/>
                  </a:cubicBezTo>
                  <a:cubicBezTo>
                    <a:pt x="7983" y="560"/>
                    <a:pt x="8110" y="651"/>
                    <a:pt x="8235" y="715"/>
                  </a:cubicBezTo>
                  <a:cubicBezTo>
                    <a:pt x="8270" y="733"/>
                    <a:pt x="8513" y="858"/>
                    <a:pt x="8550" y="878"/>
                  </a:cubicBezTo>
                  <a:cubicBezTo>
                    <a:pt x="8647" y="928"/>
                    <a:pt x="8700" y="1005"/>
                    <a:pt x="8700" y="1091"/>
                  </a:cubicBezTo>
                  <a:cubicBezTo>
                    <a:pt x="8700" y="1208"/>
                    <a:pt x="8601" y="1331"/>
                    <a:pt x="8418" y="1331"/>
                  </a:cubicBezTo>
                  <a:cubicBezTo>
                    <a:pt x="8240" y="1331"/>
                    <a:pt x="8101" y="1211"/>
                    <a:pt x="8065" y="1175"/>
                  </a:cubicBezTo>
                  <a:lnTo>
                    <a:pt x="8053" y="1163"/>
                  </a:lnTo>
                  <a:lnTo>
                    <a:pt x="7945" y="1261"/>
                  </a:lnTo>
                  <a:lnTo>
                    <a:pt x="7958" y="1273"/>
                  </a:lnTo>
                  <a:cubicBezTo>
                    <a:pt x="8006" y="1320"/>
                    <a:pt x="8180" y="1475"/>
                    <a:pt x="8418" y="1475"/>
                  </a:cubicBezTo>
                  <a:cubicBezTo>
                    <a:pt x="8685" y="1475"/>
                    <a:pt x="8845" y="1278"/>
                    <a:pt x="8845" y="1088"/>
                  </a:cubicBezTo>
                  <a:cubicBezTo>
                    <a:pt x="8843" y="950"/>
                    <a:pt x="8760" y="825"/>
                    <a:pt x="8613" y="748"/>
                  </a:cubicBezTo>
                  <a:moveTo>
                    <a:pt x="2250" y="1"/>
                  </a:moveTo>
                  <a:cubicBezTo>
                    <a:pt x="1843" y="1"/>
                    <a:pt x="1511" y="333"/>
                    <a:pt x="1511" y="740"/>
                  </a:cubicBezTo>
                  <a:cubicBezTo>
                    <a:pt x="1511" y="1146"/>
                    <a:pt x="1843" y="1478"/>
                    <a:pt x="2250" y="1478"/>
                  </a:cubicBezTo>
                  <a:cubicBezTo>
                    <a:pt x="2656" y="1478"/>
                    <a:pt x="2988" y="1146"/>
                    <a:pt x="2988" y="740"/>
                  </a:cubicBezTo>
                  <a:cubicBezTo>
                    <a:pt x="2988" y="333"/>
                    <a:pt x="2656" y="1"/>
                    <a:pt x="2250" y="1"/>
                  </a:cubicBezTo>
                  <a:moveTo>
                    <a:pt x="2250" y="1331"/>
                  </a:moveTo>
                  <a:cubicBezTo>
                    <a:pt x="1923" y="1331"/>
                    <a:pt x="1656" y="1065"/>
                    <a:pt x="1656" y="738"/>
                  </a:cubicBezTo>
                  <a:cubicBezTo>
                    <a:pt x="1656" y="411"/>
                    <a:pt x="1923" y="145"/>
                    <a:pt x="2250" y="145"/>
                  </a:cubicBezTo>
                  <a:cubicBezTo>
                    <a:pt x="2576" y="145"/>
                    <a:pt x="2843" y="411"/>
                    <a:pt x="2843" y="738"/>
                  </a:cubicBezTo>
                  <a:cubicBezTo>
                    <a:pt x="2841" y="1066"/>
                    <a:pt x="2576" y="1331"/>
                    <a:pt x="2250" y="1331"/>
                  </a:cubicBezTo>
                  <a:close/>
                  <a:moveTo>
                    <a:pt x="9887" y="4438"/>
                  </a:moveTo>
                  <a:lnTo>
                    <a:pt x="9886" y="4303"/>
                  </a:lnTo>
                  <a:lnTo>
                    <a:pt x="9814" y="4415"/>
                  </a:lnTo>
                  <a:lnTo>
                    <a:pt x="9799" y="4415"/>
                  </a:lnTo>
                  <a:lnTo>
                    <a:pt x="9726" y="4306"/>
                  </a:lnTo>
                  <a:lnTo>
                    <a:pt x="9726" y="4438"/>
                  </a:lnTo>
                  <a:lnTo>
                    <a:pt x="9694" y="4438"/>
                  </a:lnTo>
                  <a:lnTo>
                    <a:pt x="9694" y="4246"/>
                  </a:lnTo>
                  <a:lnTo>
                    <a:pt x="9721" y="4246"/>
                  </a:lnTo>
                  <a:lnTo>
                    <a:pt x="9807" y="4377"/>
                  </a:lnTo>
                  <a:lnTo>
                    <a:pt x="9891" y="4246"/>
                  </a:lnTo>
                  <a:lnTo>
                    <a:pt x="9918" y="4246"/>
                  </a:lnTo>
                  <a:lnTo>
                    <a:pt x="9918" y="4438"/>
                  </a:lnTo>
                  <a:lnTo>
                    <a:pt x="9887" y="4438"/>
                  </a:lnTo>
                  <a:close/>
                  <a:moveTo>
                    <a:pt x="9492" y="4246"/>
                  </a:moveTo>
                  <a:lnTo>
                    <a:pt x="9666" y="4246"/>
                  </a:lnTo>
                  <a:lnTo>
                    <a:pt x="9666" y="4273"/>
                  </a:lnTo>
                  <a:lnTo>
                    <a:pt x="9596" y="4273"/>
                  </a:lnTo>
                  <a:lnTo>
                    <a:pt x="9596" y="4438"/>
                  </a:lnTo>
                  <a:lnTo>
                    <a:pt x="9562" y="4438"/>
                  </a:lnTo>
                  <a:lnTo>
                    <a:pt x="9562" y="4273"/>
                  </a:lnTo>
                  <a:lnTo>
                    <a:pt x="9492" y="4273"/>
                  </a:lnTo>
                  <a:lnTo>
                    <a:pt x="9492" y="4246"/>
                  </a:lnTo>
                  <a:close/>
                  <a:moveTo>
                    <a:pt x="9167" y="4896"/>
                  </a:moveTo>
                  <a:cubicBezTo>
                    <a:pt x="9133" y="4885"/>
                    <a:pt x="9105" y="4871"/>
                    <a:pt x="9086" y="4854"/>
                  </a:cubicBezTo>
                  <a:lnTo>
                    <a:pt x="9114" y="4804"/>
                  </a:lnTo>
                  <a:cubicBezTo>
                    <a:pt x="9134" y="4820"/>
                    <a:pt x="9159" y="4833"/>
                    <a:pt x="9188" y="4842"/>
                  </a:cubicBezTo>
                  <a:cubicBezTo>
                    <a:pt x="9218" y="4852"/>
                    <a:pt x="9249" y="4857"/>
                    <a:pt x="9281" y="4857"/>
                  </a:cubicBezTo>
                  <a:cubicBezTo>
                    <a:pt x="9324" y="4857"/>
                    <a:pt x="9356" y="4850"/>
                    <a:pt x="9377" y="4837"/>
                  </a:cubicBezTo>
                  <a:cubicBezTo>
                    <a:pt x="9397" y="4824"/>
                    <a:pt x="9408" y="4805"/>
                    <a:pt x="9408" y="4780"/>
                  </a:cubicBezTo>
                  <a:cubicBezTo>
                    <a:pt x="9408" y="4763"/>
                    <a:pt x="9402" y="4750"/>
                    <a:pt x="9390" y="4740"/>
                  </a:cubicBezTo>
                  <a:cubicBezTo>
                    <a:pt x="9379" y="4730"/>
                    <a:pt x="9365" y="4723"/>
                    <a:pt x="9348" y="4717"/>
                  </a:cubicBezTo>
                  <a:cubicBezTo>
                    <a:pt x="9330" y="4712"/>
                    <a:pt x="9307" y="4708"/>
                    <a:pt x="9279" y="4703"/>
                  </a:cubicBezTo>
                  <a:cubicBezTo>
                    <a:pt x="9241" y="4696"/>
                    <a:pt x="9210" y="4688"/>
                    <a:pt x="9187" y="4681"/>
                  </a:cubicBezTo>
                  <a:cubicBezTo>
                    <a:pt x="9163" y="4674"/>
                    <a:pt x="9144" y="4661"/>
                    <a:pt x="9127" y="4643"/>
                  </a:cubicBezTo>
                  <a:cubicBezTo>
                    <a:pt x="9111" y="4625"/>
                    <a:pt x="9103" y="4601"/>
                    <a:pt x="9103" y="4569"/>
                  </a:cubicBezTo>
                  <a:cubicBezTo>
                    <a:pt x="9103" y="4530"/>
                    <a:pt x="9119" y="4498"/>
                    <a:pt x="9152" y="4473"/>
                  </a:cubicBezTo>
                  <a:cubicBezTo>
                    <a:pt x="9185" y="4448"/>
                    <a:pt x="9230" y="4435"/>
                    <a:pt x="9289" y="4435"/>
                  </a:cubicBezTo>
                  <a:cubicBezTo>
                    <a:pt x="9319" y="4435"/>
                    <a:pt x="9349" y="4439"/>
                    <a:pt x="9380" y="4447"/>
                  </a:cubicBezTo>
                  <a:cubicBezTo>
                    <a:pt x="9410" y="4455"/>
                    <a:pt x="9435" y="4466"/>
                    <a:pt x="9455" y="4479"/>
                  </a:cubicBezTo>
                  <a:lnTo>
                    <a:pt x="9427" y="4530"/>
                  </a:lnTo>
                  <a:cubicBezTo>
                    <a:pt x="9388" y="4503"/>
                    <a:pt x="9342" y="4490"/>
                    <a:pt x="9289" y="4490"/>
                  </a:cubicBezTo>
                  <a:cubicBezTo>
                    <a:pt x="9248" y="4490"/>
                    <a:pt x="9218" y="4497"/>
                    <a:pt x="9197" y="4511"/>
                  </a:cubicBezTo>
                  <a:cubicBezTo>
                    <a:pt x="9176" y="4525"/>
                    <a:pt x="9166" y="4544"/>
                    <a:pt x="9166" y="4567"/>
                  </a:cubicBezTo>
                  <a:cubicBezTo>
                    <a:pt x="9166" y="4585"/>
                    <a:pt x="9172" y="4599"/>
                    <a:pt x="9184" y="4610"/>
                  </a:cubicBezTo>
                  <a:cubicBezTo>
                    <a:pt x="9195" y="4621"/>
                    <a:pt x="9210" y="4629"/>
                    <a:pt x="9227" y="4634"/>
                  </a:cubicBezTo>
                  <a:cubicBezTo>
                    <a:pt x="9244" y="4639"/>
                    <a:pt x="9268" y="4644"/>
                    <a:pt x="9298" y="4649"/>
                  </a:cubicBezTo>
                  <a:cubicBezTo>
                    <a:pt x="9336" y="4656"/>
                    <a:pt x="9366" y="4664"/>
                    <a:pt x="9389" y="4671"/>
                  </a:cubicBezTo>
                  <a:cubicBezTo>
                    <a:pt x="9411" y="4678"/>
                    <a:pt x="9431" y="4690"/>
                    <a:pt x="9447" y="4707"/>
                  </a:cubicBezTo>
                  <a:cubicBezTo>
                    <a:pt x="9463" y="4724"/>
                    <a:pt x="9471" y="4748"/>
                    <a:pt x="9471" y="4779"/>
                  </a:cubicBezTo>
                  <a:cubicBezTo>
                    <a:pt x="9471" y="4820"/>
                    <a:pt x="9454" y="4852"/>
                    <a:pt x="9420" y="4876"/>
                  </a:cubicBezTo>
                  <a:cubicBezTo>
                    <a:pt x="9385" y="4900"/>
                    <a:pt x="9338" y="4912"/>
                    <a:pt x="9277" y="4912"/>
                  </a:cubicBezTo>
                  <a:cubicBezTo>
                    <a:pt x="9239" y="4912"/>
                    <a:pt x="9202" y="4907"/>
                    <a:pt x="9167" y="4896"/>
                  </a:cubicBezTo>
                  <a:moveTo>
                    <a:pt x="8688" y="4533"/>
                  </a:moveTo>
                  <a:cubicBezTo>
                    <a:pt x="8658" y="4562"/>
                    <a:pt x="8640" y="4599"/>
                    <a:pt x="8636" y="4646"/>
                  </a:cubicBezTo>
                  <a:lnTo>
                    <a:pt x="8969" y="4646"/>
                  </a:lnTo>
                  <a:cubicBezTo>
                    <a:pt x="8965" y="4599"/>
                    <a:pt x="8948" y="4562"/>
                    <a:pt x="8917" y="4533"/>
                  </a:cubicBezTo>
                  <a:cubicBezTo>
                    <a:pt x="8886" y="4504"/>
                    <a:pt x="8848" y="4490"/>
                    <a:pt x="8802" y="4490"/>
                  </a:cubicBezTo>
                  <a:cubicBezTo>
                    <a:pt x="8757" y="4490"/>
                    <a:pt x="8719" y="4504"/>
                    <a:pt x="8688" y="4533"/>
                  </a:cubicBezTo>
                  <a:close/>
                  <a:moveTo>
                    <a:pt x="9029" y="4693"/>
                  </a:moveTo>
                  <a:lnTo>
                    <a:pt x="8636" y="4693"/>
                  </a:lnTo>
                  <a:cubicBezTo>
                    <a:pt x="8640" y="4742"/>
                    <a:pt x="8658" y="4781"/>
                    <a:pt x="8692" y="4811"/>
                  </a:cubicBezTo>
                  <a:cubicBezTo>
                    <a:pt x="8726" y="4841"/>
                    <a:pt x="8769" y="4856"/>
                    <a:pt x="8821" y="4856"/>
                  </a:cubicBezTo>
                  <a:cubicBezTo>
                    <a:pt x="8850" y="4856"/>
                    <a:pt x="8877" y="4851"/>
                    <a:pt x="8901" y="4841"/>
                  </a:cubicBezTo>
                  <a:cubicBezTo>
                    <a:pt x="8926" y="4830"/>
                    <a:pt x="8947" y="4815"/>
                    <a:pt x="8965" y="4795"/>
                  </a:cubicBezTo>
                  <a:lnTo>
                    <a:pt x="9001" y="4836"/>
                  </a:lnTo>
                  <a:cubicBezTo>
                    <a:pt x="8980" y="4861"/>
                    <a:pt x="8954" y="4880"/>
                    <a:pt x="8922" y="4893"/>
                  </a:cubicBezTo>
                  <a:cubicBezTo>
                    <a:pt x="8891" y="4906"/>
                    <a:pt x="8857" y="4912"/>
                    <a:pt x="8819" y="4912"/>
                  </a:cubicBezTo>
                  <a:cubicBezTo>
                    <a:pt x="8771" y="4912"/>
                    <a:pt x="8728" y="4902"/>
                    <a:pt x="8691" y="4882"/>
                  </a:cubicBezTo>
                  <a:cubicBezTo>
                    <a:pt x="8654" y="4861"/>
                    <a:pt x="8625" y="4833"/>
                    <a:pt x="8604" y="4796"/>
                  </a:cubicBezTo>
                  <a:cubicBezTo>
                    <a:pt x="8583" y="4760"/>
                    <a:pt x="8572" y="4719"/>
                    <a:pt x="8572" y="4673"/>
                  </a:cubicBezTo>
                  <a:cubicBezTo>
                    <a:pt x="8572" y="4628"/>
                    <a:pt x="8582" y="4587"/>
                    <a:pt x="8602" y="4550"/>
                  </a:cubicBezTo>
                  <a:cubicBezTo>
                    <a:pt x="8622" y="4514"/>
                    <a:pt x="8650" y="4486"/>
                    <a:pt x="8685" y="4466"/>
                  </a:cubicBezTo>
                  <a:cubicBezTo>
                    <a:pt x="8720" y="4445"/>
                    <a:pt x="8759" y="4435"/>
                    <a:pt x="8802" y="4435"/>
                  </a:cubicBezTo>
                  <a:cubicBezTo>
                    <a:pt x="8846" y="4435"/>
                    <a:pt x="8885" y="4445"/>
                    <a:pt x="8919" y="4466"/>
                  </a:cubicBezTo>
                  <a:cubicBezTo>
                    <a:pt x="8954" y="4486"/>
                    <a:pt x="8981" y="4514"/>
                    <a:pt x="9001" y="4550"/>
                  </a:cubicBezTo>
                  <a:cubicBezTo>
                    <a:pt x="9020" y="4586"/>
                    <a:pt x="9030" y="4627"/>
                    <a:pt x="9030" y="4673"/>
                  </a:cubicBezTo>
                  <a:lnTo>
                    <a:pt x="9029" y="4693"/>
                  </a:lnTo>
                  <a:close/>
                  <a:moveTo>
                    <a:pt x="8388" y="4439"/>
                  </a:moveTo>
                  <a:lnTo>
                    <a:pt x="8452" y="4439"/>
                  </a:lnTo>
                  <a:lnTo>
                    <a:pt x="8452" y="4908"/>
                  </a:lnTo>
                  <a:lnTo>
                    <a:pt x="8388" y="4908"/>
                  </a:lnTo>
                  <a:lnTo>
                    <a:pt x="8388" y="4439"/>
                  </a:lnTo>
                  <a:close/>
                  <a:moveTo>
                    <a:pt x="8387" y="4323"/>
                  </a:moveTo>
                  <a:cubicBezTo>
                    <a:pt x="8378" y="4314"/>
                    <a:pt x="8374" y="4303"/>
                    <a:pt x="8374" y="4291"/>
                  </a:cubicBezTo>
                  <a:cubicBezTo>
                    <a:pt x="8374" y="4279"/>
                    <a:pt x="8378" y="4268"/>
                    <a:pt x="8387" y="4260"/>
                  </a:cubicBezTo>
                  <a:cubicBezTo>
                    <a:pt x="8396" y="4251"/>
                    <a:pt x="8407" y="4246"/>
                    <a:pt x="8420" y="4246"/>
                  </a:cubicBezTo>
                  <a:cubicBezTo>
                    <a:pt x="8434" y="4246"/>
                    <a:pt x="8445" y="4250"/>
                    <a:pt x="8454" y="4259"/>
                  </a:cubicBezTo>
                  <a:cubicBezTo>
                    <a:pt x="8462" y="4268"/>
                    <a:pt x="8467" y="4278"/>
                    <a:pt x="8467" y="4290"/>
                  </a:cubicBezTo>
                  <a:cubicBezTo>
                    <a:pt x="8467" y="4303"/>
                    <a:pt x="8462" y="4314"/>
                    <a:pt x="8454" y="4323"/>
                  </a:cubicBezTo>
                  <a:cubicBezTo>
                    <a:pt x="8445" y="4332"/>
                    <a:pt x="8434" y="4336"/>
                    <a:pt x="8420" y="4336"/>
                  </a:cubicBezTo>
                  <a:cubicBezTo>
                    <a:pt x="8407" y="4336"/>
                    <a:pt x="8396" y="4332"/>
                    <a:pt x="8387" y="4323"/>
                  </a:cubicBezTo>
                  <a:close/>
                  <a:moveTo>
                    <a:pt x="8282" y="4879"/>
                  </a:moveTo>
                  <a:cubicBezTo>
                    <a:pt x="8270" y="4890"/>
                    <a:pt x="8255" y="4898"/>
                    <a:pt x="8238" y="4904"/>
                  </a:cubicBezTo>
                  <a:cubicBezTo>
                    <a:pt x="8220" y="4910"/>
                    <a:pt x="8202" y="4912"/>
                    <a:pt x="8183" y="4912"/>
                  </a:cubicBezTo>
                  <a:cubicBezTo>
                    <a:pt x="8139" y="4912"/>
                    <a:pt x="8105" y="4900"/>
                    <a:pt x="8081" y="4877"/>
                  </a:cubicBezTo>
                  <a:cubicBezTo>
                    <a:pt x="8057" y="4853"/>
                    <a:pt x="8045" y="4819"/>
                    <a:pt x="8045" y="4776"/>
                  </a:cubicBezTo>
                  <a:lnTo>
                    <a:pt x="8045" y="4492"/>
                  </a:lnTo>
                  <a:lnTo>
                    <a:pt x="7961" y="4492"/>
                  </a:lnTo>
                  <a:lnTo>
                    <a:pt x="7961" y="4439"/>
                  </a:lnTo>
                  <a:lnTo>
                    <a:pt x="8045" y="4439"/>
                  </a:lnTo>
                  <a:lnTo>
                    <a:pt x="8045" y="4336"/>
                  </a:lnTo>
                  <a:lnTo>
                    <a:pt x="8108" y="4336"/>
                  </a:lnTo>
                  <a:lnTo>
                    <a:pt x="8108" y="4439"/>
                  </a:lnTo>
                  <a:lnTo>
                    <a:pt x="8251" y="4439"/>
                  </a:lnTo>
                  <a:lnTo>
                    <a:pt x="8251" y="4492"/>
                  </a:lnTo>
                  <a:lnTo>
                    <a:pt x="8108" y="4492"/>
                  </a:lnTo>
                  <a:lnTo>
                    <a:pt x="8108" y="4772"/>
                  </a:lnTo>
                  <a:cubicBezTo>
                    <a:pt x="8108" y="4800"/>
                    <a:pt x="8115" y="4822"/>
                    <a:pt x="8129" y="4836"/>
                  </a:cubicBezTo>
                  <a:cubicBezTo>
                    <a:pt x="8143" y="4851"/>
                    <a:pt x="8164" y="4858"/>
                    <a:pt x="8190" y="4858"/>
                  </a:cubicBezTo>
                  <a:cubicBezTo>
                    <a:pt x="8203" y="4858"/>
                    <a:pt x="8216" y="4856"/>
                    <a:pt x="8228" y="4852"/>
                  </a:cubicBezTo>
                  <a:cubicBezTo>
                    <a:pt x="8240" y="4848"/>
                    <a:pt x="8251" y="4842"/>
                    <a:pt x="8260" y="4834"/>
                  </a:cubicBezTo>
                  <a:lnTo>
                    <a:pt x="8282" y="4879"/>
                  </a:lnTo>
                  <a:close/>
                  <a:moveTo>
                    <a:pt x="7803" y="4439"/>
                  </a:moveTo>
                  <a:lnTo>
                    <a:pt x="7866" y="4439"/>
                  </a:lnTo>
                  <a:lnTo>
                    <a:pt x="7866" y="4908"/>
                  </a:lnTo>
                  <a:lnTo>
                    <a:pt x="7803" y="4908"/>
                  </a:lnTo>
                  <a:lnTo>
                    <a:pt x="7803" y="4439"/>
                  </a:lnTo>
                  <a:close/>
                  <a:moveTo>
                    <a:pt x="7802" y="4323"/>
                  </a:moveTo>
                  <a:cubicBezTo>
                    <a:pt x="7793" y="4314"/>
                    <a:pt x="7788" y="4303"/>
                    <a:pt x="7788" y="4291"/>
                  </a:cubicBezTo>
                  <a:cubicBezTo>
                    <a:pt x="7788" y="4279"/>
                    <a:pt x="7793" y="4268"/>
                    <a:pt x="7802" y="4260"/>
                  </a:cubicBezTo>
                  <a:cubicBezTo>
                    <a:pt x="7811" y="4251"/>
                    <a:pt x="7822" y="4246"/>
                    <a:pt x="7835" y="4246"/>
                  </a:cubicBezTo>
                  <a:cubicBezTo>
                    <a:pt x="7848" y="4246"/>
                    <a:pt x="7859" y="4250"/>
                    <a:pt x="7868" y="4259"/>
                  </a:cubicBezTo>
                  <a:cubicBezTo>
                    <a:pt x="7877" y="4268"/>
                    <a:pt x="7881" y="4278"/>
                    <a:pt x="7881" y="4290"/>
                  </a:cubicBezTo>
                  <a:cubicBezTo>
                    <a:pt x="7881" y="4303"/>
                    <a:pt x="7877" y="4314"/>
                    <a:pt x="7868" y="4323"/>
                  </a:cubicBezTo>
                  <a:cubicBezTo>
                    <a:pt x="7859" y="4332"/>
                    <a:pt x="7848" y="4336"/>
                    <a:pt x="7835" y="4336"/>
                  </a:cubicBezTo>
                  <a:cubicBezTo>
                    <a:pt x="7822" y="4336"/>
                    <a:pt x="7811" y="4332"/>
                    <a:pt x="7802" y="4323"/>
                  </a:cubicBezTo>
                  <a:close/>
                  <a:moveTo>
                    <a:pt x="7571" y="4246"/>
                  </a:moveTo>
                  <a:lnTo>
                    <a:pt x="7635" y="4246"/>
                  </a:lnTo>
                  <a:lnTo>
                    <a:pt x="7635" y="4908"/>
                  </a:lnTo>
                  <a:lnTo>
                    <a:pt x="7571" y="4908"/>
                  </a:lnTo>
                  <a:lnTo>
                    <a:pt x="7571" y="4246"/>
                  </a:lnTo>
                  <a:close/>
                  <a:moveTo>
                    <a:pt x="7340" y="4439"/>
                  </a:moveTo>
                  <a:lnTo>
                    <a:pt x="7403" y="4439"/>
                  </a:lnTo>
                  <a:lnTo>
                    <a:pt x="7403" y="4908"/>
                  </a:lnTo>
                  <a:lnTo>
                    <a:pt x="7340" y="4908"/>
                  </a:lnTo>
                  <a:lnTo>
                    <a:pt x="7340" y="4439"/>
                  </a:lnTo>
                  <a:close/>
                  <a:moveTo>
                    <a:pt x="7339" y="4323"/>
                  </a:moveTo>
                  <a:cubicBezTo>
                    <a:pt x="7330" y="4314"/>
                    <a:pt x="7325" y="4303"/>
                    <a:pt x="7325" y="4291"/>
                  </a:cubicBezTo>
                  <a:cubicBezTo>
                    <a:pt x="7325" y="4279"/>
                    <a:pt x="7330" y="4268"/>
                    <a:pt x="7339" y="4260"/>
                  </a:cubicBezTo>
                  <a:cubicBezTo>
                    <a:pt x="7348" y="4251"/>
                    <a:pt x="7359" y="4246"/>
                    <a:pt x="7372" y="4246"/>
                  </a:cubicBezTo>
                  <a:cubicBezTo>
                    <a:pt x="7385" y="4246"/>
                    <a:pt x="7396" y="4250"/>
                    <a:pt x="7405" y="4259"/>
                  </a:cubicBezTo>
                  <a:cubicBezTo>
                    <a:pt x="7414" y="4268"/>
                    <a:pt x="7418" y="4278"/>
                    <a:pt x="7418" y="4290"/>
                  </a:cubicBezTo>
                  <a:cubicBezTo>
                    <a:pt x="7418" y="4303"/>
                    <a:pt x="7414" y="4314"/>
                    <a:pt x="7405" y="4323"/>
                  </a:cubicBezTo>
                  <a:cubicBezTo>
                    <a:pt x="7396" y="4332"/>
                    <a:pt x="7385" y="4336"/>
                    <a:pt x="7372" y="4336"/>
                  </a:cubicBezTo>
                  <a:cubicBezTo>
                    <a:pt x="7359" y="4336"/>
                    <a:pt x="7348" y="4332"/>
                    <a:pt x="7339" y="4323"/>
                  </a:cubicBezTo>
                  <a:close/>
                  <a:moveTo>
                    <a:pt x="7070" y="4833"/>
                  </a:moveTo>
                  <a:cubicBezTo>
                    <a:pt x="7096" y="4818"/>
                    <a:pt x="7117" y="4797"/>
                    <a:pt x="7133" y="4769"/>
                  </a:cubicBezTo>
                  <a:cubicBezTo>
                    <a:pt x="7148" y="4741"/>
                    <a:pt x="7155" y="4709"/>
                    <a:pt x="7155" y="4673"/>
                  </a:cubicBezTo>
                  <a:cubicBezTo>
                    <a:pt x="7155" y="4638"/>
                    <a:pt x="7148" y="4606"/>
                    <a:pt x="7133" y="4578"/>
                  </a:cubicBezTo>
                  <a:cubicBezTo>
                    <a:pt x="7117" y="4550"/>
                    <a:pt x="7096" y="4528"/>
                    <a:pt x="7070" y="4513"/>
                  </a:cubicBezTo>
                  <a:cubicBezTo>
                    <a:pt x="7043" y="4498"/>
                    <a:pt x="7013" y="4491"/>
                    <a:pt x="6980" y="4491"/>
                  </a:cubicBezTo>
                  <a:cubicBezTo>
                    <a:pt x="6947" y="4491"/>
                    <a:pt x="6917" y="4498"/>
                    <a:pt x="6890" y="4513"/>
                  </a:cubicBezTo>
                  <a:cubicBezTo>
                    <a:pt x="6864" y="4528"/>
                    <a:pt x="6843" y="4550"/>
                    <a:pt x="6828" y="4578"/>
                  </a:cubicBezTo>
                  <a:cubicBezTo>
                    <a:pt x="6813" y="4606"/>
                    <a:pt x="6805" y="4638"/>
                    <a:pt x="6805" y="4673"/>
                  </a:cubicBezTo>
                  <a:cubicBezTo>
                    <a:pt x="6805" y="4709"/>
                    <a:pt x="6813" y="4741"/>
                    <a:pt x="6828" y="4769"/>
                  </a:cubicBezTo>
                  <a:cubicBezTo>
                    <a:pt x="6843" y="4797"/>
                    <a:pt x="6864" y="4818"/>
                    <a:pt x="6890" y="4833"/>
                  </a:cubicBezTo>
                  <a:cubicBezTo>
                    <a:pt x="6917" y="4849"/>
                    <a:pt x="6947" y="4856"/>
                    <a:pt x="6980" y="4856"/>
                  </a:cubicBezTo>
                  <a:cubicBezTo>
                    <a:pt x="7013" y="4856"/>
                    <a:pt x="7043" y="4849"/>
                    <a:pt x="7070" y="4833"/>
                  </a:cubicBezTo>
                  <a:close/>
                  <a:moveTo>
                    <a:pt x="7104" y="4465"/>
                  </a:moveTo>
                  <a:cubicBezTo>
                    <a:pt x="7140" y="4485"/>
                    <a:pt x="7168" y="4513"/>
                    <a:pt x="7188" y="4549"/>
                  </a:cubicBezTo>
                  <a:cubicBezTo>
                    <a:pt x="7209" y="4586"/>
                    <a:pt x="7219" y="4627"/>
                    <a:pt x="7219" y="4673"/>
                  </a:cubicBezTo>
                  <a:cubicBezTo>
                    <a:pt x="7219" y="4720"/>
                    <a:pt x="7209" y="4761"/>
                    <a:pt x="7188" y="4797"/>
                  </a:cubicBezTo>
                  <a:cubicBezTo>
                    <a:pt x="7168" y="4834"/>
                    <a:pt x="7140" y="4862"/>
                    <a:pt x="7104" y="4882"/>
                  </a:cubicBezTo>
                  <a:cubicBezTo>
                    <a:pt x="7069" y="4902"/>
                    <a:pt x="7029" y="4912"/>
                    <a:pt x="6985" y="4912"/>
                  </a:cubicBezTo>
                  <a:cubicBezTo>
                    <a:pt x="6945" y="4912"/>
                    <a:pt x="6910" y="4904"/>
                    <a:pt x="6879" y="4887"/>
                  </a:cubicBezTo>
                  <a:cubicBezTo>
                    <a:pt x="6847" y="4871"/>
                    <a:pt x="6822" y="4847"/>
                    <a:pt x="6803" y="4815"/>
                  </a:cubicBezTo>
                  <a:lnTo>
                    <a:pt x="6803" y="4908"/>
                  </a:lnTo>
                  <a:lnTo>
                    <a:pt x="6742" y="4908"/>
                  </a:lnTo>
                  <a:lnTo>
                    <a:pt x="6742" y="4246"/>
                  </a:lnTo>
                  <a:lnTo>
                    <a:pt x="6806" y="4246"/>
                  </a:lnTo>
                  <a:lnTo>
                    <a:pt x="6806" y="4528"/>
                  </a:lnTo>
                  <a:cubicBezTo>
                    <a:pt x="6825" y="4498"/>
                    <a:pt x="6851" y="4475"/>
                    <a:pt x="6881" y="4459"/>
                  </a:cubicBezTo>
                  <a:cubicBezTo>
                    <a:pt x="6912" y="4443"/>
                    <a:pt x="6946" y="4435"/>
                    <a:pt x="6985" y="4435"/>
                  </a:cubicBezTo>
                  <a:cubicBezTo>
                    <a:pt x="7029" y="4435"/>
                    <a:pt x="7069" y="4445"/>
                    <a:pt x="7104" y="4465"/>
                  </a:cubicBezTo>
                  <a:close/>
                  <a:moveTo>
                    <a:pt x="6511" y="4439"/>
                  </a:moveTo>
                  <a:lnTo>
                    <a:pt x="6574" y="4439"/>
                  </a:lnTo>
                  <a:lnTo>
                    <a:pt x="6574" y="4908"/>
                  </a:lnTo>
                  <a:lnTo>
                    <a:pt x="6511" y="4908"/>
                  </a:lnTo>
                  <a:lnTo>
                    <a:pt x="6511" y="4439"/>
                  </a:lnTo>
                  <a:close/>
                  <a:moveTo>
                    <a:pt x="6510" y="4323"/>
                  </a:moveTo>
                  <a:cubicBezTo>
                    <a:pt x="6501" y="4314"/>
                    <a:pt x="6496" y="4303"/>
                    <a:pt x="6496" y="4291"/>
                  </a:cubicBezTo>
                  <a:cubicBezTo>
                    <a:pt x="6496" y="4279"/>
                    <a:pt x="6501" y="4268"/>
                    <a:pt x="6510" y="4260"/>
                  </a:cubicBezTo>
                  <a:cubicBezTo>
                    <a:pt x="6519" y="4251"/>
                    <a:pt x="6530" y="4246"/>
                    <a:pt x="6543" y="4246"/>
                  </a:cubicBezTo>
                  <a:cubicBezTo>
                    <a:pt x="6556" y="4246"/>
                    <a:pt x="6567" y="4250"/>
                    <a:pt x="6576" y="4259"/>
                  </a:cubicBezTo>
                  <a:cubicBezTo>
                    <a:pt x="6585" y="4268"/>
                    <a:pt x="6589" y="4278"/>
                    <a:pt x="6589" y="4290"/>
                  </a:cubicBezTo>
                  <a:cubicBezTo>
                    <a:pt x="6589" y="4303"/>
                    <a:pt x="6585" y="4314"/>
                    <a:pt x="6576" y="4323"/>
                  </a:cubicBezTo>
                  <a:cubicBezTo>
                    <a:pt x="6567" y="4332"/>
                    <a:pt x="6556" y="4336"/>
                    <a:pt x="6543" y="4336"/>
                  </a:cubicBezTo>
                  <a:cubicBezTo>
                    <a:pt x="6530" y="4336"/>
                    <a:pt x="6519" y="4332"/>
                    <a:pt x="6510" y="4323"/>
                  </a:cubicBezTo>
                  <a:close/>
                  <a:moveTo>
                    <a:pt x="6099" y="4896"/>
                  </a:moveTo>
                  <a:cubicBezTo>
                    <a:pt x="6064" y="4885"/>
                    <a:pt x="6037" y="4871"/>
                    <a:pt x="6017" y="4854"/>
                  </a:cubicBezTo>
                  <a:lnTo>
                    <a:pt x="6046" y="4804"/>
                  </a:lnTo>
                  <a:cubicBezTo>
                    <a:pt x="6066" y="4820"/>
                    <a:pt x="6090" y="4833"/>
                    <a:pt x="6120" y="4842"/>
                  </a:cubicBezTo>
                  <a:cubicBezTo>
                    <a:pt x="6150" y="4852"/>
                    <a:pt x="6181" y="4857"/>
                    <a:pt x="6213" y="4857"/>
                  </a:cubicBezTo>
                  <a:cubicBezTo>
                    <a:pt x="6256" y="4857"/>
                    <a:pt x="6288" y="4850"/>
                    <a:pt x="6308" y="4837"/>
                  </a:cubicBezTo>
                  <a:cubicBezTo>
                    <a:pt x="6329" y="4824"/>
                    <a:pt x="6339" y="4805"/>
                    <a:pt x="6339" y="4780"/>
                  </a:cubicBezTo>
                  <a:cubicBezTo>
                    <a:pt x="6339" y="4763"/>
                    <a:pt x="6333" y="4750"/>
                    <a:pt x="6322" y="4740"/>
                  </a:cubicBezTo>
                  <a:cubicBezTo>
                    <a:pt x="6311" y="4730"/>
                    <a:pt x="6296" y="4723"/>
                    <a:pt x="6279" y="4717"/>
                  </a:cubicBezTo>
                  <a:cubicBezTo>
                    <a:pt x="6262" y="4712"/>
                    <a:pt x="6239" y="4708"/>
                    <a:pt x="6210" y="4703"/>
                  </a:cubicBezTo>
                  <a:cubicBezTo>
                    <a:pt x="6172" y="4696"/>
                    <a:pt x="6141" y="4688"/>
                    <a:pt x="6118" y="4681"/>
                  </a:cubicBezTo>
                  <a:cubicBezTo>
                    <a:pt x="6095" y="4674"/>
                    <a:pt x="6075" y="4661"/>
                    <a:pt x="6059" y="4643"/>
                  </a:cubicBezTo>
                  <a:cubicBezTo>
                    <a:pt x="6042" y="4625"/>
                    <a:pt x="6034" y="4601"/>
                    <a:pt x="6034" y="4569"/>
                  </a:cubicBezTo>
                  <a:cubicBezTo>
                    <a:pt x="6034" y="4530"/>
                    <a:pt x="6051" y="4498"/>
                    <a:pt x="6083" y="4473"/>
                  </a:cubicBezTo>
                  <a:cubicBezTo>
                    <a:pt x="6116" y="4448"/>
                    <a:pt x="6162" y="4435"/>
                    <a:pt x="6220" y="4435"/>
                  </a:cubicBezTo>
                  <a:cubicBezTo>
                    <a:pt x="6251" y="4435"/>
                    <a:pt x="6281" y="4439"/>
                    <a:pt x="6311" y="4447"/>
                  </a:cubicBezTo>
                  <a:cubicBezTo>
                    <a:pt x="6342" y="4455"/>
                    <a:pt x="6367" y="4466"/>
                    <a:pt x="6386" y="4479"/>
                  </a:cubicBezTo>
                  <a:lnTo>
                    <a:pt x="6359" y="4530"/>
                  </a:lnTo>
                  <a:cubicBezTo>
                    <a:pt x="6320" y="4503"/>
                    <a:pt x="6274" y="4490"/>
                    <a:pt x="6220" y="4490"/>
                  </a:cubicBezTo>
                  <a:cubicBezTo>
                    <a:pt x="6180" y="4490"/>
                    <a:pt x="6149" y="4497"/>
                    <a:pt x="6129" y="4511"/>
                  </a:cubicBezTo>
                  <a:cubicBezTo>
                    <a:pt x="6108" y="4525"/>
                    <a:pt x="6098" y="4544"/>
                    <a:pt x="6098" y="4567"/>
                  </a:cubicBezTo>
                  <a:cubicBezTo>
                    <a:pt x="6098" y="4585"/>
                    <a:pt x="6104" y="4599"/>
                    <a:pt x="6115" y="4610"/>
                  </a:cubicBezTo>
                  <a:cubicBezTo>
                    <a:pt x="6127" y="4621"/>
                    <a:pt x="6141" y="4629"/>
                    <a:pt x="6158" y="4634"/>
                  </a:cubicBezTo>
                  <a:cubicBezTo>
                    <a:pt x="6176" y="4639"/>
                    <a:pt x="6200" y="4644"/>
                    <a:pt x="6230" y="4649"/>
                  </a:cubicBezTo>
                  <a:cubicBezTo>
                    <a:pt x="6268" y="4656"/>
                    <a:pt x="6298" y="4664"/>
                    <a:pt x="6320" y="4671"/>
                  </a:cubicBezTo>
                  <a:cubicBezTo>
                    <a:pt x="6343" y="4678"/>
                    <a:pt x="6362" y="4690"/>
                    <a:pt x="6378" y="4707"/>
                  </a:cubicBezTo>
                  <a:cubicBezTo>
                    <a:pt x="6395" y="4724"/>
                    <a:pt x="6403" y="4748"/>
                    <a:pt x="6403" y="4779"/>
                  </a:cubicBezTo>
                  <a:cubicBezTo>
                    <a:pt x="6403" y="4820"/>
                    <a:pt x="6385" y="4852"/>
                    <a:pt x="6351" y="4876"/>
                  </a:cubicBezTo>
                  <a:cubicBezTo>
                    <a:pt x="6317" y="4900"/>
                    <a:pt x="6269" y="4912"/>
                    <a:pt x="6209" y="4912"/>
                  </a:cubicBezTo>
                  <a:cubicBezTo>
                    <a:pt x="6170" y="4912"/>
                    <a:pt x="6134" y="4907"/>
                    <a:pt x="6099" y="4896"/>
                  </a:cubicBezTo>
                  <a:moveTo>
                    <a:pt x="5653" y="4896"/>
                  </a:moveTo>
                  <a:cubicBezTo>
                    <a:pt x="5618" y="4885"/>
                    <a:pt x="5591" y="4871"/>
                    <a:pt x="5571" y="4854"/>
                  </a:cubicBezTo>
                  <a:lnTo>
                    <a:pt x="5600" y="4804"/>
                  </a:lnTo>
                  <a:cubicBezTo>
                    <a:pt x="5619" y="4820"/>
                    <a:pt x="5644" y="4833"/>
                    <a:pt x="5674" y="4842"/>
                  </a:cubicBezTo>
                  <a:cubicBezTo>
                    <a:pt x="5704" y="4852"/>
                    <a:pt x="5735" y="4857"/>
                    <a:pt x="5767" y="4857"/>
                  </a:cubicBezTo>
                  <a:cubicBezTo>
                    <a:pt x="5810" y="4857"/>
                    <a:pt x="5842" y="4850"/>
                    <a:pt x="5862" y="4837"/>
                  </a:cubicBezTo>
                  <a:cubicBezTo>
                    <a:pt x="5883" y="4824"/>
                    <a:pt x="5893" y="4805"/>
                    <a:pt x="5893" y="4780"/>
                  </a:cubicBezTo>
                  <a:cubicBezTo>
                    <a:pt x="5893" y="4763"/>
                    <a:pt x="5887" y="4750"/>
                    <a:pt x="5876" y="4740"/>
                  </a:cubicBezTo>
                  <a:cubicBezTo>
                    <a:pt x="5865" y="4730"/>
                    <a:pt x="5850" y="4723"/>
                    <a:pt x="5833" y="4717"/>
                  </a:cubicBezTo>
                  <a:cubicBezTo>
                    <a:pt x="5816" y="4712"/>
                    <a:pt x="5793" y="4708"/>
                    <a:pt x="5764" y="4703"/>
                  </a:cubicBezTo>
                  <a:cubicBezTo>
                    <a:pt x="5726" y="4696"/>
                    <a:pt x="5695" y="4688"/>
                    <a:pt x="5672" y="4681"/>
                  </a:cubicBezTo>
                  <a:cubicBezTo>
                    <a:pt x="5649" y="4674"/>
                    <a:pt x="5629" y="4661"/>
                    <a:pt x="5613" y="4643"/>
                  </a:cubicBezTo>
                  <a:cubicBezTo>
                    <a:pt x="5596" y="4625"/>
                    <a:pt x="5588" y="4601"/>
                    <a:pt x="5588" y="4569"/>
                  </a:cubicBezTo>
                  <a:cubicBezTo>
                    <a:pt x="5588" y="4530"/>
                    <a:pt x="5604" y="4498"/>
                    <a:pt x="5637" y="4473"/>
                  </a:cubicBezTo>
                  <a:cubicBezTo>
                    <a:pt x="5670" y="4448"/>
                    <a:pt x="5716" y="4435"/>
                    <a:pt x="5774" y="4435"/>
                  </a:cubicBezTo>
                  <a:cubicBezTo>
                    <a:pt x="5804" y="4435"/>
                    <a:pt x="5835" y="4439"/>
                    <a:pt x="5865" y="4447"/>
                  </a:cubicBezTo>
                  <a:cubicBezTo>
                    <a:pt x="5896" y="4455"/>
                    <a:pt x="5921" y="4466"/>
                    <a:pt x="5940" y="4479"/>
                  </a:cubicBezTo>
                  <a:lnTo>
                    <a:pt x="5913" y="4530"/>
                  </a:lnTo>
                  <a:cubicBezTo>
                    <a:pt x="5874" y="4503"/>
                    <a:pt x="5828" y="4490"/>
                    <a:pt x="5774" y="4490"/>
                  </a:cubicBezTo>
                  <a:cubicBezTo>
                    <a:pt x="5734" y="4490"/>
                    <a:pt x="5703" y="4497"/>
                    <a:pt x="5682" y="4511"/>
                  </a:cubicBezTo>
                  <a:cubicBezTo>
                    <a:pt x="5662" y="4525"/>
                    <a:pt x="5652" y="4544"/>
                    <a:pt x="5652" y="4567"/>
                  </a:cubicBezTo>
                  <a:cubicBezTo>
                    <a:pt x="5652" y="4585"/>
                    <a:pt x="5657" y="4599"/>
                    <a:pt x="5669" y="4610"/>
                  </a:cubicBezTo>
                  <a:cubicBezTo>
                    <a:pt x="5681" y="4621"/>
                    <a:pt x="5695" y="4629"/>
                    <a:pt x="5712" y="4634"/>
                  </a:cubicBezTo>
                  <a:cubicBezTo>
                    <a:pt x="5730" y="4639"/>
                    <a:pt x="5754" y="4644"/>
                    <a:pt x="5784" y="4649"/>
                  </a:cubicBezTo>
                  <a:cubicBezTo>
                    <a:pt x="5821" y="4656"/>
                    <a:pt x="5852" y="4664"/>
                    <a:pt x="5874" y="4671"/>
                  </a:cubicBezTo>
                  <a:cubicBezTo>
                    <a:pt x="5897" y="4678"/>
                    <a:pt x="5916" y="4690"/>
                    <a:pt x="5932" y="4707"/>
                  </a:cubicBezTo>
                  <a:cubicBezTo>
                    <a:pt x="5948" y="4724"/>
                    <a:pt x="5956" y="4748"/>
                    <a:pt x="5956" y="4779"/>
                  </a:cubicBezTo>
                  <a:cubicBezTo>
                    <a:pt x="5956" y="4820"/>
                    <a:pt x="5939" y="4852"/>
                    <a:pt x="5905" y="4876"/>
                  </a:cubicBezTo>
                  <a:cubicBezTo>
                    <a:pt x="5871" y="4900"/>
                    <a:pt x="5823" y="4912"/>
                    <a:pt x="5762" y="4912"/>
                  </a:cubicBezTo>
                  <a:cubicBezTo>
                    <a:pt x="5724" y="4912"/>
                    <a:pt x="5688" y="4907"/>
                    <a:pt x="5653" y="4896"/>
                  </a:cubicBezTo>
                  <a:moveTo>
                    <a:pt x="5367" y="4833"/>
                  </a:moveTo>
                  <a:cubicBezTo>
                    <a:pt x="5393" y="4818"/>
                    <a:pt x="5414" y="4797"/>
                    <a:pt x="5429" y="4769"/>
                  </a:cubicBezTo>
                  <a:cubicBezTo>
                    <a:pt x="5444" y="4741"/>
                    <a:pt x="5451" y="4709"/>
                    <a:pt x="5451" y="4673"/>
                  </a:cubicBezTo>
                  <a:cubicBezTo>
                    <a:pt x="5451" y="4638"/>
                    <a:pt x="5444" y="4606"/>
                    <a:pt x="5429" y="4578"/>
                  </a:cubicBezTo>
                  <a:cubicBezTo>
                    <a:pt x="5414" y="4550"/>
                    <a:pt x="5393" y="4528"/>
                    <a:pt x="5367" y="4513"/>
                  </a:cubicBezTo>
                  <a:cubicBezTo>
                    <a:pt x="5340" y="4498"/>
                    <a:pt x="5310" y="4491"/>
                    <a:pt x="5277" y="4491"/>
                  </a:cubicBezTo>
                  <a:cubicBezTo>
                    <a:pt x="5244" y="4491"/>
                    <a:pt x="5214" y="4498"/>
                    <a:pt x="5187" y="4513"/>
                  </a:cubicBezTo>
                  <a:cubicBezTo>
                    <a:pt x="5161" y="4528"/>
                    <a:pt x="5140" y="4550"/>
                    <a:pt x="5124" y="4578"/>
                  </a:cubicBezTo>
                  <a:cubicBezTo>
                    <a:pt x="5109" y="4606"/>
                    <a:pt x="5102" y="4638"/>
                    <a:pt x="5102" y="4673"/>
                  </a:cubicBezTo>
                  <a:cubicBezTo>
                    <a:pt x="5102" y="4709"/>
                    <a:pt x="5109" y="4741"/>
                    <a:pt x="5124" y="4769"/>
                  </a:cubicBezTo>
                  <a:cubicBezTo>
                    <a:pt x="5140" y="4797"/>
                    <a:pt x="5161" y="4818"/>
                    <a:pt x="5187" y="4833"/>
                  </a:cubicBezTo>
                  <a:cubicBezTo>
                    <a:pt x="5214" y="4849"/>
                    <a:pt x="5244" y="4856"/>
                    <a:pt x="5277" y="4856"/>
                  </a:cubicBezTo>
                  <a:cubicBezTo>
                    <a:pt x="5310" y="4856"/>
                    <a:pt x="5340" y="4849"/>
                    <a:pt x="5367" y="4833"/>
                  </a:cubicBezTo>
                  <a:close/>
                  <a:moveTo>
                    <a:pt x="5154" y="4882"/>
                  </a:moveTo>
                  <a:cubicBezTo>
                    <a:pt x="5118" y="4861"/>
                    <a:pt x="5089" y="4833"/>
                    <a:pt x="5069" y="4796"/>
                  </a:cubicBezTo>
                  <a:cubicBezTo>
                    <a:pt x="5048" y="4760"/>
                    <a:pt x="5037" y="4719"/>
                    <a:pt x="5037" y="4673"/>
                  </a:cubicBezTo>
                  <a:cubicBezTo>
                    <a:pt x="5037" y="4628"/>
                    <a:pt x="5048" y="4587"/>
                    <a:pt x="5069" y="4550"/>
                  </a:cubicBezTo>
                  <a:cubicBezTo>
                    <a:pt x="5089" y="4514"/>
                    <a:pt x="5118" y="4486"/>
                    <a:pt x="5154" y="4466"/>
                  </a:cubicBezTo>
                  <a:cubicBezTo>
                    <a:pt x="5191" y="4445"/>
                    <a:pt x="5232" y="4435"/>
                    <a:pt x="5277" y="4435"/>
                  </a:cubicBezTo>
                  <a:cubicBezTo>
                    <a:pt x="5322" y="4435"/>
                    <a:pt x="5363" y="4445"/>
                    <a:pt x="5399" y="4466"/>
                  </a:cubicBezTo>
                  <a:cubicBezTo>
                    <a:pt x="5436" y="4486"/>
                    <a:pt x="5464" y="4514"/>
                    <a:pt x="5485" y="4550"/>
                  </a:cubicBezTo>
                  <a:cubicBezTo>
                    <a:pt x="5505" y="4587"/>
                    <a:pt x="5516" y="4628"/>
                    <a:pt x="5516" y="4673"/>
                  </a:cubicBezTo>
                  <a:cubicBezTo>
                    <a:pt x="5516" y="4719"/>
                    <a:pt x="5505" y="4760"/>
                    <a:pt x="5485" y="4796"/>
                  </a:cubicBezTo>
                  <a:cubicBezTo>
                    <a:pt x="5464" y="4833"/>
                    <a:pt x="5436" y="4861"/>
                    <a:pt x="5399" y="4882"/>
                  </a:cubicBezTo>
                  <a:cubicBezTo>
                    <a:pt x="5363" y="4902"/>
                    <a:pt x="5322" y="4912"/>
                    <a:pt x="5277" y="4912"/>
                  </a:cubicBezTo>
                  <a:cubicBezTo>
                    <a:pt x="5232" y="4912"/>
                    <a:pt x="5191" y="4902"/>
                    <a:pt x="5154" y="4882"/>
                  </a:cubicBezTo>
                  <a:close/>
                  <a:moveTo>
                    <a:pt x="4869" y="4612"/>
                  </a:moveTo>
                  <a:cubicBezTo>
                    <a:pt x="4902" y="4585"/>
                    <a:pt x="4918" y="4547"/>
                    <a:pt x="4918" y="4498"/>
                  </a:cubicBezTo>
                  <a:cubicBezTo>
                    <a:pt x="4918" y="4447"/>
                    <a:pt x="4902" y="4408"/>
                    <a:pt x="4869" y="4381"/>
                  </a:cubicBezTo>
                  <a:cubicBezTo>
                    <a:pt x="4836" y="4354"/>
                    <a:pt x="4789" y="4341"/>
                    <a:pt x="4727" y="4341"/>
                  </a:cubicBezTo>
                  <a:lnTo>
                    <a:pt x="4561" y="4341"/>
                  </a:lnTo>
                  <a:lnTo>
                    <a:pt x="4561" y="4653"/>
                  </a:lnTo>
                  <a:lnTo>
                    <a:pt x="4727" y="4653"/>
                  </a:lnTo>
                  <a:cubicBezTo>
                    <a:pt x="4789" y="4653"/>
                    <a:pt x="4836" y="4639"/>
                    <a:pt x="4869" y="4612"/>
                  </a:cubicBezTo>
                  <a:close/>
                  <a:moveTo>
                    <a:pt x="4917" y="4341"/>
                  </a:moveTo>
                  <a:cubicBezTo>
                    <a:pt x="4962" y="4379"/>
                    <a:pt x="4985" y="4431"/>
                    <a:pt x="4985" y="4498"/>
                  </a:cubicBezTo>
                  <a:cubicBezTo>
                    <a:pt x="4985" y="4564"/>
                    <a:pt x="4962" y="4616"/>
                    <a:pt x="4917" y="4654"/>
                  </a:cubicBezTo>
                  <a:cubicBezTo>
                    <a:pt x="4871" y="4692"/>
                    <a:pt x="4809" y="4711"/>
                    <a:pt x="4729" y="4711"/>
                  </a:cubicBezTo>
                  <a:lnTo>
                    <a:pt x="4561" y="4711"/>
                  </a:lnTo>
                  <a:lnTo>
                    <a:pt x="4561" y="4908"/>
                  </a:lnTo>
                  <a:lnTo>
                    <a:pt x="4495" y="4908"/>
                  </a:lnTo>
                  <a:lnTo>
                    <a:pt x="4495" y="4284"/>
                  </a:lnTo>
                  <a:lnTo>
                    <a:pt x="4729" y="4284"/>
                  </a:lnTo>
                  <a:cubicBezTo>
                    <a:pt x="4809" y="4284"/>
                    <a:pt x="4871" y="4303"/>
                    <a:pt x="4917" y="4341"/>
                  </a:cubicBezTo>
                  <a:moveTo>
                    <a:pt x="3939" y="4812"/>
                  </a:moveTo>
                  <a:cubicBezTo>
                    <a:pt x="3966" y="4797"/>
                    <a:pt x="3987" y="4777"/>
                    <a:pt x="4002" y="4751"/>
                  </a:cubicBezTo>
                  <a:cubicBezTo>
                    <a:pt x="4018" y="4725"/>
                    <a:pt x="4025" y="4695"/>
                    <a:pt x="4025" y="4662"/>
                  </a:cubicBezTo>
                  <a:cubicBezTo>
                    <a:pt x="4025" y="4628"/>
                    <a:pt x="4018" y="4599"/>
                    <a:pt x="4002" y="4573"/>
                  </a:cubicBezTo>
                  <a:cubicBezTo>
                    <a:pt x="3987" y="4547"/>
                    <a:pt x="3966" y="4527"/>
                    <a:pt x="3939" y="4512"/>
                  </a:cubicBezTo>
                  <a:cubicBezTo>
                    <a:pt x="3912" y="4498"/>
                    <a:pt x="3881" y="4491"/>
                    <a:pt x="3846" y="4491"/>
                  </a:cubicBezTo>
                  <a:cubicBezTo>
                    <a:pt x="3812" y="4491"/>
                    <a:pt x="3782" y="4498"/>
                    <a:pt x="3755" y="4512"/>
                  </a:cubicBezTo>
                  <a:cubicBezTo>
                    <a:pt x="3728" y="4526"/>
                    <a:pt x="3707" y="4546"/>
                    <a:pt x="3691" y="4573"/>
                  </a:cubicBezTo>
                  <a:cubicBezTo>
                    <a:pt x="3676" y="4599"/>
                    <a:pt x="3669" y="4628"/>
                    <a:pt x="3669" y="4662"/>
                  </a:cubicBezTo>
                  <a:cubicBezTo>
                    <a:pt x="3669" y="4695"/>
                    <a:pt x="3676" y="4725"/>
                    <a:pt x="3691" y="4751"/>
                  </a:cubicBezTo>
                  <a:cubicBezTo>
                    <a:pt x="3707" y="4777"/>
                    <a:pt x="3728" y="4797"/>
                    <a:pt x="3755" y="4812"/>
                  </a:cubicBezTo>
                  <a:cubicBezTo>
                    <a:pt x="3782" y="4827"/>
                    <a:pt x="3812" y="4834"/>
                    <a:pt x="3846" y="4834"/>
                  </a:cubicBezTo>
                  <a:cubicBezTo>
                    <a:pt x="3880" y="4834"/>
                    <a:pt x="3911" y="4827"/>
                    <a:pt x="3939" y="4812"/>
                  </a:cubicBezTo>
                  <a:moveTo>
                    <a:pt x="4087" y="4439"/>
                  </a:moveTo>
                  <a:lnTo>
                    <a:pt x="4087" y="4851"/>
                  </a:lnTo>
                  <a:cubicBezTo>
                    <a:pt x="4087" y="4930"/>
                    <a:pt x="4067" y="4990"/>
                    <a:pt x="4028" y="5028"/>
                  </a:cubicBezTo>
                  <a:cubicBezTo>
                    <a:pt x="3989" y="5066"/>
                    <a:pt x="3930" y="5085"/>
                    <a:pt x="3852" y="5085"/>
                  </a:cubicBezTo>
                  <a:cubicBezTo>
                    <a:pt x="3808" y="5085"/>
                    <a:pt x="3767" y="5079"/>
                    <a:pt x="3728" y="5066"/>
                  </a:cubicBezTo>
                  <a:cubicBezTo>
                    <a:pt x="3689" y="5053"/>
                    <a:pt x="3657" y="5036"/>
                    <a:pt x="3633" y="5013"/>
                  </a:cubicBezTo>
                  <a:lnTo>
                    <a:pt x="3665" y="4965"/>
                  </a:lnTo>
                  <a:cubicBezTo>
                    <a:pt x="3688" y="4985"/>
                    <a:pt x="3715" y="5001"/>
                    <a:pt x="3748" y="5012"/>
                  </a:cubicBezTo>
                  <a:cubicBezTo>
                    <a:pt x="3780" y="5024"/>
                    <a:pt x="3814" y="5029"/>
                    <a:pt x="3850" y="5029"/>
                  </a:cubicBezTo>
                  <a:cubicBezTo>
                    <a:pt x="3910" y="5029"/>
                    <a:pt x="3953" y="5015"/>
                    <a:pt x="3981" y="4988"/>
                  </a:cubicBezTo>
                  <a:cubicBezTo>
                    <a:pt x="4009" y="4960"/>
                    <a:pt x="4023" y="4917"/>
                    <a:pt x="4023" y="4859"/>
                  </a:cubicBezTo>
                  <a:lnTo>
                    <a:pt x="4023" y="4799"/>
                  </a:lnTo>
                  <a:cubicBezTo>
                    <a:pt x="4004" y="4829"/>
                    <a:pt x="3978" y="4851"/>
                    <a:pt x="3946" y="4867"/>
                  </a:cubicBezTo>
                  <a:cubicBezTo>
                    <a:pt x="3914" y="4882"/>
                    <a:pt x="3879" y="4890"/>
                    <a:pt x="3840" y="4890"/>
                  </a:cubicBezTo>
                  <a:cubicBezTo>
                    <a:pt x="3796" y="4890"/>
                    <a:pt x="3756" y="4880"/>
                    <a:pt x="3720" y="4861"/>
                  </a:cubicBezTo>
                  <a:cubicBezTo>
                    <a:pt x="3684" y="4842"/>
                    <a:pt x="3656" y="4815"/>
                    <a:pt x="3635" y="4780"/>
                  </a:cubicBezTo>
                  <a:cubicBezTo>
                    <a:pt x="3614" y="4745"/>
                    <a:pt x="3604" y="4706"/>
                    <a:pt x="3604" y="4662"/>
                  </a:cubicBezTo>
                  <a:cubicBezTo>
                    <a:pt x="3604" y="4618"/>
                    <a:pt x="3614" y="4578"/>
                    <a:pt x="3635" y="4544"/>
                  </a:cubicBezTo>
                  <a:cubicBezTo>
                    <a:pt x="3656" y="4510"/>
                    <a:pt x="3684" y="4483"/>
                    <a:pt x="3719" y="4464"/>
                  </a:cubicBezTo>
                  <a:cubicBezTo>
                    <a:pt x="3755" y="4445"/>
                    <a:pt x="3795" y="4435"/>
                    <a:pt x="3840" y="4435"/>
                  </a:cubicBezTo>
                  <a:cubicBezTo>
                    <a:pt x="3880" y="4435"/>
                    <a:pt x="3916" y="4443"/>
                    <a:pt x="3948" y="4459"/>
                  </a:cubicBezTo>
                  <a:cubicBezTo>
                    <a:pt x="3981" y="4475"/>
                    <a:pt x="4006" y="4499"/>
                    <a:pt x="4026" y="4529"/>
                  </a:cubicBezTo>
                  <a:lnTo>
                    <a:pt x="4026" y="4439"/>
                  </a:lnTo>
                  <a:lnTo>
                    <a:pt x="4087" y="4439"/>
                  </a:lnTo>
                  <a:close/>
                  <a:moveTo>
                    <a:pt x="3453" y="4487"/>
                  </a:moveTo>
                  <a:cubicBezTo>
                    <a:pt x="3487" y="4521"/>
                    <a:pt x="3505" y="4570"/>
                    <a:pt x="3505" y="4636"/>
                  </a:cubicBezTo>
                  <a:lnTo>
                    <a:pt x="3505" y="4908"/>
                  </a:lnTo>
                  <a:lnTo>
                    <a:pt x="3441" y="4908"/>
                  </a:lnTo>
                  <a:lnTo>
                    <a:pt x="3441" y="4642"/>
                  </a:lnTo>
                  <a:cubicBezTo>
                    <a:pt x="3441" y="4593"/>
                    <a:pt x="3429" y="4556"/>
                    <a:pt x="3405" y="4531"/>
                  </a:cubicBezTo>
                  <a:cubicBezTo>
                    <a:pt x="3380" y="4505"/>
                    <a:pt x="3345" y="4492"/>
                    <a:pt x="3300" y="4492"/>
                  </a:cubicBezTo>
                  <a:cubicBezTo>
                    <a:pt x="3249" y="4492"/>
                    <a:pt x="3209" y="4507"/>
                    <a:pt x="3180" y="4537"/>
                  </a:cubicBezTo>
                  <a:cubicBezTo>
                    <a:pt x="3150" y="4567"/>
                    <a:pt x="3136" y="4609"/>
                    <a:pt x="3136" y="4662"/>
                  </a:cubicBezTo>
                  <a:lnTo>
                    <a:pt x="3136" y="4908"/>
                  </a:lnTo>
                  <a:lnTo>
                    <a:pt x="3072" y="4908"/>
                  </a:lnTo>
                  <a:lnTo>
                    <a:pt x="3072" y="4439"/>
                  </a:lnTo>
                  <a:lnTo>
                    <a:pt x="3133" y="4439"/>
                  </a:lnTo>
                  <a:lnTo>
                    <a:pt x="3133" y="4525"/>
                  </a:lnTo>
                  <a:cubicBezTo>
                    <a:pt x="3150" y="4497"/>
                    <a:pt x="3174" y="4475"/>
                    <a:pt x="3205" y="4459"/>
                  </a:cubicBezTo>
                  <a:cubicBezTo>
                    <a:pt x="3236" y="4443"/>
                    <a:pt x="3271" y="4435"/>
                    <a:pt x="3312" y="4435"/>
                  </a:cubicBezTo>
                  <a:cubicBezTo>
                    <a:pt x="3371" y="4435"/>
                    <a:pt x="3418" y="4452"/>
                    <a:pt x="3453" y="4487"/>
                  </a:cubicBezTo>
                  <a:close/>
                  <a:moveTo>
                    <a:pt x="2858" y="4439"/>
                  </a:moveTo>
                  <a:lnTo>
                    <a:pt x="2922" y="4439"/>
                  </a:lnTo>
                  <a:lnTo>
                    <a:pt x="2922" y="4908"/>
                  </a:lnTo>
                  <a:lnTo>
                    <a:pt x="2858" y="4908"/>
                  </a:lnTo>
                  <a:lnTo>
                    <a:pt x="2858" y="4439"/>
                  </a:lnTo>
                  <a:close/>
                  <a:moveTo>
                    <a:pt x="2858" y="4323"/>
                  </a:moveTo>
                  <a:cubicBezTo>
                    <a:pt x="2849" y="4314"/>
                    <a:pt x="2844" y="4303"/>
                    <a:pt x="2844" y="4291"/>
                  </a:cubicBezTo>
                  <a:cubicBezTo>
                    <a:pt x="2844" y="4279"/>
                    <a:pt x="2849" y="4268"/>
                    <a:pt x="2858" y="4260"/>
                  </a:cubicBezTo>
                  <a:cubicBezTo>
                    <a:pt x="2867" y="4251"/>
                    <a:pt x="2878" y="4246"/>
                    <a:pt x="2891" y="4246"/>
                  </a:cubicBezTo>
                  <a:cubicBezTo>
                    <a:pt x="2904" y="4246"/>
                    <a:pt x="2915" y="4250"/>
                    <a:pt x="2924" y="4259"/>
                  </a:cubicBezTo>
                  <a:cubicBezTo>
                    <a:pt x="2933" y="4268"/>
                    <a:pt x="2937" y="4278"/>
                    <a:pt x="2937" y="4290"/>
                  </a:cubicBezTo>
                  <a:cubicBezTo>
                    <a:pt x="2937" y="4303"/>
                    <a:pt x="2933" y="4314"/>
                    <a:pt x="2924" y="4323"/>
                  </a:cubicBezTo>
                  <a:cubicBezTo>
                    <a:pt x="2915" y="4332"/>
                    <a:pt x="2904" y="4336"/>
                    <a:pt x="2891" y="4336"/>
                  </a:cubicBezTo>
                  <a:cubicBezTo>
                    <a:pt x="2878" y="4336"/>
                    <a:pt x="2867" y="4332"/>
                    <a:pt x="2858" y="4323"/>
                  </a:cubicBezTo>
                  <a:close/>
                  <a:moveTo>
                    <a:pt x="2643" y="4459"/>
                  </a:moveTo>
                  <a:cubicBezTo>
                    <a:pt x="2673" y="4443"/>
                    <a:pt x="2710" y="4435"/>
                    <a:pt x="2753" y="4435"/>
                  </a:cubicBezTo>
                  <a:lnTo>
                    <a:pt x="2753" y="4497"/>
                  </a:lnTo>
                  <a:lnTo>
                    <a:pt x="2738" y="4496"/>
                  </a:lnTo>
                  <a:cubicBezTo>
                    <a:pt x="2688" y="4496"/>
                    <a:pt x="2650" y="4511"/>
                    <a:pt x="2622" y="4541"/>
                  </a:cubicBezTo>
                  <a:cubicBezTo>
                    <a:pt x="2594" y="4572"/>
                    <a:pt x="2580" y="4614"/>
                    <a:pt x="2580" y="4669"/>
                  </a:cubicBezTo>
                  <a:lnTo>
                    <a:pt x="2580" y="4908"/>
                  </a:lnTo>
                  <a:lnTo>
                    <a:pt x="2516" y="4908"/>
                  </a:lnTo>
                  <a:lnTo>
                    <a:pt x="2516" y="4439"/>
                  </a:lnTo>
                  <a:lnTo>
                    <a:pt x="2577" y="4439"/>
                  </a:lnTo>
                  <a:lnTo>
                    <a:pt x="2577" y="4531"/>
                  </a:lnTo>
                  <a:cubicBezTo>
                    <a:pt x="2592" y="4499"/>
                    <a:pt x="2614" y="4475"/>
                    <a:pt x="2643" y="4459"/>
                  </a:cubicBezTo>
                  <a:close/>
                  <a:moveTo>
                    <a:pt x="2053" y="4533"/>
                  </a:moveTo>
                  <a:cubicBezTo>
                    <a:pt x="2023" y="4562"/>
                    <a:pt x="2005" y="4599"/>
                    <a:pt x="2001" y="4646"/>
                  </a:cubicBezTo>
                  <a:lnTo>
                    <a:pt x="2335" y="4646"/>
                  </a:lnTo>
                  <a:cubicBezTo>
                    <a:pt x="2330" y="4599"/>
                    <a:pt x="2313" y="4562"/>
                    <a:pt x="2282" y="4533"/>
                  </a:cubicBezTo>
                  <a:cubicBezTo>
                    <a:pt x="2252" y="4504"/>
                    <a:pt x="2213" y="4490"/>
                    <a:pt x="2167" y="4490"/>
                  </a:cubicBezTo>
                  <a:cubicBezTo>
                    <a:pt x="2122" y="4490"/>
                    <a:pt x="2084" y="4504"/>
                    <a:pt x="2053" y="4533"/>
                  </a:cubicBezTo>
                  <a:close/>
                  <a:moveTo>
                    <a:pt x="2395" y="4693"/>
                  </a:moveTo>
                  <a:lnTo>
                    <a:pt x="2001" y="4693"/>
                  </a:lnTo>
                  <a:cubicBezTo>
                    <a:pt x="2005" y="4742"/>
                    <a:pt x="2023" y="4781"/>
                    <a:pt x="2057" y="4811"/>
                  </a:cubicBezTo>
                  <a:cubicBezTo>
                    <a:pt x="2091" y="4841"/>
                    <a:pt x="2134" y="4856"/>
                    <a:pt x="2186" y="4856"/>
                  </a:cubicBezTo>
                  <a:cubicBezTo>
                    <a:pt x="2215" y="4856"/>
                    <a:pt x="2242" y="4851"/>
                    <a:pt x="2267" y="4841"/>
                  </a:cubicBezTo>
                  <a:cubicBezTo>
                    <a:pt x="2291" y="4830"/>
                    <a:pt x="2312" y="4815"/>
                    <a:pt x="2330" y="4795"/>
                  </a:cubicBezTo>
                  <a:lnTo>
                    <a:pt x="2366" y="4836"/>
                  </a:lnTo>
                  <a:cubicBezTo>
                    <a:pt x="2345" y="4861"/>
                    <a:pt x="2319" y="4880"/>
                    <a:pt x="2288" y="4893"/>
                  </a:cubicBezTo>
                  <a:cubicBezTo>
                    <a:pt x="2256" y="4906"/>
                    <a:pt x="2222" y="4912"/>
                    <a:pt x="2184" y="4912"/>
                  </a:cubicBezTo>
                  <a:cubicBezTo>
                    <a:pt x="2136" y="4912"/>
                    <a:pt x="2093" y="4902"/>
                    <a:pt x="2056" y="4882"/>
                  </a:cubicBezTo>
                  <a:cubicBezTo>
                    <a:pt x="2019" y="4861"/>
                    <a:pt x="1990" y="4833"/>
                    <a:pt x="1969" y="4796"/>
                  </a:cubicBezTo>
                  <a:cubicBezTo>
                    <a:pt x="1948" y="4760"/>
                    <a:pt x="1938" y="4719"/>
                    <a:pt x="1938" y="4673"/>
                  </a:cubicBezTo>
                  <a:cubicBezTo>
                    <a:pt x="1938" y="4628"/>
                    <a:pt x="1948" y="4587"/>
                    <a:pt x="1968" y="4550"/>
                  </a:cubicBezTo>
                  <a:cubicBezTo>
                    <a:pt x="1988" y="4514"/>
                    <a:pt x="2015" y="4486"/>
                    <a:pt x="2050" y="4466"/>
                  </a:cubicBezTo>
                  <a:cubicBezTo>
                    <a:pt x="2085" y="4445"/>
                    <a:pt x="2124" y="4435"/>
                    <a:pt x="2167" y="4435"/>
                  </a:cubicBezTo>
                  <a:cubicBezTo>
                    <a:pt x="2211" y="4435"/>
                    <a:pt x="2250" y="4445"/>
                    <a:pt x="2285" y="4466"/>
                  </a:cubicBezTo>
                  <a:cubicBezTo>
                    <a:pt x="2319" y="4486"/>
                    <a:pt x="2346" y="4514"/>
                    <a:pt x="2366" y="4550"/>
                  </a:cubicBezTo>
                  <a:cubicBezTo>
                    <a:pt x="2386" y="4586"/>
                    <a:pt x="2395" y="4627"/>
                    <a:pt x="2395" y="4673"/>
                  </a:cubicBezTo>
                  <a:lnTo>
                    <a:pt x="2395" y="4693"/>
                  </a:lnTo>
                  <a:close/>
                  <a:moveTo>
                    <a:pt x="1912" y="4439"/>
                  </a:moveTo>
                  <a:lnTo>
                    <a:pt x="1734" y="4908"/>
                  </a:lnTo>
                  <a:lnTo>
                    <a:pt x="1674" y="4908"/>
                  </a:lnTo>
                  <a:lnTo>
                    <a:pt x="1525" y="4524"/>
                  </a:lnTo>
                  <a:lnTo>
                    <a:pt x="1377" y="4908"/>
                  </a:lnTo>
                  <a:lnTo>
                    <a:pt x="1317" y="4908"/>
                  </a:lnTo>
                  <a:lnTo>
                    <a:pt x="1140" y="4439"/>
                  </a:lnTo>
                  <a:lnTo>
                    <a:pt x="1201" y="4439"/>
                  </a:lnTo>
                  <a:lnTo>
                    <a:pt x="1348" y="4837"/>
                  </a:lnTo>
                  <a:lnTo>
                    <a:pt x="1500" y="4439"/>
                  </a:lnTo>
                  <a:lnTo>
                    <a:pt x="1554" y="4439"/>
                  </a:lnTo>
                  <a:lnTo>
                    <a:pt x="1704" y="4837"/>
                  </a:lnTo>
                  <a:lnTo>
                    <a:pt x="1854" y="4439"/>
                  </a:lnTo>
                  <a:lnTo>
                    <a:pt x="1912" y="4439"/>
                  </a:lnTo>
                  <a:close/>
                  <a:moveTo>
                    <a:pt x="965" y="4833"/>
                  </a:moveTo>
                  <a:cubicBezTo>
                    <a:pt x="992" y="4818"/>
                    <a:pt x="1013" y="4797"/>
                    <a:pt x="1027" y="4769"/>
                  </a:cubicBezTo>
                  <a:cubicBezTo>
                    <a:pt x="1042" y="4741"/>
                    <a:pt x="1050" y="4709"/>
                    <a:pt x="1050" y="4673"/>
                  </a:cubicBezTo>
                  <a:cubicBezTo>
                    <a:pt x="1050" y="4638"/>
                    <a:pt x="1042" y="4606"/>
                    <a:pt x="1027" y="4578"/>
                  </a:cubicBezTo>
                  <a:cubicBezTo>
                    <a:pt x="1013" y="4550"/>
                    <a:pt x="992" y="4528"/>
                    <a:pt x="965" y="4513"/>
                  </a:cubicBezTo>
                  <a:cubicBezTo>
                    <a:pt x="939" y="4498"/>
                    <a:pt x="909" y="4491"/>
                    <a:pt x="875" y="4491"/>
                  </a:cubicBezTo>
                  <a:cubicBezTo>
                    <a:pt x="842" y="4491"/>
                    <a:pt x="812" y="4498"/>
                    <a:pt x="786" y="4513"/>
                  </a:cubicBezTo>
                  <a:cubicBezTo>
                    <a:pt x="759" y="4528"/>
                    <a:pt x="738" y="4550"/>
                    <a:pt x="723" y="4578"/>
                  </a:cubicBezTo>
                  <a:cubicBezTo>
                    <a:pt x="708" y="4606"/>
                    <a:pt x="700" y="4638"/>
                    <a:pt x="700" y="4673"/>
                  </a:cubicBezTo>
                  <a:cubicBezTo>
                    <a:pt x="700" y="4709"/>
                    <a:pt x="708" y="4741"/>
                    <a:pt x="723" y="4769"/>
                  </a:cubicBezTo>
                  <a:cubicBezTo>
                    <a:pt x="738" y="4797"/>
                    <a:pt x="759" y="4818"/>
                    <a:pt x="786" y="4833"/>
                  </a:cubicBezTo>
                  <a:cubicBezTo>
                    <a:pt x="812" y="4849"/>
                    <a:pt x="842" y="4856"/>
                    <a:pt x="875" y="4856"/>
                  </a:cubicBezTo>
                  <a:cubicBezTo>
                    <a:pt x="909" y="4856"/>
                    <a:pt x="939" y="4849"/>
                    <a:pt x="965" y="4833"/>
                  </a:cubicBezTo>
                  <a:close/>
                  <a:moveTo>
                    <a:pt x="753" y="4882"/>
                  </a:moveTo>
                  <a:cubicBezTo>
                    <a:pt x="717" y="4861"/>
                    <a:pt x="688" y="4833"/>
                    <a:pt x="667" y="4796"/>
                  </a:cubicBezTo>
                  <a:cubicBezTo>
                    <a:pt x="646" y="4760"/>
                    <a:pt x="636" y="4719"/>
                    <a:pt x="636" y="4673"/>
                  </a:cubicBezTo>
                  <a:cubicBezTo>
                    <a:pt x="636" y="4628"/>
                    <a:pt x="646" y="4587"/>
                    <a:pt x="667" y="4550"/>
                  </a:cubicBezTo>
                  <a:cubicBezTo>
                    <a:pt x="688" y="4514"/>
                    <a:pt x="717" y="4486"/>
                    <a:pt x="753" y="4466"/>
                  </a:cubicBezTo>
                  <a:cubicBezTo>
                    <a:pt x="789" y="4445"/>
                    <a:pt x="830" y="4435"/>
                    <a:pt x="875" y="4435"/>
                  </a:cubicBezTo>
                  <a:cubicBezTo>
                    <a:pt x="921" y="4435"/>
                    <a:pt x="962" y="4445"/>
                    <a:pt x="998" y="4466"/>
                  </a:cubicBezTo>
                  <a:cubicBezTo>
                    <a:pt x="1034" y="4486"/>
                    <a:pt x="1063" y="4514"/>
                    <a:pt x="1083" y="4550"/>
                  </a:cubicBezTo>
                  <a:cubicBezTo>
                    <a:pt x="1104" y="4587"/>
                    <a:pt x="1114" y="4628"/>
                    <a:pt x="1114" y="4673"/>
                  </a:cubicBezTo>
                  <a:cubicBezTo>
                    <a:pt x="1114" y="4719"/>
                    <a:pt x="1104" y="4760"/>
                    <a:pt x="1083" y="4796"/>
                  </a:cubicBezTo>
                  <a:cubicBezTo>
                    <a:pt x="1063" y="4833"/>
                    <a:pt x="1034" y="4861"/>
                    <a:pt x="998" y="4882"/>
                  </a:cubicBezTo>
                  <a:cubicBezTo>
                    <a:pt x="962" y="4902"/>
                    <a:pt x="921" y="4912"/>
                    <a:pt x="875" y="4912"/>
                  </a:cubicBezTo>
                  <a:cubicBezTo>
                    <a:pt x="830" y="4912"/>
                    <a:pt x="789" y="4902"/>
                    <a:pt x="753" y="4882"/>
                  </a:cubicBezTo>
                  <a:close/>
                  <a:moveTo>
                    <a:pt x="468" y="4612"/>
                  </a:moveTo>
                  <a:cubicBezTo>
                    <a:pt x="501" y="4585"/>
                    <a:pt x="517" y="4547"/>
                    <a:pt x="517" y="4498"/>
                  </a:cubicBezTo>
                  <a:cubicBezTo>
                    <a:pt x="517" y="4447"/>
                    <a:pt x="501" y="4408"/>
                    <a:pt x="468" y="4381"/>
                  </a:cubicBezTo>
                  <a:cubicBezTo>
                    <a:pt x="435" y="4354"/>
                    <a:pt x="388" y="4341"/>
                    <a:pt x="326" y="4341"/>
                  </a:cubicBezTo>
                  <a:lnTo>
                    <a:pt x="159" y="4341"/>
                  </a:lnTo>
                  <a:lnTo>
                    <a:pt x="159" y="4653"/>
                  </a:lnTo>
                  <a:lnTo>
                    <a:pt x="326" y="4653"/>
                  </a:lnTo>
                  <a:cubicBezTo>
                    <a:pt x="388" y="4653"/>
                    <a:pt x="435" y="4639"/>
                    <a:pt x="468" y="4612"/>
                  </a:cubicBezTo>
                  <a:moveTo>
                    <a:pt x="515" y="4341"/>
                  </a:moveTo>
                  <a:cubicBezTo>
                    <a:pt x="560" y="4379"/>
                    <a:pt x="583" y="4431"/>
                    <a:pt x="583" y="4498"/>
                  </a:cubicBezTo>
                  <a:cubicBezTo>
                    <a:pt x="583" y="4564"/>
                    <a:pt x="560" y="4616"/>
                    <a:pt x="515" y="4654"/>
                  </a:cubicBezTo>
                  <a:cubicBezTo>
                    <a:pt x="470" y="4692"/>
                    <a:pt x="407" y="4711"/>
                    <a:pt x="327" y="4711"/>
                  </a:cubicBezTo>
                  <a:lnTo>
                    <a:pt x="159" y="4711"/>
                  </a:lnTo>
                  <a:lnTo>
                    <a:pt x="159" y="4908"/>
                  </a:lnTo>
                  <a:lnTo>
                    <a:pt x="93" y="4908"/>
                  </a:lnTo>
                  <a:lnTo>
                    <a:pt x="93" y="4284"/>
                  </a:lnTo>
                  <a:lnTo>
                    <a:pt x="327" y="4284"/>
                  </a:lnTo>
                  <a:cubicBezTo>
                    <a:pt x="407" y="4284"/>
                    <a:pt x="470" y="4303"/>
                    <a:pt x="515" y="4341"/>
                  </a:cubicBezTo>
                  <a:close/>
                </a:path>
              </a:pathLst>
            </a:custGeom>
            <a:solidFill>
              <a:srgbClr val="112F64"/>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 name="Freeform 6">
              <a:extLst>
                <a:ext uri="{FF2B5EF4-FFF2-40B4-BE49-F238E27FC236}">
                  <a16:creationId xmlns:a16="http://schemas.microsoft.com/office/drawing/2014/main" id="{737D5364-EB18-4378-BBA3-005BF465AB27}"/>
                </a:ext>
              </a:extLst>
            </p:cNvPr>
            <p:cNvSpPr>
              <a:spLocks noEditPoints="1"/>
            </p:cNvSpPr>
            <p:nvPr userDrawn="1"/>
          </p:nvSpPr>
          <p:spPr bwMode="auto">
            <a:xfrm>
              <a:off x="1481" y="1882"/>
              <a:ext cx="4755" cy="713"/>
            </a:xfrm>
            <a:custGeom>
              <a:avLst/>
              <a:gdLst>
                <a:gd name="T0" fmla="*/ 9402 w 9905"/>
                <a:gd name="T1" fmla="*/ 1485 h 1485"/>
                <a:gd name="T2" fmla="*/ 9609 w 9905"/>
                <a:gd name="T3" fmla="*/ 673 h 1485"/>
                <a:gd name="T4" fmla="*/ 9235 w 9905"/>
                <a:gd name="T5" fmla="*/ 387 h 1485"/>
                <a:gd name="T6" fmla="*/ 9645 w 9905"/>
                <a:gd name="T7" fmla="*/ 272 h 1485"/>
                <a:gd name="T8" fmla="*/ 9852 w 9905"/>
                <a:gd name="T9" fmla="*/ 188 h 1485"/>
                <a:gd name="T10" fmla="*/ 9440 w 9905"/>
                <a:gd name="T11" fmla="*/ 0 h 1485"/>
                <a:gd name="T12" fmla="*/ 9297 w 9905"/>
                <a:gd name="T13" fmla="*/ 792 h 1485"/>
                <a:gd name="T14" fmla="*/ 9655 w 9905"/>
                <a:gd name="T15" fmla="*/ 1077 h 1485"/>
                <a:gd name="T16" fmla="*/ 9102 w 9905"/>
                <a:gd name="T17" fmla="*/ 1105 h 1485"/>
                <a:gd name="T18" fmla="*/ 7727 w 9905"/>
                <a:gd name="T19" fmla="*/ 1267 h 1485"/>
                <a:gd name="T20" fmla="*/ 8704 w 9905"/>
                <a:gd name="T21" fmla="*/ 1072 h 1485"/>
                <a:gd name="T22" fmla="*/ 8168 w 9905"/>
                <a:gd name="T23" fmla="*/ 558 h 1485"/>
                <a:gd name="T24" fmla="*/ 8252 w 9905"/>
                <a:gd name="T25" fmla="*/ 227 h 1485"/>
                <a:gd name="T26" fmla="*/ 8543 w 9905"/>
                <a:gd name="T27" fmla="*/ 300 h 1485"/>
                <a:gd name="T28" fmla="*/ 8567 w 9905"/>
                <a:gd name="T29" fmla="*/ 73 h 1485"/>
                <a:gd name="T30" fmla="*/ 7785 w 9905"/>
                <a:gd name="T31" fmla="*/ 395 h 1485"/>
                <a:gd name="T32" fmla="*/ 8292 w 9905"/>
                <a:gd name="T33" fmla="*/ 885 h 1485"/>
                <a:gd name="T34" fmla="*/ 8225 w 9905"/>
                <a:gd name="T35" fmla="*/ 1257 h 1485"/>
                <a:gd name="T36" fmla="*/ 7727 w 9905"/>
                <a:gd name="T37" fmla="*/ 1267 h 1485"/>
                <a:gd name="T38" fmla="*/ 3354 w 9905"/>
                <a:gd name="T39" fmla="*/ 1485 h 1485"/>
                <a:gd name="T40" fmla="*/ 3560 w 9905"/>
                <a:gd name="T41" fmla="*/ 673 h 1485"/>
                <a:gd name="T42" fmla="*/ 3187 w 9905"/>
                <a:gd name="T43" fmla="*/ 387 h 1485"/>
                <a:gd name="T44" fmla="*/ 3597 w 9905"/>
                <a:gd name="T45" fmla="*/ 272 h 1485"/>
                <a:gd name="T46" fmla="*/ 3805 w 9905"/>
                <a:gd name="T47" fmla="*/ 188 h 1485"/>
                <a:gd name="T48" fmla="*/ 3393 w 9905"/>
                <a:gd name="T49" fmla="*/ 0 h 1485"/>
                <a:gd name="T50" fmla="*/ 3250 w 9905"/>
                <a:gd name="T51" fmla="*/ 792 h 1485"/>
                <a:gd name="T52" fmla="*/ 3609 w 9905"/>
                <a:gd name="T53" fmla="*/ 1077 h 1485"/>
                <a:gd name="T54" fmla="*/ 3055 w 9905"/>
                <a:gd name="T55" fmla="*/ 1105 h 1485"/>
                <a:gd name="T56" fmla="*/ 5023 w 9905"/>
                <a:gd name="T57" fmla="*/ 0 h 1485"/>
                <a:gd name="T58" fmla="*/ 4905 w 9905"/>
                <a:gd name="T59" fmla="*/ 1370 h 1485"/>
                <a:gd name="T60" fmla="*/ 5140 w 9905"/>
                <a:gd name="T61" fmla="*/ 1370 h 1485"/>
                <a:gd name="T62" fmla="*/ 5868 w 9905"/>
                <a:gd name="T63" fmla="*/ 1395 h 1485"/>
                <a:gd name="T64" fmla="*/ 6117 w 9905"/>
                <a:gd name="T65" fmla="*/ 1372 h 1485"/>
                <a:gd name="T66" fmla="*/ 5884 w 9905"/>
                <a:gd name="T67" fmla="*/ 10 h 1485"/>
                <a:gd name="T68" fmla="*/ 5152 w 9905"/>
                <a:gd name="T69" fmla="*/ 88 h 1485"/>
                <a:gd name="T70" fmla="*/ 882 w 9905"/>
                <a:gd name="T71" fmla="*/ 682 h 1485"/>
                <a:gd name="T72" fmla="*/ 652 w 9905"/>
                <a:gd name="T73" fmla="*/ 1475 h 1485"/>
                <a:gd name="T74" fmla="*/ 0 w 9905"/>
                <a:gd name="T75" fmla="*/ 122 h 1485"/>
                <a:gd name="T76" fmla="*/ 622 w 9905"/>
                <a:gd name="T77" fmla="*/ 7 h 1485"/>
                <a:gd name="T78" fmla="*/ 882 w 9905"/>
                <a:gd name="T79" fmla="*/ 682 h 1485"/>
                <a:gd name="T80" fmla="*/ 592 w 9905"/>
                <a:gd name="T81" fmla="*/ 595 h 1485"/>
                <a:gd name="T82" fmla="*/ 592 w 9905"/>
                <a:gd name="T83" fmla="*/ 238 h 1485"/>
                <a:gd name="T84" fmla="*/ 237 w 9905"/>
                <a:gd name="T85" fmla="*/ 595 h 1485"/>
                <a:gd name="T86" fmla="*/ 859 w 9905"/>
                <a:gd name="T87" fmla="*/ 1032 h 1485"/>
                <a:gd name="T88" fmla="*/ 237 w 9905"/>
                <a:gd name="T89" fmla="*/ 812 h 1485"/>
                <a:gd name="T90" fmla="*/ 607 w 9905"/>
                <a:gd name="T91" fmla="*/ 1250 h 1485"/>
                <a:gd name="T92" fmla="*/ 7492 w 9905"/>
                <a:gd name="T93" fmla="*/ 125 h 1485"/>
                <a:gd name="T94" fmla="*/ 6642 w 9905"/>
                <a:gd name="T95" fmla="*/ 10 h 1485"/>
                <a:gd name="T96" fmla="*/ 6527 w 9905"/>
                <a:gd name="T97" fmla="*/ 1365 h 1485"/>
                <a:gd name="T98" fmla="*/ 7484 w 9905"/>
                <a:gd name="T99" fmla="*/ 1478 h 1485"/>
                <a:gd name="T100" fmla="*/ 6764 w 9905"/>
                <a:gd name="T101" fmla="*/ 1248 h 1485"/>
                <a:gd name="T102" fmla="*/ 7307 w 9905"/>
                <a:gd name="T103" fmla="*/ 822 h 1485"/>
                <a:gd name="T104" fmla="*/ 7307 w 9905"/>
                <a:gd name="T105" fmla="*/ 592 h 1485"/>
                <a:gd name="T106" fmla="*/ 6764 w 9905"/>
                <a:gd name="T107" fmla="*/ 240 h 1485"/>
                <a:gd name="T108" fmla="*/ 1635 w 9905"/>
                <a:gd name="T109" fmla="*/ 893 h 1485"/>
                <a:gd name="T110" fmla="*/ 1517 w 9905"/>
                <a:gd name="T111" fmla="*/ 0 h 1485"/>
                <a:gd name="T112" fmla="*/ 1399 w 9905"/>
                <a:gd name="T113" fmla="*/ 885 h 1485"/>
                <a:gd name="T114" fmla="*/ 2605 w 9905"/>
                <a:gd name="T115" fmla="*/ 885 h 1485"/>
                <a:gd name="T116" fmla="*/ 2367 w 9905"/>
                <a:gd name="T117" fmla="*/ 7 h 1485"/>
                <a:gd name="T118" fmla="*/ 2002 w 9905"/>
                <a:gd name="T119" fmla="*/ 1260 h 1485"/>
                <a:gd name="T120" fmla="*/ 4320 w 9905"/>
                <a:gd name="T121" fmla="*/ 0 h 1485"/>
                <a:gd name="T122" fmla="*/ 4439 w 9905"/>
                <a:gd name="T123" fmla="*/ 1477 h 1485"/>
                <a:gd name="T124" fmla="*/ 4202 w 9905"/>
                <a:gd name="T125" fmla="*/ 115 h 1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905" h="1485">
                  <a:moveTo>
                    <a:pt x="8929" y="1267"/>
                  </a:moveTo>
                  <a:cubicBezTo>
                    <a:pt x="8959" y="1305"/>
                    <a:pt x="9097" y="1485"/>
                    <a:pt x="9402" y="1485"/>
                  </a:cubicBezTo>
                  <a:cubicBezTo>
                    <a:pt x="9700" y="1485"/>
                    <a:pt x="9905" y="1313"/>
                    <a:pt x="9905" y="1072"/>
                  </a:cubicBezTo>
                  <a:cubicBezTo>
                    <a:pt x="9905" y="913"/>
                    <a:pt x="9842" y="787"/>
                    <a:pt x="9609" y="673"/>
                  </a:cubicBezTo>
                  <a:cubicBezTo>
                    <a:pt x="9545" y="643"/>
                    <a:pt x="9368" y="558"/>
                    <a:pt x="9368" y="558"/>
                  </a:cubicBezTo>
                  <a:cubicBezTo>
                    <a:pt x="9277" y="513"/>
                    <a:pt x="9235" y="460"/>
                    <a:pt x="9235" y="387"/>
                  </a:cubicBezTo>
                  <a:cubicBezTo>
                    <a:pt x="9235" y="310"/>
                    <a:pt x="9298" y="227"/>
                    <a:pt x="9452" y="227"/>
                  </a:cubicBezTo>
                  <a:cubicBezTo>
                    <a:pt x="9540" y="227"/>
                    <a:pt x="9609" y="255"/>
                    <a:pt x="9645" y="272"/>
                  </a:cubicBezTo>
                  <a:cubicBezTo>
                    <a:pt x="9662" y="280"/>
                    <a:pt x="9704" y="300"/>
                    <a:pt x="9743" y="300"/>
                  </a:cubicBezTo>
                  <a:cubicBezTo>
                    <a:pt x="9795" y="300"/>
                    <a:pt x="9852" y="263"/>
                    <a:pt x="9852" y="188"/>
                  </a:cubicBezTo>
                  <a:cubicBezTo>
                    <a:pt x="9852" y="125"/>
                    <a:pt x="9807" y="92"/>
                    <a:pt x="9767" y="73"/>
                  </a:cubicBezTo>
                  <a:cubicBezTo>
                    <a:pt x="9704" y="43"/>
                    <a:pt x="9605" y="0"/>
                    <a:pt x="9440" y="0"/>
                  </a:cubicBezTo>
                  <a:cubicBezTo>
                    <a:pt x="9179" y="0"/>
                    <a:pt x="8985" y="165"/>
                    <a:pt x="8985" y="395"/>
                  </a:cubicBezTo>
                  <a:cubicBezTo>
                    <a:pt x="8985" y="605"/>
                    <a:pt x="9125" y="710"/>
                    <a:pt x="9297" y="792"/>
                  </a:cubicBezTo>
                  <a:cubicBezTo>
                    <a:pt x="9329" y="807"/>
                    <a:pt x="9455" y="868"/>
                    <a:pt x="9490" y="885"/>
                  </a:cubicBezTo>
                  <a:cubicBezTo>
                    <a:pt x="9598" y="937"/>
                    <a:pt x="9655" y="987"/>
                    <a:pt x="9655" y="1077"/>
                  </a:cubicBezTo>
                  <a:cubicBezTo>
                    <a:pt x="9655" y="1175"/>
                    <a:pt x="9564" y="1257"/>
                    <a:pt x="9425" y="1257"/>
                  </a:cubicBezTo>
                  <a:cubicBezTo>
                    <a:pt x="9227" y="1257"/>
                    <a:pt x="9120" y="1127"/>
                    <a:pt x="9102" y="1105"/>
                  </a:cubicBezTo>
                  <a:lnTo>
                    <a:pt x="8929" y="1267"/>
                  </a:lnTo>
                  <a:close/>
                  <a:moveTo>
                    <a:pt x="7727" y="1267"/>
                  </a:moveTo>
                  <a:cubicBezTo>
                    <a:pt x="7757" y="1305"/>
                    <a:pt x="7897" y="1485"/>
                    <a:pt x="8202" y="1485"/>
                  </a:cubicBezTo>
                  <a:cubicBezTo>
                    <a:pt x="8500" y="1485"/>
                    <a:pt x="8704" y="1313"/>
                    <a:pt x="8704" y="1072"/>
                  </a:cubicBezTo>
                  <a:cubicBezTo>
                    <a:pt x="8704" y="913"/>
                    <a:pt x="8642" y="787"/>
                    <a:pt x="8407" y="673"/>
                  </a:cubicBezTo>
                  <a:cubicBezTo>
                    <a:pt x="8345" y="643"/>
                    <a:pt x="8168" y="558"/>
                    <a:pt x="8168" y="558"/>
                  </a:cubicBezTo>
                  <a:cubicBezTo>
                    <a:pt x="8075" y="513"/>
                    <a:pt x="8034" y="460"/>
                    <a:pt x="8034" y="387"/>
                  </a:cubicBezTo>
                  <a:cubicBezTo>
                    <a:pt x="8034" y="310"/>
                    <a:pt x="8097" y="227"/>
                    <a:pt x="8252" y="227"/>
                  </a:cubicBezTo>
                  <a:cubicBezTo>
                    <a:pt x="8340" y="227"/>
                    <a:pt x="8407" y="255"/>
                    <a:pt x="8443" y="272"/>
                  </a:cubicBezTo>
                  <a:cubicBezTo>
                    <a:pt x="8462" y="280"/>
                    <a:pt x="8504" y="300"/>
                    <a:pt x="8543" y="300"/>
                  </a:cubicBezTo>
                  <a:cubicBezTo>
                    <a:pt x="8595" y="300"/>
                    <a:pt x="8652" y="263"/>
                    <a:pt x="8652" y="188"/>
                  </a:cubicBezTo>
                  <a:cubicBezTo>
                    <a:pt x="8652" y="125"/>
                    <a:pt x="8607" y="92"/>
                    <a:pt x="8567" y="73"/>
                  </a:cubicBezTo>
                  <a:cubicBezTo>
                    <a:pt x="8504" y="43"/>
                    <a:pt x="8404" y="0"/>
                    <a:pt x="8240" y="0"/>
                  </a:cubicBezTo>
                  <a:cubicBezTo>
                    <a:pt x="7979" y="0"/>
                    <a:pt x="7785" y="165"/>
                    <a:pt x="7785" y="395"/>
                  </a:cubicBezTo>
                  <a:cubicBezTo>
                    <a:pt x="7785" y="605"/>
                    <a:pt x="7927" y="710"/>
                    <a:pt x="8097" y="792"/>
                  </a:cubicBezTo>
                  <a:cubicBezTo>
                    <a:pt x="8130" y="807"/>
                    <a:pt x="8257" y="868"/>
                    <a:pt x="8292" y="885"/>
                  </a:cubicBezTo>
                  <a:cubicBezTo>
                    <a:pt x="8398" y="937"/>
                    <a:pt x="8455" y="987"/>
                    <a:pt x="8455" y="1077"/>
                  </a:cubicBezTo>
                  <a:cubicBezTo>
                    <a:pt x="8455" y="1175"/>
                    <a:pt x="8364" y="1257"/>
                    <a:pt x="8225" y="1257"/>
                  </a:cubicBezTo>
                  <a:cubicBezTo>
                    <a:pt x="8025" y="1257"/>
                    <a:pt x="7920" y="1127"/>
                    <a:pt x="7902" y="1105"/>
                  </a:cubicBezTo>
                  <a:lnTo>
                    <a:pt x="7727" y="1267"/>
                  </a:lnTo>
                  <a:close/>
                  <a:moveTo>
                    <a:pt x="2880" y="1267"/>
                  </a:moveTo>
                  <a:cubicBezTo>
                    <a:pt x="2910" y="1305"/>
                    <a:pt x="3049" y="1485"/>
                    <a:pt x="3354" y="1485"/>
                  </a:cubicBezTo>
                  <a:cubicBezTo>
                    <a:pt x="3654" y="1485"/>
                    <a:pt x="3857" y="1313"/>
                    <a:pt x="3857" y="1072"/>
                  </a:cubicBezTo>
                  <a:cubicBezTo>
                    <a:pt x="3857" y="913"/>
                    <a:pt x="3795" y="787"/>
                    <a:pt x="3560" y="673"/>
                  </a:cubicBezTo>
                  <a:cubicBezTo>
                    <a:pt x="3497" y="643"/>
                    <a:pt x="3322" y="558"/>
                    <a:pt x="3322" y="558"/>
                  </a:cubicBezTo>
                  <a:cubicBezTo>
                    <a:pt x="3229" y="513"/>
                    <a:pt x="3187" y="460"/>
                    <a:pt x="3187" y="387"/>
                  </a:cubicBezTo>
                  <a:cubicBezTo>
                    <a:pt x="3187" y="310"/>
                    <a:pt x="3250" y="227"/>
                    <a:pt x="3405" y="227"/>
                  </a:cubicBezTo>
                  <a:cubicBezTo>
                    <a:pt x="3493" y="227"/>
                    <a:pt x="3562" y="255"/>
                    <a:pt x="3597" y="272"/>
                  </a:cubicBezTo>
                  <a:cubicBezTo>
                    <a:pt x="3615" y="280"/>
                    <a:pt x="3657" y="300"/>
                    <a:pt x="3697" y="300"/>
                  </a:cubicBezTo>
                  <a:cubicBezTo>
                    <a:pt x="3749" y="300"/>
                    <a:pt x="3805" y="263"/>
                    <a:pt x="3805" y="188"/>
                  </a:cubicBezTo>
                  <a:cubicBezTo>
                    <a:pt x="3805" y="125"/>
                    <a:pt x="3760" y="92"/>
                    <a:pt x="3720" y="73"/>
                  </a:cubicBezTo>
                  <a:cubicBezTo>
                    <a:pt x="3657" y="43"/>
                    <a:pt x="3559" y="0"/>
                    <a:pt x="3393" y="0"/>
                  </a:cubicBezTo>
                  <a:cubicBezTo>
                    <a:pt x="3132" y="0"/>
                    <a:pt x="2939" y="165"/>
                    <a:pt x="2939" y="395"/>
                  </a:cubicBezTo>
                  <a:cubicBezTo>
                    <a:pt x="2939" y="605"/>
                    <a:pt x="3080" y="710"/>
                    <a:pt x="3250" y="792"/>
                  </a:cubicBezTo>
                  <a:cubicBezTo>
                    <a:pt x="3282" y="807"/>
                    <a:pt x="3409" y="868"/>
                    <a:pt x="3443" y="885"/>
                  </a:cubicBezTo>
                  <a:cubicBezTo>
                    <a:pt x="3552" y="937"/>
                    <a:pt x="3609" y="987"/>
                    <a:pt x="3609" y="1077"/>
                  </a:cubicBezTo>
                  <a:cubicBezTo>
                    <a:pt x="3609" y="1175"/>
                    <a:pt x="3517" y="1257"/>
                    <a:pt x="3379" y="1257"/>
                  </a:cubicBezTo>
                  <a:cubicBezTo>
                    <a:pt x="3180" y="1257"/>
                    <a:pt x="3074" y="1127"/>
                    <a:pt x="3055" y="1105"/>
                  </a:cubicBezTo>
                  <a:lnTo>
                    <a:pt x="2880" y="1267"/>
                  </a:lnTo>
                  <a:close/>
                  <a:moveTo>
                    <a:pt x="5023" y="0"/>
                  </a:moveTo>
                  <a:cubicBezTo>
                    <a:pt x="4952" y="0"/>
                    <a:pt x="4905" y="52"/>
                    <a:pt x="4905" y="113"/>
                  </a:cubicBezTo>
                  <a:lnTo>
                    <a:pt x="4905" y="1370"/>
                  </a:lnTo>
                  <a:cubicBezTo>
                    <a:pt x="4905" y="1433"/>
                    <a:pt x="4960" y="1483"/>
                    <a:pt x="5023" y="1483"/>
                  </a:cubicBezTo>
                  <a:cubicBezTo>
                    <a:pt x="5085" y="1483"/>
                    <a:pt x="5140" y="1433"/>
                    <a:pt x="5140" y="1370"/>
                  </a:cubicBezTo>
                  <a:lnTo>
                    <a:pt x="5140" y="463"/>
                  </a:lnTo>
                  <a:cubicBezTo>
                    <a:pt x="5140" y="463"/>
                    <a:pt x="5717" y="1200"/>
                    <a:pt x="5868" y="1395"/>
                  </a:cubicBezTo>
                  <a:cubicBezTo>
                    <a:pt x="5907" y="1443"/>
                    <a:pt x="5934" y="1485"/>
                    <a:pt x="6002" y="1485"/>
                  </a:cubicBezTo>
                  <a:cubicBezTo>
                    <a:pt x="6070" y="1485"/>
                    <a:pt x="6117" y="1435"/>
                    <a:pt x="6117" y="1372"/>
                  </a:cubicBezTo>
                  <a:lnTo>
                    <a:pt x="6117" y="10"/>
                  </a:lnTo>
                  <a:lnTo>
                    <a:pt x="5884" y="10"/>
                  </a:lnTo>
                  <a:lnTo>
                    <a:pt x="5884" y="1027"/>
                  </a:lnTo>
                  <a:cubicBezTo>
                    <a:pt x="5884" y="1027"/>
                    <a:pt x="5242" y="203"/>
                    <a:pt x="5152" y="88"/>
                  </a:cubicBezTo>
                  <a:cubicBezTo>
                    <a:pt x="5110" y="35"/>
                    <a:pt x="5079" y="0"/>
                    <a:pt x="5023" y="0"/>
                  </a:cubicBezTo>
                  <a:close/>
                  <a:moveTo>
                    <a:pt x="882" y="682"/>
                  </a:moveTo>
                  <a:cubicBezTo>
                    <a:pt x="924" y="702"/>
                    <a:pt x="1099" y="777"/>
                    <a:pt x="1099" y="1037"/>
                  </a:cubicBezTo>
                  <a:cubicBezTo>
                    <a:pt x="1099" y="1283"/>
                    <a:pt x="915" y="1475"/>
                    <a:pt x="652" y="1475"/>
                  </a:cubicBezTo>
                  <a:lnTo>
                    <a:pt x="0" y="1475"/>
                  </a:lnTo>
                  <a:lnTo>
                    <a:pt x="0" y="122"/>
                  </a:lnTo>
                  <a:cubicBezTo>
                    <a:pt x="0" y="53"/>
                    <a:pt x="47" y="7"/>
                    <a:pt x="115" y="7"/>
                  </a:cubicBezTo>
                  <a:lnTo>
                    <a:pt x="622" y="7"/>
                  </a:lnTo>
                  <a:cubicBezTo>
                    <a:pt x="868" y="7"/>
                    <a:pt x="1030" y="155"/>
                    <a:pt x="1030" y="380"/>
                  </a:cubicBezTo>
                  <a:cubicBezTo>
                    <a:pt x="1030" y="572"/>
                    <a:pt x="922" y="657"/>
                    <a:pt x="882" y="682"/>
                  </a:cubicBezTo>
                  <a:moveTo>
                    <a:pt x="237" y="595"/>
                  </a:moveTo>
                  <a:lnTo>
                    <a:pt x="592" y="595"/>
                  </a:lnTo>
                  <a:cubicBezTo>
                    <a:pt x="718" y="595"/>
                    <a:pt x="790" y="515"/>
                    <a:pt x="790" y="417"/>
                  </a:cubicBezTo>
                  <a:cubicBezTo>
                    <a:pt x="790" y="318"/>
                    <a:pt x="725" y="238"/>
                    <a:pt x="592" y="238"/>
                  </a:cubicBezTo>
                  <a:lnTo>
                    <a:pt x="237" y="238"/>
                  </a:lnTo>
                  <a:lnTo>
                    <a:pt x="237" y="595"/>
                  </a:lnTo>
                  <a:close/>
                  <a:moveTo>
                    <a:pt x="607" y="1250"/>
                  </a:moveTo>
                  <a:cubicBezTo>
                    <a:pt x="774" y="1250"/>
                    <a:pt x="859" y="1152"/>
                    <a:pt x="859" y="1032"/>
                  </a:cubicBezTo>
                  <a:cubicBezTo>
                    <a:pt x="859" y="910"/>
                    <a:pt x="777" y="812"/>
                    <a:pt x="607" y="812"/>
                  </a:cubicBezTo>
                  <a:lnTo>
                    <a:pt x="237" y="812"/>
                  </a:lnTo>
                  <a:lnTo>
                    <a:pt x="237" y="1250"/>
                  </a:lnTo>
                  <a:lnTo>
                    <a:pt x="607" y="1250"/>
                  </a:lnTo>
                  <a:close/>
                  <a:moveTo>
                    <a:pt x="7367" y="240"/>
                  </a:moveTo>
                  <a:cubicBezTo>
                    <a:pt x="7445" y="240"/>
                    <a:pt x="7492" y="190"/>
                    <a:pt x="7492" y="125"/>
                  </a:cubicBezTo>
                  <a:cubicBezTo>
                    <a:pt x="7492" y="60"/>
                    <a:pt x="7443" y="10"/>
                    <a:pt x="7367" y="10"/>
                  </a:cubicBezTo>
                  <a:lnTo>
                    <a:pt x="6642" y="10"/>
                  </a:lnTo>
                  <a:cubicBezTo>
                    <a:pt x="6575" y="10"/>
                    <a:pt x="6527" y="58"/>
                    <a:pt x="6527" y="125"/>
                  </a:cubicBezTo>
                  <a:lnTo>
                    <a:pt x="6527" y="1365"/>
                  </a:lnTo>
                  <a:cubicBezTo>
                    <a:pt x="6527" y="1430"/>
                    <a:pt x="6575" y="1478"/>
                    <a:pt x="6642" y="1478"/>
                  </a:cubicBezTo>
                  <a:lnTo>
                    <a:pt x="7484" y="1478"/>
                  </a:lnTo>
                  <a:lnTo>
                    <a:pt x="7484" y="1248"/>
                  </a:lnTo>
                  <a:lnTo>
                    <a:pt x="6764" y="1248"/>
                  </a:lnTo>
                  <a:lnTo>
                    <a:pt x="6764" y="822"/>
                  </a:lnTo>
                  <a:lnTo>
                    <a:pt x="7307" y="822"/>
                  </a:lnTo>
                  <a:cubicBezTo>
                    <a:pt x="7389" y="822"/>
                    <a:pt x="7435" y="773"/>
                    <a:pt x="7435" y="707"/>
                  </a:cubicBezTo>
                  <a:cubicBezTo>
                    <a:pt x="7435" y="640"/>
                    <a:pt x="7390" y="592"/>
                    <a:pt x="7307" y="592"/>
                  </a:cubicBezTo>
                  <a:lnTo>
                    <a:pt x="6764" y="592"/>
                  </a:lnTo>
                  <a:lnTo>
                    <a:pt x="6764" y="240"/>
                  </a:lnTo>
                  <a:lnTo>
                    <a:pt x="7367" y="240"/>
                  </a:lnTo>
                  <a:close/>
                  <a:moveTo>
                    <a:pt x="1635" y="893"/>
                  </a:moveTo>
                  <a:lnTo>
                    <a:pt x="1635" y="115"/>
                  </a:lnTo>
                  <a:cubicBezTo>
                    <a:pt x="1635" y="52"/>
                    <a:pt x="1589" y="0"/>
                    <a:pt x="1517" y="0"/>
                  </a:cubicBezTo>
                  <a:cubicBezTo>
                    <a:pt x="1443" y="0"/>
                    <a:pt x="1399" y="52"/>
                    <a:pt x="1399" y="115"/>
                  </a:cubicBezTo>
                  <a:lnTo>
                    <a:pt x="1399" y="885"/>
                  </a:lnTo>
                  <a:cubicBezTo>
                    <a:pt x="1399" y="1215"/>
                    <a:pt x="1630" y="1483"/>
                    <a:pt x="2002" y="1483"/>
                  </a:cubicBezTo>
                  <a:cubicBezTo>
                    <a:pt x="2372" y="1483"/>
                    <a:pt x="2605" y="1215"/>
                    <a:pt x="2605" y="885"/>
                  </a:cubicBezTo>
                  <a:lnTo>
                    <a:pt x="2605" y="7"/>
                  </a:lnTo>
                  <a:lnTo>
                    <a:pt x="2367" y="7"/>
                  </a:lnTo>
                  <a:lnTo>
                    <a:pt x="2367" y="892"/>
                  </a:lnTo>
                  <a:cubicBezTo>
                    <a:pt x="2367" y="1087"/>
                    <a:pt x="2237" y="1260"/>
                    <a:pt x="2002" y="1260"/>
                  </a:cubicBezTo>
                  <a:cubicBezTo>
                    <a:pt x="1765" y="1262"/>
                    <a:pt x="1635" y="1088"/>
                    <a:pt x="1635" y="893"/>
                  </a:cubicBezTo>
                  <a:close/>
                  <a:moveTo>
                    <a:pt x="4320" y="0"/>
                  </a:moveTo>
                  <a:cubicBezTo>
                    <a:pt x="4393" y="0"/>
                    <a:pt x="4439" y="52"/>
                    <a:pt x="4439" y="115"/>
                  </a:cubicBezTo>
                  <a:lnTo>
                    <a:pt x="4439" y="1477"/>
                  </a:lnTo>
                  <a:lnTo>
                    <a:pt x="4202" y="1477"/>
                  </a:lnTo>
                  <a:lnTo>
                    <a:pt x="4202" y="115"/>
                  </a:lnTo>
                  <a:cubicBezTo>
                    <a:pt x="4202" y="52"/>
                    <a:pt x="4247" y="0"/>
                    <a:pt x="4320" y="0"/>
                  </a:cubicBezTo>
                  <a:close/>
                </a:path>
              </a:pathLst>
            </a:custGeom>
            <a:solidFill>
              <a:srgbClr val="0D62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17461801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Open / Close 5 (dark image, no text)">
    <p:bg>
      <p:bgPr>
        <a:solidFill>
          <a:schemeClr val="accent1"/>
        </a:solidFill>
        <a:effectLst/>
      </p:bgPr>
    </p:bg>
    <p:spTree>
      <p:nvGrpSpPr>
        <p:cNvPr id="1" name=""/>
        <p:cNvGrpSpPr/>
        <p:nvPr/>
      </p:nvGrpSpPr>
      <p:grpSpPr>
        <a:xfrm>
          <a:off x="0" y="0"/>
          <a:ext cx="0" cy="0"/>
          <a:chOff x="0" y="0"/>
          <a:chExt cx="0" cy="0"/>
        </a:xfrm>
      </p:grpSpPr>
      <p:sp>
        <p:nvSpPr>
          <p:cNvPr id="5" name="Picture Placeholder 5">
            <a:extLst>
              <a:ext uri="{FF2B5EF4-FFF2-40B4-BE49-F238E27FC236}">
                <a16:creationId xmlns:a16="http://schemas.microsoft.com/office/drawing/2014/main" id="{7FE7D31C-5159-4543-9319-0E3A0617C02F}"/>
              </a:ext>
            </a:extLst>
          </p:cNvPr>
          <p:cNvSpPr>
            <a:spLocks noGrp="1"/>
          </p:cNvSpPr>
          <p:nvPr>
            <p:ph type="pic" sz="quarter" idx="11" hasCustomPrompt="1"/>
          </p:nvPr>
        </p:nvSpPr>
        <p:spPr>
          <a:xfrm>
            <a:off x="-9144" y="-4713"/>
            <a:ext cx="12207240" cy="6876288"/>
          </a:xfrm>
          <a:solidFill>
            <a:schemeClr val="tx1">
              <a:lumMod val="65000"/>
              <a:lumOff val="35000"/>
            </a:schemeClr>
          </a:solidFill>
        </p:spPr>
        <p:txBody>
          <a:bodyPr lIns="1920240" tIns="731520" rIns="1828800"/>
          <a:lstStyle>
            <a:lvl1pPr marL="0" indent="0">
              <a:lnSpc>
                <a:spcPct val="100000"/>
              </a:lnSpc>
              <a:spcBef>
                <a:spcPts val="0"/>
              </a:spcBef>
              <a:buNone/>
              <a:defRPr sz="1800">
                <a:solidFill>
                  <a:schemeClr val="bg1"/>
                </a:solidFill>
              </a:defRPr>
            </a:lvl1pPr>
          </a:lstStyle>
          <a:p>
            <a:r>
              <a:rPr lang="en-GB"/>
              <a:t>Drag picture to placeholder or click icon to add, then send to back. If logo not showing on slide, copy from slide master and paste on slide layout ensuring position matches the slide master (it should by default).</a:t>
            </a:r>
          </a:p>
        </p:txBody>
      </p:sp>
      <p:grpSp>
        <p:nvGrpSpPr>
          <p:cNvPr id="4" name="Group 4">
            <a:extLst>
              <a:ext uri="{FF2B5EF4-FFF2-40B4-BE49-F238E27FC236}">
                <a16:creationId xmlns:a16="http://schemas.microsoft.com/office/drawing/2014/main" id="{769D8226-0C80-40A4-B1D5-3591B61DF912}"/>
              </a:ext>
            </a:extLst>
          </p:cNvPr>
          <p:cNvGrpSpPr>
            <a:grpSpLocks noChangeAspect="1"/>
          </p:cNvGrpSpPr>
          <p:nvPr userDrawn="1"/>
        </p:nvGrpSpPr>
        <p:grpSpPr bwMode="auto">
          <a:xfrm>
            <a:off x="5305044" y="5518737"/>
            <a:ext cx="1581912" cy="804798"/>
            <a:chOff x="1436" y="934"/>
            <a:chExt cx="4800" cy="2442"/>
          </a:xfrm>
          <a:solidFill>
            <a:srgbClr val="FFFFFF"/>
          </a:solidFill>
        </p:grpSpPr>
        <p:sp>
          <p:nvSpPr>
            <p:cNvPr id="6" name="Freeform 5">
              <a:extLst>
                <a:ext uri="{FF2B5EF4-FFF2-40B4-BE49-F238E27FC236}">
                  <a16:creationId xmlns:a16="http://schemas.microsoft.com/office/drawing/2014/main" id="{BFE04C84-2E2C-4E54-8A43-35943E328853}"/>
                </a:ext>
              </a:extLst>
            </p:cNvPr>
            <p:cNvSpPr>
              <a:spLocks noEditPoints="1"/>
            </p:cNvSpPr>
            <p:nvPr userDrawn="1"/>
          </p:nvSpPr>
          <p:spPr bwMode="auto">
            <a:xfrm>
              <a:off x="1436" y="934"/>
              <a:ext cx="4794" cy="2442"/>
            </a:xfrm>
            <a:custGeom>
              <a:avLst/>
              <a:gdLst>
                <a:gd name="T0" fmla="*/ 9572 w 9986"/>
                <a:gd name="T1" fmla="*/ 153 h 5085"/>
                <a:gd name="T2" fmla="*/ 6835 w 9986"/>
                <a:gd name="T3" fmla="*/ 925 h 5085"/>
                <a:gd name="T4" fmla="*/ 6895 w 9986"/>
                <a:gd name="T5" fmla="*/ 780 h 5085"/>
                <a:gd name="T6" fmla="*/ 3251 w 9986"/>
                <a:gd name="T7" fmla="*/ 1478 h 5085"/>
                <a:gd name="T8" fmla="*/ 4555 w 9986"/>
                <a:gd name="T9" fmla="*/ 55 h 5085"/>
                <a:gd name="T10" fmla="*/ 5001 w 9986"/>
                <a:gd name="T11" fmla="*/ 740 h 5085"/>
                <a:gd name="T12" fmla="*/ 1260 w 9986"/>
                <a:gd name="T13" fmla="*/ 320 h 5085"/>
                <a:gd name="T14" fmla="*/ 738 w 9986"/>
                <a:gd name="T15" fmla="*/ 1331 h 5085"/>
                <a:gd name="T16" fmla="*/ 8772 w 9986"/>
                <a:gd name="T17" fmla="*/ 158 h 5085"/>
                <a:gd name="T18" fmla="*/ 8053 w 9986"/>
                <a:gd name="T19" fmla="*/ 1163 h 5085"/>
                <a:gd name="T20" fmla="*/ 2988 w 9986"/>
                <a:gd name="T21" fmla="*/ 740 h 5085"/>
                <a:gd name="T22" fmla="*/ 9814 w 9986"/>
                <a:gd name="T23" fmla="*/ 4415 h 5085"/>
                <a:gd name="T24" fmla="*/ 9918 w 9986"/>
                <a:gd name="T25" fmla="*/ 4246 h 5085"/>
                <a:gd name="T26" fmla="*/ 9562 w 9986"/>
                <a:gd name="T27" fmla="*/ 4273 h 5085"/>
                <a:gd name="T28" fmla="*/ 9408 w 9986"/>
                <a:gd name="T29" fmla="*/ 4780 h 5085"/>
                <a:gd name="T30" fmla="*/ 9380 w 9986"/>
                <a:gd name="T31" fmla="*/ 4447 h 5085"/>
                <a:gd name="T32" fmla="*/ 9389 w 9986"/>
                <a:gd name="T33" fmla="*/ 4671 h 5085"/>
                <a:gd name="T34" fmla="*/ 8917 w 9986"/>
                <a:gd name="T35" fmla="*/ 4533 h 5085"/>
                <a:gd name="T36" fmla="*/ 9001 w 9986"/>
                <a:gd name="T37" fmla="*/ 4836 h 5085"/>
                <a:gd name="T38" fmla="*/ 8919 w 9986"/>
                <a:gd name="T39" fmla="*/ 4466 h 5085"/>
                <a:gd name="T40" fmla="*/ 8387 w 9986"/>
                <a:gd name="T41" fmla="*/ 4323 h 5085"/>
                <a:gd name="T42" fmla="*/ 8282 w 9986"/>
                <a:gd name="T43" fmla="*/ 4879 h 5085"/>
                <a:gd name="T44" fmla="*/ 8045 w 9986"/>
                <a:gd name="T45" fmla="*/ 4336 h 5085"/>
                <a:gd name="T46" fmla="*/ 8228 w 9986"/>
                <a:gd name="T47" fmla="*/ 4852 h 5085"/>
                <a:gd name="T48" fmla="*/ 7788 w 9986"/>
                <a:gd name="T49" fmla="*/ 4291 h 5085"/>
                <a:gd name="T50" fmla="*/ 7635 w 9986"/>
                <a:gd name="T51" fmla="*/ 4246 h 5085"/>
                <a:gd name="T52" fmla="*/ 7339 w 9986"/>
                <a:gd name="T53" fmla="*/ 4323 h 5085"/>
                <a:gd name="T54" fmla="*/ 7070 w 9986"/>
                <a:gd name="T55" fmla="*/ 4833 h 5085"/>
                <a:gd name="T56" fmla="*/ 6828 w 9986"/>
                <a:gd name="T57" fmla="*/ 4769 h 5085"/>
                <a:gd name="T58" fmla="*/ 6985 w 9986"/>
                <a:gd name="T59" fmla="*/ 4912 h 5085"/>
                <a:gd name="T60" fmla="*/ 6985 w 9986"/>
                <a:gd name="T61" fmla="*/ 4435 h 5085"/>
                <a:gd name="T62" fmla="*/ 6510 w 9986"/>
                <a:gd name="T63" fmla="*/ 4260 h 5085"/>
                <a:gd name="T64" fmla="*/ 6046 w 9986"/>
                <a:gd name="T65" fmla="*/ 4804 h 5085"/>
                <a:gd name="T66" fmla="*/ 6059 w 9986"/>
                <a:gd name="T67" fmla="*/ 4643 h 5085"/>
                <a:gd name="T68" fmla="*/ 6098 w 9986"/>
                <a:gd name="T69" fmla="*/ 4567 h 5085"/>
                <a:gd name="T70" fmla="*/ 6099 w 9986"/>
                <a:gd name="T71" fmla="*/ 4896 h 5085"/>
                <a:gd name="T72" fmla="*/ 5833 w 9986"/>
                <a:gd name="T73" fmla="*/ 4717 h 5085"/>
                <a:gd name="T74" fmla="*/ 5913 w 9986"/>
                <a:gd name="T75" fmla="*/ 4530 h 5085"/>
                <a:gd name="T76" fmla="*/ 5956 w 9986"/>
                <a:gd name="T77" fmla="*/ 4779 h 5085"/>
                <a:gd name="T78" fmla="*/ 5277 w 9986"/>
                <a:gd name="T79" fmla="*/ 4491 h 5085"/>
                <a:gd name="T80" fmla="*/ 5069 w 9986"/>
                <a:gd name="T81" fmla="*/ 4796 h 5085"/>
                <a:gd name="T82" fmla="*/ 5399 w 9986"/>
                <a:gd name="T83" fmla="*/ 4882 h 5085"/>
                <a:gd name="T84" fmla="*/ 4727 w 9986"/>
                <a:gd name="T85" fmla="*/ 4653 h 5085"/>
                <a:gd name="T86" fmla="*/ 4495 w 9986"/>
                <a:gd name="T87" fmla="*/ 4284 h 5085"/>
                <a:gd name="T88" fmla="*/ 3755 w 9986"/>
                <a:gd name="T89" fmla="*/ 4512 h 5085"/>
                <a:gd name="T90" fmla="*/ 4028 w 9986"/>
                <a:gd name="T91" fmla="*/ 5028 h 5085"/>
                <a:gd name="T92" fmla="*/ 4023 w 9986"/>
                <a:gd name="T93" fmla="*/ 4799 h 5085"/>
                <a:gd name="T94" fmla="*/ 3948 w 9986"/>
                <a:gd name="T95" fmla="*/ 4459 h 5085"/>
                <a:gd name="T96" fmla="*/ 3405 w 9986"/>
                <a:gd name="T97" fmla="*/ 4531 h 5085"/>
                <a:gd name="T98" fmla="*/ 3205 w 9986"/>
                <a:gd name="T99" fmla="*/ 4459 h 5085"/>
                <a:gd name="T100" fmla="*/ 2844 w 9986"/>
                <a:gd name="T101" fmla="*/ 4291 h 5085"/>
                <a:gd name="T102" fmla="*/ 2753 w 9986"/>
                <a:gd name="T103" fmla="*/ 4435 h 5085"/>
                <a:gd name="T104" fmla="*/ 2577 w 9986"/>
                <a:gd name="T105" fmla="*/ 4531 h 5085"/>
                <a:gd name="T106" fmla="*/ 2001 w 9986"/>
                <a:gd name="T107" fmla="*/ 4693 h 5085"/>
                <a:gd name="T108" fmla="*/ 1969 w 9986"/>
                <a:gd name="T109" fmla="*/ 4796 h 5085"/>
                <a:gd name="T110" fmla="*/ 1912 w 9986"/>
                <a:gd name="T111" fmla="*/ 4439 h 5085"/>
                <a:gd name="T112" fmla="*/ 1500 w 9986"/>
                <a:gd name="T113" fmla="*/ 4439 h 5085"/>
                <a:gd name="T114" fmla="*/ 965 w 9986"/>
                <a:gd name="T115" fmla="*/ 4513 h 5085"/>
                <a:gd name="T116" fmla="*/ 753 w 9986"/>
                <a:gd name="T117" fmla="*/ 4882 h 5085"/>
                <a:gd name="T118" fmla="*/ 1083 w 9986"/>
                <a:gd name="T119" fmla="*/ 4796 h 5085"/>
                <a:gd name="T120" fmla="*/ 159 w 9986"/>
                <a:gd name="T121" fmla="*/ 4653 h 5085"/>
                <a:gd name="T122" fmla="*/ 93 w 9986"/>
                <a:gd name="T123" fmla="*/ 4908 h 5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986" h="5085">
                  <a:moveTo>
                    <a:pt x="9986" y="81"/>
                  </a:moveTo>
                  <a:cubicBezTo>
                    <a:pt x="9986" y="41"/>
                    <a:pt x="9953" y="8"/>
                    <a:pt x="9913" y="8"/>
                  </a:cubicBezTo>
                  <a:lnTo>
                    <a:pt x="9093" y="8"/>
                  </a:lnTo>
                  <a:cubicBezTo>
                    <a:pt x="9053" y="8"/>
                    <a:pt x="9020" y="40"/>
                    <a:pt x="9020" y="81"/>
                  </a:cubicBezTo>
                  <a:cubicBezTo>
                    <a:pt x="9020" y="121"/>
                    <a:pt x="9051" y="153"/>
                    <a:pt x="9093" y="153"/>
                  </a:cubicBezTo>
                  <a:lnTo>
                    <a:pt x="9438" y="153"/>
                  </a:lnTo>
                  <a:lnTo>
                    <a:pt x="9438" y="1468"/>
                  </a:lnTo>
                  <a:lnTo>
                    <a:pt x="9572" y="1468"/>
                  </a:lnTo>
                  <a:lnTo>
                    <a:pt x="9572" y="153"/>
                  </a:lnTo>
                  <a:lnTo>
                    <a:pt x="9915" y="153"/>
                  </a:lnTo>
                  <a:cubicBezTo>
                    <a:pt x="9955" y="155"/>
                    <a:pt x="9986" y="121"/>
                    <a:pt x="9986" y="81"/>
                  </a:cubicBezTo>
                  <a:close/>
                  <a:moveTo>
                    <a:pt x="7113" y="1"/>
                  </a:moveTo>
                  <a:cubicBezTo>
                    <a:pt x="7085" y="1"/>
                    <a:pt x="7065" y="20"/>
                    <a:pt x="7051" y="43"/>
                  </a:cubicBezTo>
                  <a:cubicBezTo>
                    <a:pt x="7040" y="66"/>
                    <a:pt x="6505" y="1386"/>
                    <a:pt x="6505" y="1386"/>
                  </a:cubicBezTo>
                  <a:cubicBezTo>
                    <a:pt x="6501" y="1395"/>
                    <a:pt x="6500" y="1403"/>
                    <a:pt x="6500" y="1411"/>
                  </a:cubicBezTo>
                  <a:cubicBezTo>
                    <a:pt x="6500" y="1448"/>
                    <a:pt x="6528" y="1476"/>
                    <a:pt x="6565" y="1476"/>
                  </a:cubicBezTo>
                  <a:cubicBezTo>
                    <a:pt x="6593" y="1476"/>
                    <a:pt x="6617" y="1460"/>
                    <a:pt x="6626" y="1435"/>
                  </a:cubicBezTo>
                  <a:lnTo>
                    <a:pt x="6835" y="925"/>
                  </a:lnTo>
                  <a:lnTo>
                    <a:pt x="7393" y="925"/>
                  </a:lnTo>
                  <a:lnTo>
                    <a:pt x="7615" y="1468"/>
                  </a:lnTo>
                  <a:lnTo>
                    <a:pt x="7756" y="1468"/>
                  </a:lnTo>
                  <a:cubicBezTo>
                    <a:pt x="7756" y="1468"/>
                    <a:pt x="7188" y="65"/>
                    <a:pt x="7176" y="41"/>
                  </a:cubicBezTo>
                  <a:cubicBezTo>
                    <a:pt x="7163" y="20"/>
                    <a:pt x="7142" y="1"/>
                    <a:pt x="7113" y="1"/>
                  </a:cubicBezTo>
                  <a:moveTo>
                    <a:pt x="6895" y="780"/>
                  </a:moveTo>
                  <a:lnTo>
                    <a:pt x="7115" y="240"/>
                  </a:lnTo>
                  <a:lnTo>
                    <a:pt x="7335" y="780"/>
                  </a:lnTo>
                  <a:lnTo>
                    <a:pt x="6895" y="780"/>
                  </a:lnTo>
                  <a:close/>
                  <a:moveTo>
                    <a:pt x="4490" y="1"/>
                  </a:moveTo>
                  <a:cubicBezTo>
                    <a:pt x="4463" y="1"/>
                    <a:pt x="4441" y="20"/>
                    <a:pt x="4430" y="41"/>
                  </a:cubicBezTo>
                  <a:cubicBezTo>
                    <a:pt x="4418" y="65"/>
                    <a:pt x="3995" y="1108"/>
                    <a:pt x="3995" y="1108"/>
                  </a:cubicBezTo>
                  <a:cubicBezTo>
                    <a:pt x="3995" y="1108"/>
                    <a:pt x="3572" y="63"/>
                    <a:pt x="3560" y="41"/>
                  </a:cubicBezTo>
                  <a:cubicBezTo>
                    <a:pt x="3548" y="18"/>
                    <a:pt x="3526" y="1"/>
                    <a:pt x="3500" y="1"/>
                  </a:cubicBezTo>
                  <a:cubicBezTo>
                    <a:pt x="3468" y="1"/>
                    <a:pt x="3443" y="25"/>
                    <a:pt x="3435" y="55"/>
                  </a:cubicBezTo>
                  <a:cubicBezTo>
                    <a:pt x="3426" y="85"/>
                    <a:pt x="3188" y="1400"/>
                    <a:pt x="3188" y="1400"/>
                  </a:cubicBezTo>
                  <a:cubicBezTo>
                    <a:pt x="3188" y="1405"/>
                    <a:pt x="3186" y="1408"/>
                    <a:pt x="3186" y="1413"/>
                  </a:cubicBezTo>
                  <a:cubicBezTo>
                    <a:pt x="3186" y="1450"/>
                    <a:pt x="3216" y="1478"/>
                    <a:pt x="3251" y="1478"/>
                  </a:cubicBezTo>
                  <a:cubicBezTo>
                    <a:pt x="3283" y="1478"/>
                    <a:pt x="3310" y="1455"/>
                    <a:pt x="3316" y="1425"/>
                  </a:cubicBezTo>
                  <a:lnTo>
                    <a:pt x="3523" y="300"/>
                  </a:lnTo>
                  <a:cubicBezTo>
                    <a:pt x="3523" y="300"/>
                    <a:pt x="3921" y="1283"/>
                    <a:pt x="3933" y="1306"/>
                  </a:cubicBezTo>
                  <a:cubicBezTo>
                    <a:pt x="3945" y="1330"/>
                    <a:pt x="3966" y="1348"/>
                    <a:pt x="3995" y="1348"/>
                  </a:cubicBezTo>
                  <a:cubicBezTo>
                    <a:pt x="4022" y="1348"/>
                    <a:pt x="4045" y="1330"/>
                    <a:pt x="4056" y="1306"/>
                  </a:cubicBezTo>
                  <a:cubicBezTo>
                    <a:pt x="4068" y="1283"/>
                    <a:pt x="4466" y="300"/>
                    <a:pt x="4466" y="300"/>
                  </a:cubicBezTo>
                  <a:lnTo>
                    <a:pt x="4681" y="1470"/>
                  </a:lnTo>
                  <a:lnTo>
                    <a:pt x="4815" y="1470"/>
                  </a:lnTo>
                  <a:cubicBezTo>
                    <a:pt x="4815" y="1470"/>
                    <a:pt x="4563" y="85"/>
                    <a:pt x="4555" y="55"/>
                  </a:cubicBezTo>
                  <a:cubicBezTo>
                    <a:pt x="4545" y="25"/>
                    <a:pt x="4522" y="1"/>
                    <a:pt x="4490" y="1"/>
                  </a:cubicBezTo>
                  <a:moveTo>
                    <a:pt x="5740" y="146"/>
                  </a:moveTo>
                  <a:cubicBezTo>
                    <a:pt x="5898" y="146"/>
                    <a:pt x="6047" y="208"/>
                    <a:pt x="6158" y="320"/>
                  </a:cubicBezTo>
                  <a:cubicBezTo>
                    <a:pt x="6185" y="346"/>
                    <a:pt x="6235" y="346"/>
                    <a:pt x="6261" y="320"/>
                  </a:cubicBezTo>
                  <a:cubicBezTo>
                    <a:pt x="6275" y="306"/>
                    <a:pt x="6283" y="288"/>
                    <a:pt x="6283" y="268"/>
                  </a:cubicBezTo>
                  <a:cubicBezTo>
                    <a:pt x="6283" y="248"/>
                    <a:pt x="6275" y="230"/>
                    <a:pt x="6261" y="216"/>
                  </a:cubicBezTo>
                  <a:lnTo>
                    <a:pt x="6253" y="208"/>
                  </a:lnTo>
                  <a:cubicBezTo>
                    <a:pt x="6115" y="75"/>
                    <a:pt x="5933" y="1"/>
                    <a:pt x="5740" y="1"/>
                  </a:cubicBezTo>
                  <a:cubicBezTo>
                    <a:pt x="5333" y="1"/>
                    <a:pt x="5001" y="333"/>
                    <a:pt x="5001" y="740"/>
                  </a:cubicBezTo>
                  <a:cubicBezTo>
                    <a:pt x="5001" y="1146"/>
                    <a:pt x="5333" y="1478"/>
                    <a:pt x="5740" y="1478"/>
                  </a:cubicBezTo>
                  <a:cubicBezTo>
                    <a:pt x="5955" y="1478"/>
                    <a:pt x="6148" y="1386"/>
                    <a:pt x="6283" y="1238"/>
                  </a:cubicBezTo>
                  <a:lnTo>
                    <a:pt x="6180" y="1135"/>
                  </a:lnTo>
                  <a:cubicBezTo>
                    <a:pt x="6072" y="1255"/>
                    <a:pt x="5915" y="1331"/>
                    <a:pt x="5740" y="1331"/>
                  </a:cubicBezTo>
                  <a:cubicBezTo>
                    <a:pt x="5413" y="1331"/>
                    <a:pt x="5147" y="1065"/>
                    <a:pt x="5147" y="738"/>
                  </a:cubicBezTo>
                  <a:cubicBezTo>
                    <a:pt x="5147" y="413"/>
                    <a:pt x="5413" y="146"/>
                    <a:pt x="5740" y="146"/>
                  </a:cubicBezTo>
                  <a:moveTo>
                    <a:pt x="736" y="146"/>
                  </a:moveTo>
                  <a:cubicBezTo>
                    <a:pt x="895" y="146"/>
                    <a:pt x="1043" y="208"/>
                    <a:pt x="1156" y="320"/>
                  </a:cubicBezTo>
                  <a:cubicBezTo>
                    <a:pt x="1183" y="346"/>
                    <a:pt x="1233" y="346"/>
                    <a:pt x="1260" y="320"/>
                  </a:cubicBezTo>
                  <a:cubicBezTo>
                    <a:pt x="1273" y="306"/>
                    <a:pt x="1281" y="288"/>
                    <a:pt x="1281" y="268"/>
                  </a:cubicBezTo>
                  <a:cubicBezTo>
                    <a:pt x="1281" y="248"/>
                    <a:pt x="1275" y="230"/>
                    <a:pt x="1260" y="216"/>
                  </a:cubicBezTo>
                  <a:lnTo>
                    <a:pt x="1251" y="208"/>
                  </a:lnTo>
                  <a:cubicBezTo>
                    <a:pt x="1113" y="75"/>
                    <a:pt x="931" y="1"/>
                    <a:pt x="738" y="1"/>
                  </a:cubicBezTo>
                  <a:cubicBezTo>
                    <a:pt x="331" y="1"/>
                    <a:pt x="0" y="333"/>
                    <a:pt x="0" y="740"/>
                  </a:cubicBezTo>
                  <a:cubicBezTo>
                    <a:pt x="0" y="1146"/>
                    <a:pt x="331" y="1478"/>
                    <a:pt x="738" y="1478"/>
                  </a:cubicBezTo>
                  <a:cubicBezTo>
                    <a:pt x="953" y="1478"/>
                    <a:pt x="1147" y="1386"/>
                    <a:pt x="1281" y="1238"/>
                  </a:cubicBezTo>
                  <a:lnTo>
                    <a:pt x="1178" y="1135"/>
                  </a:lnTo>
                  <a:cubicBezTo>
                    <a:pt x="1070" y="1255"/>
                    <a:pt x="911" y="1331"/>
                    <a:pt x="738" y="1331"/>
                  </a:cubicBezTo>
                  <a:cubicBezTo>
                    <a:pt x="411" y="1331"/>
                    <a:pt x="145" y="1065"/>
                    <a:pt x="145" y="738"/>
                  </a:cubicBezTo>
                  <a:cubicBezTo>
                    <a:pt x="143" y="413"/>
                    <a:pt x="410" y="146"/>
                    <a:pt x="736" y="146"/>
                  </a:cubicBezTo>
                  <a:moveTo>
                    <a:pt x="8613" y="748"/>
                  </a:moveTo>
                  <a:cubicBezTo>
                    <a:pt x="8573" y="728"/>
                    <a:pt x="8333" y="603"/>
                    <a:pt x="8298" y="585"/>
                  </a:cubicBezTo>
                  <a:cubicBezTo>
                    <a:pt x="8172" y="520"/>
                    <a:pt x="8126" y="463"/>
                    <a:pt x="8126" y="366"/>
                  </a:cubicBezTo>
                  <a:cubicBezTo>
                    <a:pt x="8126" y="231"/>
                    <a:pt x="8236" y="145"/>
                    <a:pt x="8408" y="145"/>
                  </a:cubicBezTo>
                  <a:cubicBezTo>
                    <a:pt x="8508" y="145"/>
                    <a:pt x="8606" y="188"/>
                    <a:pt x="8663" y="221"/>
                  </a:cubicBezTo>
                  <a:cubicBezTo>
                    <a:pt x="8673" y="226"/>
                    <a:pt x="8686" y="230"/>
                    <a:pt x="8698" y="230"/>
                  </a:cubicBezTo>
                  <a:cubicBezTo>
                    <a:pt x="8738" y="230"/>
                    <a:pt x="8772" y="198"/>
                    <a:pt x="8772" y="158"/>
                  </a:cubicBezTo>
                  <a:cubicBezTo>
                    <a:pt x="8772" y="131"/>
                    <a:pt x="8756" y="108"/>
                    <a:pt x="8735" y="95"/>
                  </a:cubicBezTo>
                  <a:cubicBezTo>
                    <a:pt x="8663" y="55"/>
                    <a:pt x="8542" y="0"/>
                    <a:pt x="8410" y="0"/>
                  </a:cubicBezTo>
                  <a:cubicBezTo>
                    <a:pt x="8158" y="0"/>
                    <a:pt x="7983" y="150"/>
                    <a:pt x="7983" y="366"/>
                  </a:cubicBezTo>
                  <a:cubicBezTo>
                    <a:pt x="7983" y="560"/>
                    <a:pt x="8110" y="651"/>
                    <a:pt x="8235" y="715"/>
                  </a:cubicBezTo>
                  <a:cubicBezTo>
                    <a:pt x="8270" y="733"/>
                    <a:pt x="8513" y="858"/>
                    <a:pt x="8550" y="878"/>
                  </a:cubicBezTo>
                  <a:cubicBezTo>
                    <a:pt x="8647" y="928"/>
                    <a:pt x="8700" y="1005"/>
                    <a:pt x="8700" y="1091"/>
                  </a:cubicBezTo>
                  <a:cubicBezTo>
                    <a:pt x="8700" y="1208"/>
                    <a:pt x="8601" y="1331"/>
                    <a:pt x="8418" y="1331"/>
                  </a:cubicBezTo>
                  <a:cubicBezTo>
                    <a:pt x="8240" y="1331"/>
                    <a:pt x="8101" y="1211"/>
                    <a:pt x="8065" y="1175"/>
                  </a:cubicBezTo>
                  <a:lnTo>
                    <a:pt x="8053" y="1163"/>
                  </a:lnTo>
                  <a:lnTo>
                    <a:pt x="7945" y="1261"/>
                  </a:lnTo>
                  <a:lnTo>
                    <a:pt x="7958" y="1273"/>
                  </a:lnTo>
                  <a:cubicBezTo>
                    <a:pt x="8006" y="1320"/>
                    <a:pt x="8180" y="1475"/>
                    <a:pt x="8418" y="1475"/>
                  </a:cubicBezTo>
                  <a:cubicBezTo>
                    <a:pt x="8685" y="1475"/>
                    <a:pt x="8845" y="1278"/>
                    <a:pt x="8845" y="1088"/>
                  </a:cubicBezTo>
                  <a:cubicBezTo>
                    <a:pt x="8843" y="950"/>
                    <a:pt x="8760" y="825"/>
                    <a:pt x="8613" y="748"/>
                  </a:cubicBezTo>
                  <a:moveTo>
                    <a:pt x="2250" y="1"/>
                  </a:moveTo>
                  <a:cubicBezTo>
                    <a:pt x="1843" y="1"/>
                    <a:pt x="1511" y="333"/>
                    <a:pt x="1511" y="740"/>
                  </a:cubicBezTo>
                  <a:cubicBezTo>
                    <a:pt x="1511" y="1146"/>
                    <a:pt x="1843" y="1478"/>
                    <a:pt x="2250" y="1478"/>
                  </a:cubicBezTo>
                  <a:cubicBezTo>
                    <a:pt x="2656" y="1478"/>
                    <a:pt x="2988" y="1146"/>
                    <a:pt x="2988" y="740"/>
                  </a:cubicBezTo>
                  <a:cubicBezTo>
                    <a:pt x="2988" y="333"/>
                    <a:pt x="2656" y="1"/>
                    <a:pt x="2250" y="1"/>
                  </a:cubicBezTo>
                  <a:moveTo>
                    <a:pt x="2250" y="1331"/>
                  </a:moveTo>
                  <a:cubicBezTo>
                    <a:pt x="1923" y="1331"/>
                    <a:pt x="1656" y="1065"/>
                    <a:pt x="1656" y="738"/>
                  </a:cubicBezTo>
                  <a:cubicBezTo>
                    <a:pt x="1656" y="411"/>
                    <a:pt x="1923" y="145"/>
                    <a:pt x="2250" y="145"/>
                  </a:cubicBezTo>
                  <a:cubicBezTo>
                    <a:pt x="2576" y="145"/>
                    <a:pt x="2843" y="411"/>
                    <a:pt x="2843" y="738"/>
                  </a:cubicBezTo>
                  <a:cubicBezTo>
                    <a:pt x="2841" y="1066"/>
                    <a:pt x="2576" y="1331"/>
                    <a:pt x="2250" y="1331"/>
                  </a:cubicBezTo>
                  <a:close/>
                  <a:moveTo>
                    <a:pt x="9887" y="4438"/>
                  </a:moveTo>
                  <a:lnTo>
                    <a:pt x="9886" y="4303"/>
                  </a:lnTo>
                  <a:lnTo>
                    <a:pt x="9814" y="4415"/>
                  </a:lnTo>
                  <a:lnTo>
                    <a:pt x="9799" y="4415"/>
                  </a:lnTo>
                  <a:lnTo>
                    <a:pt x="9726" y="4306"/>
                  </a:lnTo>
                  <a:lnTo>
                    <a:pt x="9726" y="4438"/>
                  </a:lnTo>
                  <a:lnTo>
                    <a:pt x="9694" y="4438"/>
                  </a:lnTo>
                  <a:lnTo>
                    <a:pt x="9694" y="4246"/>
                  </a:lnTo>
                  <a:lnTo>
                    <a:pt x="9721" y="4246"/>
                  </a:lnTo>
                  <a:lnTo>
                    <a:pt x="9807" y="4377"/>
                  </a:lnTo>
                  <a:lnTo>
                    <a:pt x="9891" y="4246"/>
                  </a:lnTo>
                  <a:lnTo>
                    <a:pt x="9918" y="4246"/>
                  </a:lnTo>
                  <a:lnTo>
                    <a:pt x="9918" y="4438"/>
                  </a:lnTo>
                  <a:lnTo>
                    <a:pt x="9887" y="4438"/>
                  </a:lnTo>
                  <a:close/>
                  <a:moveTo>
                    <a:pt x="9492" y="4246"/>
                  </a:moveTo>
                  <a:lnTo>
                    <a:pt x="9666" y="4246"/>
                  </a:lnTo>
                  <a:lnTo>
                    <a:pt x="9666" y="4273"/>
                  </a:lnTo>
                  <a:lnTo>
                    <a:pt x="9596" y="4273"/>
                  </a:lnTo>
                  <a:lnTo>
                    <a:pt x="9596" y="4438"/>
                  </a:lnTo>
                  <a:lnTo>
                    <a:pt x="9562" y="4438"/>
                  </a:lnTo>
                  <a:lnTo>
                    <a:pt x="9562" y="4273"/>
                  </a:lnTo>
                  <a:lnTo>
                    <a:pt x="9492" y="4273"/>
                  </a:lnTo>
                  <a:lnTo>
                    <a:pt x="9492" y="4246"/>
                  </a:lnTo>
                  <a:close/>
                  <a:moveTo>
                    <a:pt x="9167" y="4896"/>
                  </a:moveTo>
                  <a:cubicBezTo>
                    <a:pt x="9133" y="4885"/>
                    <a:pt x="9105" y="4871"/>
                    <a:pt x="9086" y="4854"/>
                  </a:cubicBezTo>
                  <a:lnTo>
                    <a:pt x="9114" y="4804"/>
                  </a:lnTo>
                  <a:cubicBezTo>
                    <a:pt x="9134" y="4820"/>
                    <a:pt x="9159" y="4833"/>
                    <a:pt x="9188" y="4842"/>
                  </a:cubicBezTo>
                  <a:cubicBezTo>
                    <a:pt x="9218" y="4852"/>
                    <a:pt x="9249" y="4857"/>
                    <a:pt x="9281" y="4857"/>
                  </a:cubicBezTo>
                  <a:cubicBezTo>
                    <a:pt x="9324" y="4857"/>
                    <a:pt x="9356" y="4850"/>
                    <a:pt x="9377" y="4837"/>
                  </a:cubicBezTo>
                  <a:cubicBezTo>
                    <a:pt x="9397" y="4824"/>
                    <a:pt x="9408" y="4805"/>
                    <a:pt x="9408" y="4780"/>
                  </a:cubicBezTo>
                  <a:cubicBezTo>
                    <a:pt x="9408" y="4763"/>
                    <a:pt x="9402" y="4750"/>
                    <a:pt x="9390" y="4740"/>
                  </a:cubicBezTo>
                  <a:cubicBezTo>
                    <a:pt x="9379" y="4730"/>
                    <a:pt x="9365" y="4723"/>
                    <a:pt x="9348" y="4717"/>
                  </a:cubicBezTo>
                  <a:cubicBezTo>
                    <a:pt x="9330" y="4712"/>
                    <a:pt x="9307" y="4708"/>
                    <a:pt x="9279" y="4703"/>
                  </a:cubicBezTo>
                  <a:cubicBezTo>
                    <a:pt x="9241" y="4696"/>
                    <a:pt x="9210" y="4688"/>
                    <a:pt x="9187" y="4681"/>
                  </a:cubicBezTo>
                  <a:cubicBezTo>
                    <a:pt x="9163" y="4674"/>
                    <a:pt x="9144" y="4661"/>
                    <a:pt x="9127" y="4643"/>
                  </a:cubicBezTo>
                  <a:cubicBezTo>
                    <a:pt x="9111" y="4625"/>
                    <a:pt x="9103" y="4601"/>
                    <a:pt x="9103" y="4569"/>
                  </a:cubicBezTo>
                  <a:cubicBezTo>
                    <a:pt x="9103" y="4530"/>
                    <a:pt x="9119" y="4498"/>
                    <a:pt x="9152" y="4473"/>
                  </a:cubicBezTo>
                  <a:cubicBezTo>
                    <a:pt x="9185" y="4448"/>
                    <a:pt x="9230" y="4435"/>
                    <a:pt x="9289" y="4435"/>
                  </a:cubicBezTo>
                  <a:cubicBezTo>
                    <a:pt x="9319" y="4435"/>
                    <a:pt x="9349" y="4439"/>
                    <a:pt x="9380" y="4447"/>
                  </a:cubicBezTo>
                  <a:cubicBezTo>
                    <a:pt x="9410" y="4455"/>
                    <a:pt x="9435" y="4466"/>
                    <a:pt x="9455" y="4479"/>
                  </a:cubicBezTo>
                  <a:lnTo>
                    <a:pt x="9427" y="4530"/>
                  </a:lnTo>
                  <a:cubicBezTo>
                    <a:pt x="9388" y="4503"/>
                    <a:pt x="9342" y="4490"/>
                    <a:pt x="9289" y="4490"/>
                  </a:cubicBezTo>
                  <a:cubicBezTo>
                    <a:pt x="9248" y="4490"/>
                    <a:pt x="9218" y="4497"/>
                    <a:pt x="9197" y="4511"/>
                  </a:cubicBezTo>
                  <a:cubicBezTo>
                    <a:pt x="9176" y="4525"/>
                    <a:pt x="9166" y="4544"/>
                    <a:pt x="9166" y="4567"/>
                  </a:cubicBezTo>
                  <a:cubicBezTo>
                    <a:pt x="9166" y="4585"/>
                    <a:pt x="9172" y="4599"/>
                    <a:pt x="9184" y="4610"/>
                  </a:cubicBezTo>
                  <a:cubicBezTo>
                    <a:pt x="9195" y="4621"/>
                    <a:pt x="9210" y="4629"/>
                    <a:pt x="9227" y="4634"/>
                  </a:cubicBezTo>
                  <a:cubicBezTo>
                    <a:pt x="9244" y="4639"/>
                    <a:pt x="9268" y="4644"/>
                    <a:pt x="9298" y="4649"/>
                  </a:cubicBezTo>
                  <a:cubicBezTo>
                    <a:pt x="9336" y="4656"/>
                    <a:pt x="9366" y="4664"/>
                    <a:pt x="9389" y="4671"/>
                  </a:cubicBezTo>
                  <a:cubicBezTo>
                    <a:pt x="9411" y="4678"/>
                    <a:pt x="9431" y="4690"/>
                    <a:pt x="9447" y="4707"/>
                  </a:cubicBezTo>
                  <a:cubicBezTo>
                    <a:pt x="9463" y="4724"/>
                    <a:pt x="9471" y="4748"/>
                    <a:pt x="9471" y="4779"/>
                  </a:cubicBezTo>
                  <a:cubicBezTo>
                    <a:pt x="9471" y="4820"/>
                    <a:pt x="9454" y="4852"/>
                    <a:pt x="9420" y="4876"/>
                  </a:cubicBezTo>
                  <a:cubicBezTo>
                    <a:pt x="9385" y="4900"/>
                    <a:pt x="9338" y="4912"/>
                    <a:pt x="9277" y="4912"/>
                  </a:cubicBezTo>
                  <a:cubicBezTo>
                    <a:pt x="9239" y="4912"/>
                    <a:pt x="9202" y="4907"/>
                    <a:pt x="9167" y="4896"/>
                  </a:cubicBezTo>
                  <a:moveTo>
                    <a:pt x="8688" y="4533"/>
                  </a:moveTo>
                  <a:cubicBezTo>
                    <a:pt x="8658" y="4562"/>
                    <a:pt x="8640" y="4599"/>
                    <a:pt x="8636" y="4646"/>
                  </a:cubicBezTo>
                  <a:lnTo>
                    <a:pt x="8969" y="4646"/>
                  </a:lnTo>
                  <a:cubicBezTo>
                    <a:pt x="8965" y="4599"/>
                    <a:pt x="8948" y="4562"/>
                    <a:pt x="8917" y="4533"/>
                  </a:cubicBezTo>
                  <a:cubicBezTo>
                    <a:pt x="8886" y="4504"/>
                    <a:pt x="8848" y="4490"/>
                    <a:pt x="8802" y="4490"/>
                  </a:cubicBezTo>
                  <a:cubicBezTo>
                    <a:pt x="8757" y="4490"/>
                    <a:pt x="8719" y="4504"/>
                    <a:pt x="8688" y="4533"/>
                  </a:cubicBezTo>
                  <a:close/>
                  <a:moveTo>
                    <a:pt x="9029" y="4693"/>
                  </a:moveTo>
                  <a:lnTo>
                    <a:pt x="8636" y="4693"/>
                  </a:lnTo>
                  <a:cubicBezTo>
                    <a:pt x="8640" y="4742"/>
                    <a:pt x="8658" y="4781"/>
                    <a:pt x="8692" y="4811"/>
                  </a:cubicBezTo>
                  <a:cubicBezTo>
                    <a:pt x="8726" y="4841"/>
                    <a:pt x="8769" y="4856"/>
                    <a:pt x="8821" y="4856"/>
                  </a:cubicBezTo>
                  <a:cubicBezTo>
                    <a:pt x="8850" y="4856"/>
                    <a:pt x="8877" y="4851"/>
                    <a:pt x="8901" y="4841"/>
                  </a:cubicBezTo>
                  <a:cubicBezTo>
                    <a:pt x="8926" y="4830"/>
                    <a:pt x="8947" y="4815"/>
                    <a:pt x="8965" y="4795"/>
                  </a:cubicBezTo>
                  <a:lnTo>
                    <a:pt x="9001" y="4836"/>
                  </a:lnTo>
                  <a:cubicBezTo>
                    <a:pt x="8980" y="4861"/>
                    <a:pt x="8954" y="4880"/>
                    <a:pt x="8922" y="4893"/>
                  </a:cubicBezTo>
                  <a:cubicBezTo>
                    <a:pt x="8891" y="4906"/>
                    <a:pt x="8857" y="4912"/>
                    <a:pt x="8819" y="4912"/>
                  </a:cubicBezTo>
                  <a:cubicBezTo>
                    <a:pt x="8771" y="4912"/>
                    <a:pt x="8728" y="4902"/>
                    <a:pt x="8691" y="4882"/>
                  </a:cubicBezTo>
                  <a:cubicBezTo>
                    <a:pt x="8654" y="4861"/>
                    <a:pt x="8625" y="4833"/>
                    <a:pt x="8604" y="4796"/>
                  </a:cubicBezTo>
                  <a:cubicBezTo>
                    <a:pt x="8583" y="4760"/>
                    <a:pt x="8572" y="4719"/>
                    <a:pt x="8572" y="4673"/>
                  </a:cubicBezTo>
                  <a:cubicBezTo>
                    <a:pt x="8572" y="4628"/>
                    <a:pt x="8582" y="4587"/>
                    <a:pt x="8602" y="4550"/>
                  </a:cubicBezTo>
                  <a:cubicBezTo>
                    <a:pt x="8622" y="4514"/>
                    <a:pt x="8650" y="4486"/>
                    <a:pt x="8685" y="4466"/>
                  </a:cubicBezTo>
                  <a:cubicBezTo>
                    <a:pt x="8720" y="4445"/>
                    <a:pt x="8759" y="4435"/>
                    <a:pt x="8802" y="4435"/>
                  </a:cubicBezTo>
                  <a:cubicBezTo>
                    <a:pt x="8846" y="4435"/>
                    <a:pt x="8885" y="4445"/>
                    <a:pt x="8919" y="4466"/>
                  </a:cubicBezTo>
                  <a:cubicBezTo>
                    <a:pt x="8954" y="4486"/>
                    <a:pt x="8981" y="4514"/>
                    <a:pt x="9001" y="4550"/>
                  </a:cubicBezTo>
                  <a:cubicBezTo>
                    <a:pt x="9020" y="4586"/>
                    <a:pt x="9030" y="4627"/>
                    <a:pt x="9030" y="4673"/>
                  </a:cubicBezTo>
                  <a:lnTo>
                    <a:pt x="9029" y="4693"/>
                  </a:lnTo>
                  <a:close/>
                  <a:moveTo>
                    <a:pt x="8388" y="4439"/>
                  </a:moveTo>
                  <a:lnTo>
                    <a:pt x="8452" y="4439"/>
                  </a:lnTo>
                  <a:lnTo>
                    <a:pt x="8452" y="4908"/>
                  </a:lnTo>
                  <a:lnTo>
                    <a:pt x="8388" y="4908"/>
                  </a:lnTo>
                  <a:lnTo>
                    <a:pt x="8388" y="4439"/>
                  </a:lnTo>
                  <a:close/>
                  <a:moveTo>
                    <a:pt x="8387" y="4323"/>
                  </a:moveTo>
                  <a:cubicBezTo>
                    <a:pt x="8378" y="4314"/>
                    <a:pt x="8374" y="4303"/>
                    <a:pt x="8374" y="4291"/>
                  </a:cubicBezTo>
                  <a:cubicBezTo>
                    <a:pt x="8374" y="4279"/>
                    <a:pt x="8378" y="4268"/>
                    <a:pt x="8387" y="4260"/>
                  </a:cubicBezTo>
                  <a:cubicBezTo>
                    <a:pt x="8396" y="4251"/>
                    <a:pt x="8407" y="4246"/>
                    <a:pt x="8420" y="4246"/>
                  </a:cubicBezTo>
                  <a:cubicBezTo>
                    <a:pt x="8434" y="4246"/>
                    <a:pt x="8445" y="4250"/>
                    <a:pt x="8454" y="4259"/>
                  </a:cubicBezTo>
                  <a:cubicBezTo>
                    <a:pt x="8462" y="4268"/>
                    <a:pt x="8467" y="4278"/>
                    <a:pt x="8467" y="4290"/>
                  </a:cubicBezTo>
                  <a:cubicBezTo>
                    <a:pt x="8467" y="4303"/>
                    <a:pt x="8462" y="4314"/>
                    <a:pt x="8454" y="4323"/>
                  </a:cubicBezTo>
                  <a:cubicBezTo>
                    <a:pt x="8445" y="4332"/>
                    <a:pt x="8434" y="4336"/>
                    <a:pt x="8420" y="4336"/>
                  </a:cubicBezTo>
                  <a:cubicBezTo>
                    <a:pt x="8407" y="4336"/>
                    <a:pt x="8396" y="4332"/>
                    <a:pt x="8387" y="4323"/>
                  </a:cubicBezTo>
                  <a:close/>
                  <a:moveTo>
                    <a:pt x="8282" y="4879"/>
                  </a:moveTo>
                  <a:cubicBezTo>
                    <a:pt x="8270" y="4890"/>
                    <a:pt x="8255" y="4898"/>
                    <a:pt x="8238" y="4904"/>
                  </a:cubicBezTo>
                  <a:cubicBezTo>
                    <a:pt x="8220" y="4910"/>
                    <a:pt x="8202" y="4912"/>
                    <a:pt x="8183" y="4912"/>
                  </a:cubicBezTo>
                  <a:cubicBezTo>
                    <a:pt x="8139" y="4912"/>
                    <a:pt x="8105" y="4900"/>
                    <a:pt x="8081" y="4877"/>
                  </a:cubicBezTo>
                  <a:cubicBezTo>
                    <a:pt x="8057" y="4853"/>
                    <a:pt x="8045" y="4819"/>
                    <a:pt x="8045" y="4776"/>
                  </a:cubicBezTo>
                  <a:lnTo>
                    <a:pt x="8045" y="4492"/>
                  </a:lnTo>
                  <a:lnTo>
                    <a:pt x="7961" y="4492"/>
                  </a:lnTo>
                  <a:lnTo>
                    <a:pt x="7961" y="4439"/>
                  </a:lnTo>
                  <a:lnTo>
                    <a:pt x="8045" y="4439"/>
                  </a:lnTo>
                  <a:lnTo>
                    <a:pt x="8045" y="4336"/>
                  </a:lnTo>
                  <a:lnTo>
                    <a:pt x="8108" y="4336"/>
                  </a:lnTo>
                  <a:lnTo>
                    <a:pt x="8108" y="4439"/>
                  </a:lnTo>
                  <a:lnTo>
                    <a:pt x="8251" y="4439"/>
                  </a:lnTo>
                  <a:lnTo>
                    <a:pt x="8251" y="4492"/>
                  </a:lnTo>
                  <a:lnTo>
                    <a:pt x="8108" y="4492"/>
                  </a:lnTo>
                  <a:lnTo>
                    <a:pt x="8108" y="4772"/>
                  </a:lnTo>
                  <a:cubicBezTo>
                    <a:pt x="8108" y="4800"/>
                    <a:pt x="8115" y="4822"/>
                    <a:pt x="8129" y="4836"/>
                  </a:cubicBezTo>
                  <a:cubicBezTo>
                    <a:pt x="8143" y="4851"/>
                    <a:pt x="8164" y="4858"/>
                    <a:pt x="8190" y="4858"/>
                  </a:cubicBezTo>
                  <a:cubicBezTo>
                    <a:pt x="8203" y="4858"/>
                    <a:pt x="8216" y="4856"/>
                    <a:pt x="8228" y="4852"/>
                  </a:cubicBezTo>
                  <a:cubicBezTo>
                    <a:pt x="8240" y="4848"/>
                    <a:pt x="8251" y="4842"/>
                    <a:pt x="8260" y="4834"/>
                  </a:cubicBezTo>
                  <a:lnTo>
                    <a:pt x="8282" y="4879"/>
                  </a:lnTo>
                  <a:close/>
                  <a:moveTo>
                    <a:pt x="7803" y="4439"/>
                  </a:moveTo>
                  <a:lnTo>
                    <a:pt x="7866" y="4439"/>
                  </a:lnTo>
                  <a:lnTo>
                    <a:pt x="7866" y="4908"/>
                  </a:lnTo>
                  <a:lnTo>
                    <a:pt x="7803" y="4908"/>
                  </a:lnTo>
                  <a:lnTo>
                    <a:pt x="7803" y="4439"/>
                  </a:lnTo>
                  <a:close/>
                  <a:moveTo>
                    <a:pt x="7802" y="4323"/>
                  </a:moveTo>
                  <a:cubicBezTo>
                    <a:pt x="7793" y="4314"/>
                    <a:pt x="7788" y="4303"/>
                    <a:pt x="7788" y="4291"/>
                  </a:cubicBezTo>
                  <a:cubicBezTo>
                    <a:pt x="7788" y="4279"/>
                    <a:pt x="7793" y="4268"/>
                    <a:pt x="7802" y="4260"/>
                  </a:cubicBezTo>
                  <a:cubicBezTo>
                    <a:pt x="7811" y="4251"/>
                    <a:pt x="7822" y="4246"/>
                    <a:pt x="7835" y="4246"/>
                  </a:cubicBezTo>
                  <a:cubicBezTo>
                    <a:pt x="7848" y="4246"/>
                    <a:pt x="7859" y="4250"/>
                    <a:pt x="7868" y="4259"/>
                  </a:cubicBezTo>
                  <a:cubicBezTo>
                    <a:pt x="7877" y="4268"/>
                    <a:pt x="7881" y="4278"/>
                    <a:pt x="7881" y="4290"/>
                  </a:cubicBezTo>
                  <a:cubicBezTo>
                    <a:pt x="7881" y="4303"/>
                    <a:pt x="7877" y="4314"/>
                    <a:pt x="7868" y="4323"/>
                  </a:cubicBezTo>
                  <a:cubicBezTo>
                    <a:pt x="7859" y="4332"/>
                    <a:pt x="7848" y="4336"/>
                    <a:pt x="7835" y="4336"/>
                  </a:cubicBezTo>
                  <a:cubicBezTo>
                    <a:pt x="7822" y="4336"/>
                    <a:pt x="7811" y="4332"/>
                    <a:pt x="7802" y="4323"/>
                  </a:cubicBezTo>
                  <a:close/>
                  <a:moveTo>
                    <a:pt x="7571" y="4246"/>
                  </a:moveTo>
                  <a:lnTo>
                    <a:pt x="7635" y="4246"/>
                  </a:lnTo>
                  <a:lnTo>
                    <a:pt x="7635" y="4908"/>
                  </a:lnTo>
                  <a:lnTo>
                    <a:pt x="7571" y="4908"/>
                  </a:lnTo>
                  <a:lnTo>
                    <a:pt x="7571" y="4246"/>
                  </a:lnTo>
                  <a:close/>
                  <a:moveTo>
                    <a:pt x="7340" y="4439"/>
                  </a:moveTo>
                  <a:lnTo>
                    <a:pt x="7403" y="4439"/>
                  </a:lnTo>
                  <a:lnTo>
                    <a:pt x="7403" y="4908"/>
                  </a:lnTo>
                  <a:lnTo>
                    <a:pt x="7340" y="4908"/>
                  </a:lnTo>
                  <a:lnTo>
                    <a:pt x="7340" y="4439"/>
                  </a:lnTo>
                  <a:close/>
                  <a:moveTo>
                    <a:pt x="7339" y="4323"/>
                  </a:moveTo>
                  <a:cubicBezTo>
                    <a:pt x="7330" y="4314"/>
                    <a:pt x="7325" y="4303"/>
                    <a:pt x="7325" y="4291"/>
                  </a:cubicBezTo>
                  <a:cubicBezTo>
                    <a:pt x="7325" y="4279"/>
                    <a:pt x="7330" y="4268"/>
                    <a:pt x="7339" y="4260"/>
                  </a:cubicBezTo>
                  <a:cubicBezTo>
                    <a:pt x="7348" y="4251"/>
                    <a:pt x="7359" y="4246"/>
                    <a:pt x="7372" y="4246"/>
                  </a:cubicBezTo>
                  <a:cubicBezTo>
                    <a:pt x="7385" y="4246"/>
                    <a:pt x="7396" y="4250"/>
                    <a:pt x="7405" y="4259"/>
                  </a:cubicBezTo>
                  <a:cubicBezTo>
                    <a:pt x="7414" y="4268"/>
                    <a:pt x="7418" y="4278"/>
                    <a:pt x="7418" y="4290"/>
                  </a:cubicBezTo>
                  <a:cubicBezTo>
                    <a:pt x="7418" y="4303"/>
                    <a:pt x="7414" y="4314"/>
                    <a:pt x="7405" y="4323"/>
                  </a:cubicBezTo>
                  <a:cubicBezTo>
                    <a:pt x="7396" y="4332"/>
                    <a:pt x="7385" y="4336"/>
                    <a:pt x="7372" y="4336"/>
                  </a:cubicBezTo>
                  <a:cubicBezTo>
                    <a:pt x="7359" y="4336"/>
                    <a:pt x="7348" y="4332"/>
                    <a:pt x="7339" y="4323"/>
                  </a:cubicBezTo>
                  <a:close/>
                  <a:moveTo>
                    <a:pt x="7070" y="4833"/>
                  </a:moveTo>
                  <a:cubicBezTo>
                    <a:pt x="7096" y="4818"/>
                    <a:pt x="7117" y="4797"/>
                    <a:pt x="7133" y="4769"/>
                  </a:cubicBezTo>
                  <a:cubicBezTo>
                    <a:pt x="7148" y="4741"/>
                    <a:pt x="7155" y="4709"/>
                    <a:pt x="7155" y="4673"/>
                  </a:cubicBezTo>
                  <a:cubicBezTo>
                    <a:pt x="7155" y="4638"/>
                    <a:pt x="7148" y="4606"/>
                    <a:pt x="7133" y="4578"/>
                  </a:cubicBezTo>
                  <a:cubicBezTo>
                    <a:pt x="7117" y="4550"/>
                    <a:pt x="7096" y="4528"/>
                    <a:pt x="7070" y="4513"/>
                  </a:cubicBezTo>
                  <a:cubicBezTo>
                    <a:pt x="7043" y="4498"/>
                    <a:pt x="7013" y="4491"/>
                    <a:pt x="6980" y="4491"/>
                  </a:cubicBezTo>
                  <a:cubicBezTo>
                    <a:pt x="6947" y="4491"/>
                    <a:pt x="6917" y="4498"/>
                    <a:pt x="6890" y="4513"/>
                  </a:cubicBezTo>
                  <a:cubicBezTo>
                    <a:pt x="6864" y="4528"/>
                    <a:pt x="6843" y="4550"/>
                    <a:pt x="6828" y="4578"/>
                  </a:cubicBezTo>
                  <a:cubicBezTo>
                    <a:pt x="6813" y="4606"/>
                    <a:pt x="6805" y="4638"/>
                    <a:pt x="6805" y="4673"/>
                  </a:cubicBezTo>
                  <a:cubicBezTo>
                    <a:pt x="6805" y="4709"/>
                    <a:pt x="6813" y="4741"/>
                    <a:pt x="6828" y="4769"/>
                  </a:cubicBezTo>
                  <a:cubicBezTo>
                    <a:pt x="6843" y="4797"/>
                    <a:pt x="6864" y="4818"/>
                    <a:pt x="6890" y="4833"/>
                  </a:cubicBezTo>
                  <a:cubicBezTo>
                    <a:pt x="6917" y="4849"/>
                    <a:pt x="6947" y="4856"/>
                    <a:pt x="6980" y="4856"/>
                  </a:cubicBezTo>
                  <a:cubicBezTo>
                    <a:pt x="7013" y="4856"/>
                    <a:pt x="7043" y="4849"/>
                    <a:pt x="7070" y="4833"/>
                  </a:cubicBezTo>
                  <a:close/>
                  <a:moveTo>
                    <a:pt x="7104" y="4465"/>
                  </a:moveTo>
                  <a:cubicBezTo>
                    <a:pt x="7140" y="4485"/>
                    <a:pt x="7168" y="4513"/>
                    <a:pt x="7188" y="4549"/>
                  </a:cubicBezTo>
                  <a:cubicBezTo>
                    <a:pt x="7209" y="4586"/>
                    <a:pt x="7219" y="4627"/>
                    <a:pt x="7219" y="4673"/>
                  </a:cubicBezTo>
                  <a:cubicBezTo>
                    <a:pt x="7219" y="4720"/>
                    <a:pt x="7209" y="4761"/>
                    <a:pt x="7188" y="4797"/>
                  </a:cubicBezTo>
                  <a:cubicBezTo>
                    <a:pt x="7168" y="4834"/>
                    <a:pt x="7140" y="4862"/>
                    <a:pt x="7104" y="4882"/>
                  </a:cubicBezTo>
                  <a:cubicBezTo>
                    <a:pt x="7069" y="4902"/>
                    <a:pt x="7029" y="4912"/>
                    <a:pt x="6985" y="4912"/>
                  </a:cubicBezTo>
                  <a:cubicBezTo>
                    <a:pt x="6945" y="4912"/>
                    <a:pt x="6910" y="4904"/>
                    <a:pt x="6879" y="4887"/>
                  </a:cubicBezTo>
                  <a:cubicBezTo>
                    <a:pt x="6847" y="4871"/>
                    <a:pt x="6822" y="4847"/>
                    <a:pt x="6803" y="4815"/>
                  </a:cubicBezTo>
                  <a:lnTo>
                    <a:pt x="6803" y="4908"/>
                  </a:lnTo>
                  <a:lnTo>
                    <a:pt x="6742" y="4908"/>
                  </a:lnTo>
                  <a:lnTo>
                    <a:pt x="6742" y="4246"/>
                  </a:lnTo>
                  <a:lnTo>
                    <a:pt x="6806" y="4246"/>
                  </a:lnTo>
                  <a:lnTo>
                    <a:pt x="6806" y="4528"/>
                  </a:lnTo>
                  <a:cubicBezTo>
                    <a:pt x="6825" y="4498"/>
                    <a:pt x="6851" y="4475"/>
                    <a:pt x="6881" y="4459"/>
                  </a:cubicBezTo>
                  <a:cubicBezTo>
                    <a:pt x="6912" y="4443"/>
                    <a:pt x="6946" y="4435"/>
                    <a:pt x="6985" y="4435"/>
                  </a:cubicBezTo>
                  <a:cubicBezTo>
                    <a:pt x="7029" y="4435"/>
                    <a:pt x="7069" y="4445"/>
                    <a:pt x="7104" y="4465"/>
                  </a:cubicBezTo>
                  <a:close/>
                  <a:moveTo>
                    <a:pt x="6511" y="4439"/>
                  </a:moveTo>
                  <a:lnTo>
                    <a:pt x="6574" y="4439"/>
                  </a:lnTo>
                  <a:lnTo>
                    <a:pt x="6574" y="4908"/>
                  </a:lnTo>
                  <a:lnTo>
                    <a:pt x="6511" y="4908"/>
                  </a:lnTo>
                  <a:lnTo>
                    <a:pt x="6511" y="4439"/>
                  </a:lnTo>
                  <a:close/>
                  <a:moveTo>
                    <a:pt x="6510" y="4323"/>
                  </a:moveTo>
                  <a:cubicBezTo>
                    <a:pt x="6501" y="4314"/>
                    <a:pt x="6496" y="4303"/>
                    <a:pt x="6496" y="4291"/>
                  </a:cubicBezTo>
                  <a:cubicBezTo>
                    <a:pt x="6496" y="4279"/>
                    <a:pt x="6501" y="4268"/>
                    <a:pt x="6510" y="4260"/>
                  </a:cubicBezTo>
                  <a:cubicBezTo>
                    <a:pt x="6519" y="4251"/>
                    <a:pt x="6530" y="4246"/>
                    <a:pt x="6543" y="4246"/>
                  </a:cubicBezTo>
                  <a:cubicBezTo>
                    <a:pt x="6556" y="4246"/>
                    <a:pt x="6567" y="4250"/>
                    <a:pt x="6576" y="4259"/>
                  </a:cubicBezTo>
                  <a:cubicBezTo>
                    <a:pt x="6585" y="4268"/>
                    <a:pt x="6589" y="4278"/>
                    <a:pt x="6589" y="4290"/>
                  </a:cubicBezTo>
                  <a:cubicBezTo>
                    <a:pt x="6589" y="4303"/>
                    <a:pt x="6585" y="4314"/>
                    <a:pt x="6576" y="4323"/>
                  </a:cubicBezTo>
                  <a:cubicBezTo>
                    <a:pt x="6567" y="4332"/>
                    <a:pt x="6556" y="4336"/>
                    <a:pt x="6543" y="4336"/>
                  </a:cubicBezTo>
                  <a:cubicBezTo>
                    <a:pt x="6530" y="4336"/>
                    <a:pt x="6519" y="4332"/>
                    <a:pt x="6510" y="4323"/>
                  </a:cubicBezTo>
                  <a:close/>
                  <a:moveTo>
                    <a:pt x="6099" y="4896"/>
                  </a:moveTo>
                  <a:cubicBezTo>
                    <a:pt x="6064" y="4885"/>
                    <a:pt x="6037" y="4871"/>
                    <a:pt x="6017" y="4854"/>
                  </a:cubicBezTo>
                  <a:lnTo>
                    <a:pt x="6046" y="4804"/>
                  </a:lnTo>
                  <a:cubicBezTo>
                    <a:pt x="6066" y="4820"/>
                    <a:pt x="6090" y="4833"/>
                    <a:pt x="6120" y="4842"/>
                  </a:cubicBezTo>
                  <a:cubicBezTo>
                    <a:pt x="6150" y="4852"/>
                    <a:pt x="6181" y="4857"/>
                    <a:pt x="6213" y="4857"/>
                  </a:cubicBezTo>
                  <a:cubicBezTo>
                    <a:pt x="6256" y="4857"/>
                    <a:pt x="6288" y="4850"/>
                    <a:pt x="6308" y="4837"/>
                  </a:cubicBezTo>
                  <a:cubicBezTo>
                    <a:pt x="6329" y="4824"/>
                    <a:pt x="6339" y="4805"/>
                    <a:pt x="6339" y="4780"/>
                  </a:cubicBezTo>
                  <a:cubicBezTo>
                    <a:pt x="6339" y="4763"/>
                    <a:pt x="6333" y="4750"/>
                    <a:pt x="6322" y="4740"/>
                  </a:cubicBezTo>
                  <a:cubicBezTo>
                    <a:pt x="6311" y="4730"/>
                    <a:pt x="6296" y="4723"/>
                    <a:pt x="6279" y="4717"/>
                  </a:cubicBezTo>
                  <a:cubicBezTo>
                    <a:pt x="6262" y="4712"/>
                    <a:pt x="6239" y="4708"/>
                    <a:pt x="6210" y="4703"/>
                  </a:cubicBezTo>
                  <a:cubicBezTo>
                    <a:pt x="6172" y="4696"/>
                    <a:pt x="6141" y="4688"/>
                    <a:pt x="6118" y="4681"/>
                  </a:cubicBezTo>
                  <a:cubicBezTo>
                    <a:pt x="6095" y="4674"/>
                    <a:pt x="6075" y="4661"/>
                    <a:pt x="6059" y="4643"/>
                  </a:cubicBezTo>
                  <a:cubicBezTo>
                    <a:pt x="6042" y="4625"/>
                    <a:pt x="6034" y="4601"/>
                    <a:pt x="6034" y="4569"/>
                  </a:cubicBezTo>
                  <a:cubicBezTo>
                    <a:pt x="6034" y="4530"/>
                    <a:pt x="6051" y="4498"/>
                    <a:pt x="6083" y="4473"/>
                  </a:cubicBezTo>
                  <a:cubicBezTo>
                    <a:pt x="6116" y="4448"/>
                    <a:pt x="6162" y="4435"/>
                    <a:pt x="6220" y="4435"/>
                  </a:cubicBezTo>
                  <a:cubicBezTo>
                    <a:pt x="6251" y="4435"/>
                    <a:pt x="6281" y="4439"/>
                    <a:pt x="6311" y="4447"/>
                  </a:cubicBezTo>
                  <a:cubicBezTo>
                    <a:pt x="6342" y="4455"/>
                    <a:pt x="6367" y="4466"/>
                    <a:pt x="6386" y="4479"/>
                  </a:cubicBezTo>
                  <a:lnTo>
                    <a:pt x="6359" y="4530"/>
                  </a:lnTo>
                  <a:cubicBezTo>
                    <a:pt x="6320" y="4503"/>
                    <a:pt x="6274" y="4490"/>
                    <a:pt x="6220" y="4490"/>
                  </a:cubicBezTo>
                  <a:cubicBezTo>
                    <a:pt x="6180" y="4490"/>
                    <a:pt x="6149" y="4497"/>
                    <a:pt x="6129" y="4511"/>
                  </a:cubicBezTo>
                  <a:cubicBezTo>
                    <a:pt x="6108" y="4525"/>
                    <a:pt x="6098" y="4544"/>
                    <a:pt x="6098" y="4567"/>
                  </a:cubicBezTo>
                  <a:cubicBezTo>
                    <a:pt x="6098" y="4585"/>
                    <a:pt x="6104" y="4599"/>
                    <a:pt x="6115" y="4610"/>
                  </a:cubicBezTo>
                  <a:cubicBezTo>
                    <a:pt x="6127" y="4621"/>
                    <a:pt x="6141" y="4629"/>
                    <a:pt x="6158" y="4634"/>
                  </a:cubicBezTo>
                  <a:cubicBezTo>
                    <a:pt x="6176" y="4639"/>
                    <a:pt x="6200" y="4644"/>
                    <a:pt x="6230" y="4649"/>
                  </a:cubicBezTo>
                  <a:cubicBezTo>
                    <a:pt x="6268" y="4656"/>
                    <a:pt x="6298" y="4664"/>
                    <a:pt x="6320" y="4671"/>
                  </a:cubicBezTo>
                  <a:cubicBezTo>
                    <a:pt x="6343" y="4678"/>
                    <a:pt x="6362" y="4690"/>
                    <a:pt x="6378" y="4707"/>
                  </a:cubicBezTo>
                  <a:cubicBezTo>
                    <a:pt x="6395" y="4724"/>
                    <a:pt x="6403" y="4748"/>
                    <a:pt x="6403" y="4779"/>
                  </a:cubicBezTo>
                  <a:cubicBezTo>
                    <a:pt x="6403" y="4820"/>
                    <a:pt x="6385" y="4852"/>
                    <a:pt x="6351" y="4876"/>
                  </a:cubicBezTo>
                  <a:cubicBezTo>
                    <a:pt x="6317" y="4900"/>
                    <a:pt x="6269" y="4912"/>
                    <a:pt x="6209" y="4912"/>
                  </a:cubicBezTo>
                  <a:cubicBezTo>
                    <a:pt x="6170" y="4912"/>
                    <a:pt x="6134" y="4907"/>
                    <a:pt x="6099" y="4896"/>
                  </a:cubicBezTo>
                  <a:moveTo>
                    <a:pt x="5653" y="4896"/>
                  </a:moveTo>
                  <a:cubicBezTo>
                    <a:pt x="5618" y="4885"/>
                    <a:pt x="5591" y="4871"/>
                    <a:pt x="5571" y="4854"/>
                  </a:cubicBezTo>
                  <a:lnTo>
                    <a:pt x="5600" y="4804"/>
                  </a:lnTo>
                  <a:cubicBezTo>
                    <a:pt x="5619" y="4820"/>
                    <a:pt x="5644" y="4833"/>
                    <a:pt x="5674" y="4842"/>
                  </a:cubicBezTo>
                  <a:cubicBezTo>
                    <a:pt x="5704" y="4852"/>
                    <a:pt x="5735" y="4857"/>
                    <a:pt x="5767" y="4857"/>
                  </a:cubicBezTo>
                  <a:cubicBezTo>
                    <a:pt x="5810" y="4857"/>
                    <a:pt x="5842" y="4850"/>
                    <a:pt x="5862" y="4837"/>
                  </a:cubicBezTo>
                  <a:cubicBezTo>
                    <a:pt x="5883" y="4824"/>
                    <a:pt x="5893" y="4805"/>
                    <a:pt x="5893" y="4780"/>
                  </a:cubicBezTo>
                  <a:cubicBezTo>
                    <a:pt x="5893" y="4763"/>
                    <a:pt x="5887" y="4750"/>
                    <a:pt x="5876" y="4740"/>
                  </a:cubicBezTo>
                  <a:cubicBezTo>
                    <a:pt x="5865" y="4730"/>
                    <a:pt x="5850" y="4723"/>
                    <a:pt x="5833" y="4717"/>
                  </a:cubicBezTo>
                  <a:cubicBezTo>
                    <a:pt x="5816" y="4712"/>
                    <a:pt x="5793" y="4708"/>
                    <a:pt x="5764" y="4703"/>
                  </a:cubicBezTo>
                  <a:cubicBezTo>
                    <a:pt x="5726" y="4696"/>
                    <a:pt x="5695" y="4688"/>
                    <a:pt x="5672" y="4681"/>
                  </a:cubicBezTo>
                  <a:cubicBezTo>
                    <a:pt x="5649" y="4674"/>
                    <a:pt x="5629" y="4661"/>
                    <a:pt x="5613" y="4643"/>
                  </a:cubicBezTo>
                  <a:cubicBezTo>
                    <a:pt x="5596" y="4625"/>
                    <a:pt x="5588" y="4601"/>
                    <a:pt x="5588" y="4569"/>
                  </a:cubicBezTo>
                  <a:cubicBezTo>
                    <a:pt x="5588" y="4530"/>
                    <a:pt x="5604" y="4498"/>
                    <a:pt x="5637" y="4473"/>
                  </a:cubicBezTo>
                  <a:cubicBezTo>
                    <a:pt x="5670" y="4448"/>
                    <a:pt x="5716" y="4435"/>
                    <a:pt x="5774" y="4435"/>
                  </a:cubicBezTo>
                  <a:cubicBezTo>
                    <a:pt x="5804" y="4435"/>
                    <a:pt x="5835" y="4439"/>
                    <a:pt x="5865" y="4447"/>
                  </a:cubicBezTo>
                  <a:cubicBezTo>
                    <a:pt x="5896" y="4455"/>
                    <a:pt x="5921" y="4466"/>
                    <a:pt x="5940" y="4479"/>
                  </a:cubicBezTo>
                  <a:lnTo>
                    <a:pt x="5913" y="4530"/>
                  </a:lnTo>
                  <a:cubicBezTo>
                    <a:pt x="5874" y="4503"/>
                    <a:pt x="5828" y="4490"/>
                    <a:pt x="5774" y="4490"/>
                  </a:cubicBezTo>
                  <a:cubicBezTo>
                    <a:pt x="5734" y="4490"/>
                    <a:pt x="5703" y="4497"/>
                    <a:pt x="5682" y="4511"/>
                  </a:cubicBezTo>
                  <a:cubicBezTo>
                    <a:pt x="5662" y="4525"/>
                    <a:pt x="5652" y="4544"/>
                    <a:pt x="5652" y="4567"/>
                  </a:cubicBezTo>
                  <a:cubicBezTo>
                    <a:pt x="5652" y="4585"/>
                    <a:pt x="5657" y="4599"/>
                    <a:pt x="5669" y="4610"/>
                  </a:cubicBezTo>
                  <a:cubicBezTo>
                    <a:pt x="5681" y="4621"/>
                    <a:pt x="5695" y="4629"/>
                    <a:pt x="5712" y="4634"/>
                  </a:cubicBezTo>
                  <a:cubicBezTo>
                    <a:pt x="5730" y="4639"/>
                    <a:pt x="5754" y="4644"/>
                    <a:pt x="5784" y="4649"/>
                  </a:cubicBezTo>
                  <a:cubicBezTo>
                    <a:pt x="5821" y="4656"/>
                    <a:pt x="5852" y="4664"/>
                    <a:pt x="5874" y="4671"/>
                  </a:cubicBezTo>
                  <a:cubicBezTo>
                    <a:pt x="5897" y="4678"/>
                    <a:pt x="5916" y="4690"/>
                    <a:pt x="5932" y="4707"/>
                  </a:cubicBezTo>
                  <a:cubicBezTo>
                    <a:pt x="5948" y="4724"/>
                    <a:pt x="5956" y="4748"/>
                    <a:pt x="5956" y="4779"/>
                  </a:cubicBezTo>
                  <a:cubicBezTo>
                    <a:pt x="5956" y="4820"/>
                    <a:pt x="5939" y="4852"/>
                    <a:pt x="5905" y="4876"/>
                  </a:cubicBezTo>
                  <a:cubicBezTo>
                    <a:pt x="5871" y="4900"/>
                    <a:pt x="5823" y="4912"/>
                    <a:pt x="5762" y="4912"/>
                  </a:cubicBezTo>
                  <a:cubicBezTo>
                    <a:pt x="5724" y="4912"/>
                    <a:pt x="5688" y="4907"/>
                    <a:pt x="5653" y="4896"/>
                  </a:cubicBezTo>
                  <a:moveTo>
                    <a:pt x="5367" y="4833"/>
                  </a:moveTo>
                  <a:cubicBezTo>
                    <a:pt x="5393" y="4818"/>
                    <a:pt x="5414" y="4797"/>
                    <a:pt x="5429" y="4769"/>
                  </a:cubicBezTo>
                  <a:cubicBezTo>
                    <a:pt x="5444" y="4741"/>
                    <a:pt x="5451" y="4709"/>
                    <a:pt x="5451" y="4673"/>
                  </a:cubicBezTo>
                  <a:cubicBezTo>
                    <a:pt x="5451" y="4638"/>
                    <a:pt x="5444" y="4606"/>
                    <a:pt x="5429" y="4578"/>
                  </a:cubicBezTo>
                  <a:cubicBezTo>
                    <a:pt x="5414" y="4550"/>
                    <a:pt x="5393" y="4528"/>
                    <a:pt x="5367" y="4513"/>
                  </a:cubicBezTo>
                  <a:cubicBezTo>
                    <a:pt x="5340" y="4498"/>
                    <a:pt x="5310" y="4491"/>
                    <a:pt x="5277" y="4491"/>
                  </a:cubicBezTo>
                  <a:cubicBezTo>
                    <a:pt x="5244" y="4491"/>
                    <a:pt x="5214" y="4498"/>
                    <a:pt x="5187" y="4513"/>
                  </a:cubicBezTo>
                  <a:cubicBezTo>
                    <a:pt x="5161" y="4528"/>
                    <a:pt x="5140" y="4550"/>
                    <a:pt x="5124" y="4578"/>
                  </a:cubicBezTo>
                  <a:cubicBezTo>
                    <a:pt x="5109" y="4606"/>
                    <a:pt x="5102" y="4638"/>
                    <a:pt x="5102" y="4673"/>
                  </a:cubicBezTo>
                  <a:cubicBezTo>
                    <a:pt x="5102" y="4709"/>
                    <a:pt x="5109" y="4741"/>
                    <a:pt x="5124" y="4769"/>
                  </a:cubicBezTo>
                  <a:cubicBezTo>
                    <a:pt x="5140" y="4797"/>
                    <a:pt x="5161" y="4818"/>
                    <a:pt x="5187" y="4833"/>
                  </a:cubicBezTo>
                  <a:cubicBezTo>
                    <a:pt x="5214" y="4849"/>
                    <a:pt x="5244" y="4856"/>
                    <a:pt x="5277" y="4856"/>
                  </a:cubicBezTo>
                  <a:cubicBezTo>
                    <a:pt x="5310" y="4856"/>
                    <a:pt x="5340" y="4849"/>
                    <a:pt x="5367" y="4833"/>
                  </a:cubicBezTo>
                  <a:close/>
                  <a:moveTo>
                    <a:pt x="5154" y="4882"/>
                  </a:moveTo>
                  <a:cubicBezTo>
                    <a:pt x="5118" y="4861"/>
                    <a:pt x="5089" y="4833"/>
                    <a:pt x="5069" y="4796"/>
                  </a:cubicBezTo>
                  <a:cubicBezTo>
                    <a:pt x="5048" y="4760"/>
                    <a:pt x="5037" y="4719"/>
                    <a:pt x="5037" y="4673"/>
                  </a:cubicBezTo>
                  <a:cubicBezTo>
                    <a:pt x="5037" y="4628"/>
                    <a:pt x="5048" y="4587"/>
                    <a:pt x="5069" y="4550"/>
                  </a:cubicBezTo>
                  <a:cubicBezTo>
                    <a:pt x="5089" y="4514"/>
                    <a:pt x="5118" y="4486"/>
                    <a:pt x="5154" y="4466"/>
                  </a:cubicBezTo>
                  <a:cubicBezTo>
                    <a:pt x="5191" y="4445"/>
                    <a:pt x="5232" y="4435"/>
                    <a:pt x="5277" y="4435"/>
                  </a:cubicBezTo>
                  <a:cubicBezTo>
                    <a:pt x="5322" y="4435"/>
                    <a:pt x="5363" y="4445"/>
                    <a:pt x="5399" y="4466"/>
                  </a:cubicBezTo>
                  <a:cubicBezTo>
                    <a:pt x="5436" y="4486"/>
                    <a:pt x="5464" y="4514"/>
                    <a:pt x="5485" y="4550"/>
                  </a:cubicBezTo>
                  <a:cubicBezTo>
                    <a:pt x="5505" y="4587"/>
                    <a:pt x="5516" y="4628"/>
                    <a:pt x="5516" y="4673"/>
                  </a:cubicBezTo>
                  <a:cubicBezTo>
                    <a:pt x="5516" y="4719"/>
                    <a:pt x="5505" y="4760"/>
                    <a:pt x="5485" y="4796"/>
                  </a:cubicBezTo>
                  <a:cubicBezTo>
                    <a:pt x="5464" y="4833"/>
                    <a:pt x="5436" y="4861"/>
                    <a:pt x="5399" y="4882"/>
                  </a:cubicBezTo>
                  <a:cubicBezTo>
                    <a:pt x="5363" y="4902"/>
                    <a:pt x="5322" y="4912"/>
                    <a:pt x="5277" y="4912"/>
                  </a:cubicBezTo>
                  <a:cubicBezTo>
                    <a:pt x="5232" y="4912"/>
                    <a:pt x="5191" y="4902"/>
                    <a:pt x="5154" y="4882"/>
                  </a:cubicBezTo>
                  <a:close/>
                  <a:moveTo>
                    <a:pt x="4869" y="4612"/>
                  </a:moveTo>
                  <a:cubicBezTo>
                    <a:pt x="4902" y="4585"/>
                    <a:pt x="4918" y="4547"/>
                    <a:pt x="4918" y="4498"/>
                  </a:cubicBezTo>
                  <a:cubicBezTo>
                    <a:pt x="4918" y="4447"/>
                    <a:pt x="4902" y="4408"/>
                    <a:pt x="4869" y="4381"/>
                  </a:cubicBezTo>
                  <a:cubicBezTo>
                    <a:pt x="4836" y="4354"/>
                    <a:pt x="4789" y="4341"/>
                    <a:pt x="4727" y="4341"/>
                  </a:cubicBezTo>
                  <a:lnTo>
                    <a:pt x="4561" y="4341"/>
                  </a:lnTo>
                  <a:lnTo>
                    <a:pt x="4561" y="4653"/>
                  </a:lnTo>
                  <a:lnTo>
                    <a:pt x="4727" y="4653"/>
                  </a:lnTo>
                  <a:cubicBezTo>
                    <a:pt x="4789" y="4653"/>
                    <a:pt x="4836" y="4639"/>
                    <a:pt x="4869" y="4612"/>
                  </a:cubicBezTo>
                  <a:close/>
                  <a:moveTo>
                    <a:pt x="4917" y="4341"/>
                  </a:moveTo>
                  <a:cubicBezTo>
                    <a:pt x="4962" y="4379"/>
                    <a:pt x="4985" y="4431"/>
                    <a:pt x="4985" y="4498"/>
                  </a:cubicBezTo>
                  <a:cubicBezTo>
                    <a:pt x="4985" y="4564"/>
                    <a:pt x="4962" y="4616"/>
                    <a:pt x="4917" y="4654"/>
                  </a:cubicBezTo>
                  <a:cubicBezTo>
                    <a:pt x="4871" y="4692"/>
                    <a:pt x="4809" y="4711"/>
                    <a:pt x="4729" y="4711"/>
                  </a:cubicBezTo>
                  <a:lnTo>
                    <a:pt x="4561" y="4711"/>
                  </a:lnTo>
                  <a:lnTo>
                    <a:pt x="4561" y="4908"/>
                  </a:lnTo>
                  <a:lnTo>
                    <a:pt x="4495" y="4908"/>
                  </a:lnTo>
                  <a:lnTo>
                    <a:pt x="4495" y="4284"/>
                  </a:lnTo>
                  <a:lnTo>
                    <a:pt x="4729" y="4284"/>
                  </a:lnTo>
                  <a:cubicBezTo>
                    <a:pt x="4809" y="4284"/>
                    <a:pt x="4871" y="4303"/>
                    <a:pt x="4917" y="4341"/>
                  </a:cubicBezTo>
                  <a:moveTo>
                    <a:pt x="3939" y="4812"/>
                  </a:moveTo>
                  <a:cubicBezTo>
                    <a:pt x="3966" y="4797"/>
                    <a:pt x="3987" y="4777"/>
                    <a:pt x="4002" y="4751"/>
                  </a:cubicBezTo>
                  <a:cubicBezTo>
                    <a:pt x="4018" y="4725"/>
                    <a:pt x="4025" y="4695"/>
                    <a:pt x="4025" y="4662"/>
                  </a:cubicBezTo>
                  <a:cubicBezTo>
                    <a:pt x="4025" y="4628"/>
                    <a:pt x="4018" y="4599"/>
                    <a:pt x="4002" y="4573"/>
                  </a:cubicBezTo>
                  <a:cubicBezTo>
                    <a:pt x="3987" y="4547"/>
                    <a:pt x="3966" y="4527"/>
                    <a:pt x="3939" y="4512"/>
                  </a:cubicBezTo>
                  <a:cubicBezTo>
                    <a:pt x="3912" y="4498"/>
                    <a:pt x="3881" y="4491"/>
                    <a:pt x="3846" y="4491"/>
                  </a:cubicBezTo>
                  <a:cubicBezTo>
                    <a:pt x="3812" y="4491"/>
                    <a:pt x="3782" y="4498"/>
                    <a:pt x="3755" y="4512"/>
                  </a:cubicBezTo>
                  <a:cubicBezTo>
                    <a:pt x="3728" y="4526"/>
                    <a:pt x="3707" y="4546"/>
                    <a:pt x="3691" y="4573"/>
                  </a:cubicBezTo>
                  <a:cubicBezTo>
                    <a:pt x="3676" y="4599"/>
                    <a:pt x="3669" y="4628"/>
                    <a:pt x="3669" y="4662"/>
                  </a:cubicBezTo>
                  <a:cubicBezTo>
                    <a:pt x="3669" y="4695"/>
                    <a:pt x="3676" y="4725"/>
                    <a:pt x="3691" y="4751"/>
                  </a:cubicBezTo>
                  <a:cubicBezTo>
                    <a:pt x="3707" y="4777"/>
                    <a:pt x="3728" y="4797"/>
                    <a:pt x="3755" y="4812"/>
                  </a:cubicBezTo>
                  <a:cubicBezTo>
                    <a:pt x="3782" y="4827"/>
                    <a:pt x="3812" y="4834"/>
                    <a:pt x="3846" y="4834"/>
                  </a:cubicBezTo>
                  <a:cubicBezTo>
                    <a:pt x="3880" y="4834"/>
                    <a:pt x="3911" y="4827"/>
                    <a:pt x="3939" y="4812"/>
                  </a:cubicBezTo>
                  <a:moveTo>
                    <a:pt x="4087" y="4439"/>
                  </a:moveTo>
                  <a:lnTo>
                    <a:pt x="4087" y="4851"/>
                  </a:lnTo>
                  <a:cubicBezTo>
                    <a:pt x="4087" y="4930"/>
                    <a:pt x="4067" y="4990"/>
                    <a:pt x="4028" y="5028"/>
                  </a:cubicBezTo>
                  <a:cubicBezTo>
                    <a:pt x="3989" y="5066"/>
                    <a:pt x="3930" y="5085"/>
                    <a:pt x="3852" y="5085"/>
                  </a:cubicBezTo>
                  <a:cubicBezTo>
                    <a:pt x="3808" y="5085"/>
                    <a:pt x="3767" y="5079"/>
                    <a:pt x="3728" y="5066"/>
                  </a:cubicBezTo>
                  <a:cubicBezTo>
                    <a:pt x="3689" y="5053"/>
                    <a:pt x="3657" y="5036"/>
                    <a:pt x="3633" y="5013"/>
                  </a:cubicBezTo>
                  <a:lnTo>
                    <a:pt x="3665" y="4965"/>
                  </a:lnTo>
                  <a:cubicBezTo>
                    <a:pt x="3688" y="4985"/>
                    <a:pt x="3715" y="5001"/>
                    <a:pt x="3748" y="5012"/>
                  </a:cubicBezTo>
                  <a:cubicBezTo>
                    <a:pt x="3780" y="5024"/>
                    <a:pt x="3814" y="5029"/>
                    <a:pt x="3850" y="5029"/>
                  </a:cubicBezTo>
                  <a:cubicBezTo>
                    <a:pt x="3910" y="5029"/>
                    <a:pt x="3953" y="5015"/>
                    <a:pt x="3981" y="4988"/>
                  </a:cubicBezTo>
                  <a:cubicBezTo>
                    <a:pt x="4009" y="4960"/>
                    <a:pt x="4023" y="4917"/>
                    <a:pt x="4023" y="4859"/>
                  </a:cubicBezTo>
                  <a:lnTo>
                    <a:pt x="4023" y="4799"/>
                  </a:lnTo>
                  <a:cubicBezTo>
                    <a:pt x="4004" y="4829"/>
                    <a:pt x="3978" y="4851"/>
                    <a:pt x="3946" y="4867"/>
                  </a:cubicBezTo>
                  <a:cubicBezTo>
                    <a:pt x="3914" y="4882"/>
                    <a:pt x="3879" y="4890"/>
                    <a:pt x="3840" y="4890"/>
                  </a:cubicBezTo>
                  <a:cubicBezTo>
                    <a:pt x="3796" y="4890"/>
                    <a:pt x="3756" y="4880"/>
                    <a:pt x="3720" y="4861"/>
                  </a:cubicBezTo>
                  <a:cubicBezTo>
                    <a:pt x="3684" y="4842"/>
                    <a:pt x="3656" y="4815"/>
                    <a:pt x="3635" y="4780"/>
                  </a:cubicBezTo>
                  <a:cubicBezTo>
                    <a:pt x="3614" y="4745"/>
                    <a:pt x="3604" y="4706"/>
                    <a:pt x="3604" y="4662"/>
                  </a:cubicBezTo>
                  <a:cubicBezTo>
                    <a:pt x="3604" y="4618"/>
                    <a:pt x="3614" y="4578"/>
                    <a:pt x="3635" y="4544"/>
                  </a:cubicBezTo>
                  <a:cubicBezTo>
                    <a:pt x="3656" y="4510"/>
                    <a:pt x="3684" y="4483"/>
                    <a:pt x="3719" y="4464"/>
                  </a:cubicBezTo>
                  <a:cubicBezTo>
                    <a:pt x="3755" y="4445"/>
                    <a:pt x="3795" y="4435"/>
                    <a:pt x="3840" y="4435"/>
                  </a:cubicBezTo>
                  <a:cubicBezTo>
                    <a:pt x="3880" y="4435"/>
                    <a:pt x="3916" y="4443"/>
                    <a:pt x="3948" y="4459"/>
                  </a:cubicBezTo>
                  <a:cubicBezTo>
                    <a:pt x="3981" y="4475"/>
                    <a:pt x="4006" y="4499"/>
                    <a:pt x="4026" y="4529"/>
                  </a:cubicBezTo>
                  <a:lnTo>
                    <a:pt x="4026" y="4439"/>
                  </a:lnTo>
                  <a:lnTo>
                    <a:pt x="4087" y="4439"/>
                  </a:lnTo>
                  <a:close/>
                  <a:moveTo>
                    <a:pt x="3453" y="4487"/>
                  </a:moveTo>
                  <a:cubicBezTo>
                    <a:pt x="3487" y="4521"/>
                    <a:pt x="3505" y="4570"/>
                    <a:pt x="3505" y="4636"/>
                  </a:cubicBezTo>
                  <a:lnTo>
                    <a:pt x="3505" y="4908"/>
                  </a:lnTo>
                  <a:lnTo>
                    <a:pt x="3441" y="4908"/>
                  </a:lnTo>
                  <a:lnTo>
                    <a:pt x="3441" y="4642"/>
                  </a:lnTo>
                  <a:cubicBezTo>
                    <a:pt x="3441" y="4593"/>
                    <a:pt x="3429" y="4556"/>
                    <a:pt x="3405" y="4531"/>
                  </a:cubicBezTo>
                  <a:cubicBezTo>
                    <a:pt x="3380" y="4505"/>
                    <a:pt x="3345" y="4492"/>
                    <a:pt x="3300" y="4492"/>
                  </a:cubicBezTo>
                  <a:cubicBezTo>
                    <a:pt x="3249" y="4492"/>
                    <a:pt x="3209" y="4507"/>
                    <a:pt x="3180" y="4537"/>
                  </a:cubicBezTo>
                  <a:cubicBezTo>
                    <a:pt x="3150" y="4567"/>
                    <a:pt x="3136" y="4609"/>
                    <a:pt x="3136" y="4662"/>
                  </a:cubicBezTo>
                  <a:lnTo>
                    <a:pt x="3136" y="4908"/>
                  </a:lnTo>
                  <a:lnTo>
                    <a:pt x="3072" y="4908"/>
                  </a:lnTo>
                  <a:lnTo>
                    <a:pt x="3072" y="4439"/>
                  </a:lnTo>
                  <a:lnTo>
                    <a:pt x="3133" y="4439"/>
                  </a:lnTo>
                  <a:lnTo>
                    <a:pt x="3133" y="4525"/>
                  </a:lnTo>
                  <a:cubicBezTo>
                    <a:pt x="3150" y="4497"/>
                    <a:pt x="3174" y="4475"/>
                    <a:pt x="3205" y="4459"/>
                  </a:cubicBezTo>
                  <a:cubicBezTo>
                    <a:pt x="3236" y="4443"/>
                    <a:pt x="3271" y="4435"/>
                    <a:pt x="3312" y="4435"/>
                  </a:cubicBezTo>
                  <a:cubicBezTo>
                    <a:pt x="3371" y="4435"/>
                    <a:pt x="3418" y="4452"/>
                    <a:pt x="3453" y="4487"/>
                  </a:cubicBezTo>
                  <a:close/>
                  <a:moveTo>
                    <a:pt x="2858" y="4439"/>
                  </a:moveTo>
                  <a:lnTo>
                    <a:pt x="2922" y="4439"/>
                  </a:lnTo>
                  <a:lnTo>
                    <a:pt x="2922" y="4908"/>
                  </a:lnTo>
                  <a:lnTo>
                    <a:pt x="2858" y="4908"/>
                  </a:lnTo>
                  <a:lnTo>
                    <a:pt x="2858" y="4439"/>
                  </a:lnTo>
                  <a:close/>
                  <a:moveTo>
                    <a:pt x="2858" y="4323"/>
                  </a:moveTo>
                  <a:cubicBezTo>
                    <a:pt x="2849" y="4314"/>
                    <a:pt x="2844" y="4303"/>
                    <a:pt x="2844" y="4291"/>
                  </a:cubicBezTo>
                  <a:cubicBezTo>
                    <a:pt x="2844" y="4279"/>
                    <a:pt x="2849" y="4268"/>
                    <a:pt x="2858" y="4260"/>
                  </a:cubicBezTo>
                  <a:cubicBezTo>
                    <a:pt x="2867" y="4251"/>
                    <a:pt x="2878" y="4246"/>
                    <a:pt x="2891" y="4246"/>
                  </a:cubicBezTo>
                  <a:cubicBezTo>
                    <a:pt x="2904" y="4246"/>
                    <a:pt x="2915" y="4250"/>
                    <a:pt x="2924" y="4259"/>
                  </a:cubicBezTo>
                  <a:cubicBezTo>
                    <a:pt x="2933" y="4268"/>
                    <a:pt x="2937" y="4278"/>
                    <a:pt x="2937" y="4290"/>
                  </a:cubicBezTo>
                  <a:cubicBezTo>
                    <a:pt x="2937" y="4303"/>
                    <a:pt x="2933" y="4314"/>
                    <a:pt x="2924" y="4323"/>
                  </a:cubicBezTo>
                  <a:cubicBezTo>
                    <a:pt x="2915" y="4332"/>
                    <a:pt x="2904" y="4336"/>
                    <a:pt x="2891" y="4336"/>
                  </a:cubicBezTo>
                  <a:cubicBezTo>
                    <a:pt x="2878" y="4336"/>
                    <a:pt x="2867" y="4332"/>
                    <a:pt x="2858" y="4323"/>
                  </a:cubicBezTo>
                  <a:close/>
                  <a:moveTo>
                    <a:pt x="2643" y="4459"/>
                  </a:moveTo>
                  <a:cubicBezTo>
                    <a:pt x="2673" y="4443"/>
                    <a:pt x="2710" y="4435"/>
                    <a:pt x="2753" y="4435"/>
                  </a:cubicBezTo>
                  <a:lnTo>
                    <a:pt x="2753" y="4497"/>
                  </a:lnTo>
                  <a:lnTo>
                    <a:pt x="2738" y="4496"/>
                  </a:lnTo>
                  <a:cubicBezTo>
                    <a:pt x="2688" y="4496"/>
                    <a:pt x="2650" y="4511"/>
                    <a:pt x="2622" y="4541"/>
                  </a:cubicBezTo>
                  <a:cubicBezTo>
                    <a:pt x="2594" y="4572"/>
                    <a:pt x="2580" y="4614"/>
                    <a:pt x="2580" y="4669"/>
                  </a:cubicBezTo>
                  <a:lnTo>
                    <a:pt x="2580" y="4908"/>
                  </a:lnTo>
                  <a:lnTo>
                    <a:pt x="2516" y="4908"/>
                  </a:lnTo>
                  <a:lnTo>
                    <a:pt x="2516" y="4439"/>
                  </a:lnTo>
                  <a:lnTo>
                    <a:pt x="2577" y="4439"/>
                  </a:lnTo>
                  <a:lnTo>
                    <a:pt x="2577" y="4531"/>
                  </a:lnTo>
                  <a:cubicBezTo>
                    <a:pt x="2592" y="4499"/>
                    <a:pt x="2614" y="4475"/>
                    <a:pt x="2643" y="4459"/>
                  </a:cubicBezTo>
                  <a:close/>
                  <a:moveTo>
                    <a:pt x="2053" y="4533"/>
                  </a:moveTo>
                  <a:cubicBezTo>
                    <a:pt x="2023" y="4562"/>
                    <a:pt x="2005" y="4599"/>
                    <a:pt x="2001" y="4646"/>
                  </a:cubicBezTo>
                  <a:lnTo>
                    <a:pt x="2335" y="4646"/>
                  </a:lnTo>
                  <a:cubicBezTo>
                    <a:pt x="2330" y="4599"/>
                    <a:pt x="2313" y="4562"/>
                    <a:pt x="2282" y="4533"/>
                  </a:cubicBezTo>
                  <a:cubicBezTo>
                    <a:pt x="2252" y="4504"/>
                    <a:pt x="2213" y="4490"/>
                    <a:pt x="2167" y="4490"/>
                  </a:cubicBezTo>
                  <a:cubicBezTo>
                    <a:pt x="2122" y="4490"/>
                    <a:pt x="2084" y="4504"/>
                    <a:pt x="2053" y="4533"/>
                  </a:cubicBezTo>
                  <a:close/>
                  <a:moveTo>
                    <a:pt x="2395" y="4693"/>
                  </a:moveTo>
                  <a:lnTo>
                    <a:pt x="2001" y="4693"/>
                  </a:lnTo>
                  <a:cubicBezTo>
                    <a:pt x="2005" y="4742"/>
                    <a:pt x="2023" y="4781"/>
                    <a:pt x="2057" y="4811"/>
                  </a:cubicBezTo>
                  <a:cubicBezTo>
                    <a:pt x="2091" y="4841"/>
                    <a:pt x="2134" y="4856"/>
                    <a:pt x="2186" y="4856"/>
                  </a:cubicBezTo>
                  <a:cubicBezTo>
                    <a:pt x="2215" y="4856"/>
                    <a:pt x="2242" y="4851"/>
                    <a:pt x="2267" y="4841"/>
                  </a:cubicBezTo>
                  <a:cubicBezTo>
                    <a:pt x="2291" y="4830"/>
                    <a:pt x="2312" y="4815"/>
                    <a:pt x="2330" y="4795"/>
                  </a:cubicBezTo>
                  <a:lnTo>
                    <a:pt x="2366" y="4836"/>
                  </a:lnTo>
                  <a:cubicBezTo>
                    <a:pt x="2345" y="4861"/>
                    <a:pt x="2319" y="4880"/>
                    <a:pt x="2288" y="4893"/>
                  </a:cubicBezTo>
                  <a:cubicBezTo>
                    <a:pt x="2256" y="4906"/>
                    <a:pt x="2222" y="4912"/>
                    <a:pt x="2184" y="4912"/>
                  </a:cubicBezTo>
                  <a:cubicBezTo>
                    <a:pt x="2136" y="4912"/>
                    <a:pt x="2093" y="4902"/>
                    <a:pt x="2056" y="4882"/>
                  </a:cubicBezTo>
                  <a:cubicBezTo>
                    <a:pt x="2019" y="4861"/>
                    <a:pt x="1990" y="4833"/>
                    <a:pt x="1969" y="4796"/>
                  </a:cubicBezTo>
                  <a:cubicBezTo>
                    <a:pt x="1948" y="4760"/>
                    <a:pt x="1938" y="4719"/>
                    <a:pt x="1938" y="4673"/>
                  </a:cubicBezTo>
                  <a:cubicBezTo>
                    <a:pt x="1938" y="4628"/>
                    <a:pt x="1948" y="4587"/>
                    <a:pt x="1968" y="4550"/>
                  </a:cubicBezTo>
                  <a:cubicBezTo>
                    <a:pt x="1988" y="4514"/>
                    <a:pt x="2015" y="4486"/>
                    <a:pt x="2050" y="4466"/>
                  </a:cubicBezTo>
                  <a:cubicBezTo>
                    <a:pt x="2085" y="4445"/>
                    <a:pt x="2124" y="4435"/>
                    <a:pt x="2167" y="4435"/>
                  </a:cubicBezTo>
                  <a:cubicBezTo>
                    <a:pt x="2211" y="4435"/>
                    <a:pt x="2250" y="4445"/>
                    <a:pt x="2285" y="4466"/>
                  </a:cubicBezTo>
                  <a:cubicBezTo>
                    <a:pt x="2319" y="4486"/>
                    <a:pt x="2346" y="4514"/>
                    <a:pt x="2366" y="4550"/>
                  </a:cubicBezTo>
                  <a:cubicBezTo>
                    <a:pt x="2386" y="4586"/>
                    <a:pt x="2395" y="4627"/>
                    <a:pt x="2395" y="4673"/>
                  </a:cubicBezTo>
                  <a:lnTo>
                    <a:pt x="2395" y="4693"/>
                  </a:lnTo>
                  <a:close/>
                  <a:moveTo>
                    <a:pt x="1912" y="4439"/>
                  </a:moveTo>
                  <a:lnTo>
                    <a:pt x="1734" y="4908"/>
                  </a:lnTo>
                  <a:lnTo>
                    <a:pt x="1674" y="4908"/>
                  </a:lnTo>
                  <a:lnTo>
                    <a:pt x="1525" y="4524"/>
                  </a:lnTo>
                  <a:lnTo>
                    <a:pt x="1377" y="4908"/>
                  </a:lnTo>
                  <a:lnTo>
                    <a:pt x="1317" y="4908"/>
                  </a:lnTo>
                  <a:lnTo>
                    <a:pt x="1140" y="4439"/>
                  </a:lnTo>
                  <a:lnTo>
                    <a:pt x="1201" y="4439"/>
                  </a:lnTo>
                  <a:lnTo>
                    <a:pt x="1348" y="4837"/>
                  </a:lnTo>
                  <a:lnTo>
                    <a:pt x="1500" y="4439"/>
                  </a:lnTo>
                  <a:lnTo>
                    <a:pt x="1554" y="4439"/>
                  </a:lnTo>
                  <a:lnTo>
                    <a:pt x="1704" y="4837"/>
                  </a:lnTo>
                  <a:lnTo>
                    <a:pt x="1854" y="4439"/>
                  </a:lnTo>
                  <a:lnTo>
                    <a:pt x="1912" y="4439"/>
                  </a:lnTo>
                  <a:close/>
                  <a:moveTo>
                    <a:pt x="965" y="4833"/>
                  </a:moveTo>
                  <a:cubicBezTo>
                    <a:pt x="992" y="4818"/>
                    <a:pt x="1013" y="4797"/>
                    <a:pt x="1027" y="4769"/>
                  </a:cubicBezTo>
                  <a:cubicBezTo>
                    <a:pt x="1042" y="4741"/>
                    <a:pt x="1050" y="4709"/>
                    <a:pt x="1050" y="4673"/>
                  </a:cubicBezTo>
                  <a:cubicBezTo>
                    <a:pt x="1050" y="4638"/>
                    <a:pt x="1042" y="4606"/>
                    <a:pt x="1027" y="4578"/>
                  </a:cubicBezTo>
                  <a:cubicBezTo>
                    <a:pt x="1013" y="4550"/>
                    <a:pt x="992" y="4528"/>
                    <a:pt x="965" y="4513"/>
                  </a:cubicBezTo>
                  <a:cubicBezTo>
                    <a:pt x="939" y="4498"/>
                    <a:pt x="909" y="4491"/>
                    <a:pt x="875" y="4491"/>
                  </a:cubicBezTo>
                  <a:cubicBezTo>
                    <a:pt x="842" y="4491"/>
                    <a:pt x="812" y="4498"/>
                    <a:pt x="786" y="4513"/>
                  </a:cubicBezTo>
                  <a:cubicBezTo>
                    <a:pt x="759" y="4528"/>
                    <a:pt x="738" y="4550"/>
                    <a:pt x="723" y="4578"/>
                  </a:cubicBezTo>
                  <a:cubicBezTo>
                    <a:pt x="708" y="4606"/>
                    <a:pt x="700" y="4638"/>
                    <a:pt x="700" y="4673"/>
                  </a:cubicBezTo>
                  <a:cubicBezTo>
                    <a:pt x="700" y="4709"/>
                    <a:pt x="708" y="4741"/>
                    <a:pt x="723" y="4769"/>
                  </a:cubicBezTo>
                  <a:cubicBezTo>
                    <a:pt x="738" y="4797"/>
                    <a:pt x="759" y="4818"/>
                    <a:pt x="786" y="4833"/>
                  </a:cubicBezTo>
                  <a:cubicBezTo>
                    <a:pt x="812" y="4849"/>
                    <a:pt x="842" y="4856"/>
                    <a:pt x="875" y="4856"/>
                  </a:cubicBezTo>
                  <a:cubicBezTo>
                    <a:pt x="909" y="4856"/>
                    <a:pt x="939" y="4849"/>
                    <a:pt x="965" y="4833"/>
                  </a:cubicBezTo>
                  <a:close/>
                  <a:moveTo>
                    <a:pt x="753" y="4882"/>
                  </a:moveTo>
                  <a:cubicBezTo>
                    <a:pt x="717" y="4861"/>
                    <a:pt x="688" y="4833"/>
                    <a:pt x="667" y="4796"/>
                  </a:cubicBezTo>
                  <a:cubicBezTo>
                    <a:pt x="646" y="4760"/>
                    <a:pt x="636" y="4719"/>
                    <a:pt x="636" y="4673"/>
                  </a:cubicBezTo>
                  <a:cubicBezTo>
                    <a:pt x="636" y="4628"/>
                    <a:pt x="646" y="4587"/>
                    <a:pt x="667" y="4550"/>
                  </a:cubicBezTo>
                  <a:cubicBezTo>
                    <a:pt x="688" y="4514"/>
                    <a:pt x="717" y="4486"/>
                    <a:pt x="753" y="4466"/>
                  </a:cubicBezTo>
                  <a:cubicBezTo>
                    <a:pt x="789" y="4445"/>
                    <a:pt x="830" y="4435"/>
                    <a:pt x="875" y="4435"/>
                  </a:cubicBezTo>
                  <a:cubicBezTo>
                    <a:pt x="921" y="4435"/>
                    <a:pt x="962" y="4445"/>
                    <a:pt x="998" y="4466"/>
                  </a:cubicBezTo>
                  <a:cubicBezTo>
                    <a:pt x="1034" y="4486"/>
                    <a:pt x="1063" y="4514"/>
                    <a:pt x="1083" y="4550"/>
                  </a:cubicBezTo>
                  <a:cubicBezTo>
                    <a:pt x="1104" y="4587"/>
                    <a:pt x="1114" y="4628"/>
                    <a:pt x="1114" y="4673"/>
                  </a:cubicBezTo>
                  <a:cubicBezTo>
                    <a:pt x="1114" y="4719"/>
                    <a:pt x="1104" y="4760"/>
                    <a:pt x="1083" y="4796"/>
                  </a:cubicBezTo>
                  <a:cubicBezTo>
                    <a:pt x="1063" y="4833"/>
                    <a:pt x="1034" y="4861"/>
                    <a:pt x="998" y="4882"/>
                  </a:cubicBezTo>
                  <a:cubicBezTo>
                    <a:pt x="962" y="4902"/>
                    <a:pt x="921" y="4912"/>
                    <a:pt x="875" y="4912"/>
                  </a:cubicBezTo>
                  <a:cubicBezTo>
                    <a:pt x="830" y="4912"/>
                    <a:pt x="789" y="4902"/>
                    <a:pt x="753" y="4882"/>
                  </a:cubicBezTo>
                  <a:close/>
                  <a:moveTo>
                    <a:pt x="468" y="4612"/>
                  </a:moveTo>
                  <a:cubicBezTo>
                    <a:pt x="501" y="4585"/>
                    <a:pt x="517" y="4547"/>
                    <a:pt x="517" y="4498"/>
                  </a:cubicBezTo>
                  <a:cubicBezTo>
                    <a:pt x="517" y="4447"/>
                    <a:pt x="501" y="4408"/>
                    <a:pt x="468" y="4381"/>
                  </a:cubicBezTo>
                  <a:cubicBezTo>
                    <a:pt x="435" y="4354"/>
                    <a:pt x="388" y="4341"/>
                    <a:pt x="326" y="4341"/>
                  </a:cubicBezTo>
                  <a:lnTo>
                    <a:pt x="159" y="4341"/>
                  </a:lnTo>
                  <a:lnTo>
                    <a:pt x="159" y="4653"/>
                  </a:lnTo>
                  <a:lnTo>
                    <a:pt x="326" y="4653"/>
                  </a:lnTo>
                  <a:cubicBezTo>
                    <a:pt x="388" y="4653"/>
                    <a:pt x="435" y="4639"/>
                    <a:pt x="468" y="4612"/>
                  </a:cubicBezTo>
                  <a:moveTo>
                    <a:pt x="515" y="4341"/>
                  </a:moveTo>
                  <a:cubicBezTo>
                    <a:pt x="560" y="4379"/>
                    <a:pt x="583" y="4431"/>
                    <a:pt x="583" y="4498"/>
                  </a:cubicBezTo>
                  <a:cubicBezTo>
                    <a:pt x="583" y="4564"/>
                    <a:pt x="560" y="4616"/>
                    <a:pt x="515" y="4654"/>
                  </a:cubicBezTo>
                  <a:cubicBezTo>
                    <a:pt x="470" y="4692"/>
                    <a:pt x="407" y="4711"/>
                    <a:pt x="327" y="4711"/>
                  </a:cubicBezTo>
                  <a:lnTo>
                    <a:pt x="159" y="4711"/>
                  </a:lnTo>
                  <a:lnTo>
                    <a:pt x="159" y="4908"/>
                  </a:lnTo>
                  <a:lnTo>
                    <a:pt x="93" y="4908"/>
                  </a:lnTo>
                  <a:lnTo>
                    <a:pt x="93" y="4284"/>
                  </a:lnTo>
                  <a:lnTo>
                    <a:pt x="327" y="4284"/>
                  </a:lnTo>
                  <a:cubicBezTo>
                    <a:pt x="407" y="4284"/>
                    <a:pt x="470" y="4303"/>
                    <a:pt x="515" y="434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 name="Freeform 6">
              <a:extLst>
                <a:ext uri="{FF2B5EF4-FFF2-40B4-BE49-F238E27FC236}">
                  <a16:creationId xmlns:a16="http://schemas.microsoft.com/office/drawing/2014/main" id="{1105FF82-2BE4-49C5-A705-317A4E143818}"/>
                </a:ext>
              </a:extLst>
            </p:cNvPr>
            <p:cNvSpPr>
              <a:spLocks noEditPoints="1"/>
            </p:cNvSpPr>
            <p:nvPr userDrawn="1"/>
          </p:nvSpPr>
          <p:spPr bwMode="auto">
            <a:xfrm>
              <a:off x="1481" y="1882"/>
              <a:ext cx="4755" cy="713"/>
            </a:xfrm>
            <a:custGeom>
              <a:avLst/>
              <a:gdLst>
                <a:gd name="T0" fmla="*/ 9402 w 9905"/>
                <a:gd name="T1" fmla="*/ 1485 h 1485"/>
                <a:gd name="T2" fmla="*/ 9609 w 9905"/>
                <a:gd name="T3" fmla="*/ 673 h 1485"/>
                <a:gd name="T4" fmla="*/ 9235 w 9905"/>
                <a:gd name="T5" fmla="*/ 387 h 1485"/>
                <a:gd name="T6" fmla="*/ 9645 w 9905"/>
                <a:gd name="T7" fmla="*/ 272 h 1485"/>
                <a:gd name="T8" fmla="*/ 9852 w 9905"/>
                <a:gd name="T9" fmla="*/ 188 h 1485"/>
                <a:gd name="T10" fmla="*/ 9440 w 9905"/>
                <a:gd name="T11" fmla="*/ 0 h 1485"/>
                <a:gd name="T12" fmla="*/ 9297 w 9905"/>
                <a:gd name="T13" fmla="*/ 792 h 1485"/>
                <a:gd name="T14" fmla="*/ 9655 w 9905"/>
                <a:gd name="T15" fmla="*/ 1077 h 1485"/>
                <a:gd name="T16" fmla="*/ 9102 w 9905"/>
                <a:gd name="T17" fmla="*/ 1105 h 1485"/>
                <a:gd name="T18" fmla="*/ 7727 w 9905"/>
                <a:gd name="T19" fmla="*/ 1267 h 1485"/>
                <a:gd name="T20" fmla="*/ 8704 w 9905"/>
                <a:gd name="T21" fmla="*/ 1072 h 1485"/>
                <a:gd name="T22" fmla="*/ 8168 w 9905"/>
                <a:gd name="T23" fmla="*/ 558 h 1485"/>
                <a:gd name="T24" fmla="*/ 8252 w 9905"/>
                <a:gd name="T25" fmla="*/ 227 h 1485"/>
                <a:gd name="T26" fmla="*/ 8543 w 9905"/>
                <a:gd name="T27" fmla="*/ 300 h 1485"/>
                <a:gd name="T28" fmla="*/ 8567 w 9905"/>
                <a:gd name="T29" fmla="*/ 73 h 1485"/>
                <a:gd name="T30" fmla="*/ 7785 w 9905"/>
                <a:gd name="T31" fmla="*/ 395 h 1485"/>
                <a:gd name="T32" fmla="*/ 8292 w 9905"/>
                <a:gd name="T33" fmla="*/ 885 h 1485"/>
                <a:gd name="T34" fmla="*/ 8225 w 9905"/>
                <a:gd name="T35" fmla="*/ 1257 h 1485"/>
                <a:gd name="T36" fmla="*/ 7727 w 9905"/>
                <a:gd name="T37" fmla="*/ 1267 h 1485"/>
                <a:gd name="T38" fmla="*/ 3354 w 9905"/>
                <a:gd name="T39" fmla="*/ 1485 h 1485"/>
                <a:gd name="T40" fmla="*/ 3560 w 9905"/>
                <a:gd name="T41" fmla="*/ 673 h 1485"/>
                <a:gd name="T42" fmla="*/ 3187 w 9905"/>
                <a:gd name="T43" fmla="*/ 387 h 1485"/>
                <a:gd name="T44" fmla="*/ 3597 w 9905"/>
                <a:gd name="T45" fmla="*/ 272 h 1485"/>
                <a:gd name="T46" fmla="*/ 3805 w 9905"/>
                <a:gd name="T47" fmla="*/ 188 h 1485"/>
                <a:gd name="T48" fmla="*/ 3393 w 9905"/>
                <a:gd name="T49" fmla="*/ 0 h 1485"/>
                <a:gd name="T50" fmla="*/ 3250 w 9905"/>
                <a:gd name="T51" fmla="*/ 792 h 1485"/>
                <a:gd name="T52" fmla="*/ 3609 w 9905"/>
                <a:gd name="T53" fmla="*/ 1077 h 1485"/>
                <a:gd name="T54" fmla="*/ 3055 w 9905"/>
                <a:gd name="T55" fmla="*/ 1105 h 1485"/>
                <a:gd name="T56" fmla="*/ 5023 w 9905"/>
                <a:gd name="T57" fmla="*/ 0 h 1485"/>
                <a:gd name="T58" fmla="*/ 4905 w 9905"/>
                <a:gd name="T59" fmla="*/ 1370 h 1485"/>
                <a:gd name="T60" fmla="*/ 5140 w 9905"/>
                <a:gd name="T61" fmla="*/ 1370 h 1485"/>
                <a:gd name="T62" fmla="*/ 5868 w 9905"/>
                <a:gd name="T63" fmla="*/ 1395 h 1485"/>
                <a:gd name="T64" fmla="*/ 6117 w 9905"/>
                <a:gd name="T65" fmla="*/ 1372 h 1485"/>
                <a:gd name="T66" fmla="*/ 5884 w 9905"/>
                <a:gd name="T67" fmla="*/ 10 h 1485"/>
                <a:gd name="T68" fmla="*/ 5152 w 9905"/>
                <a:gd name="T69" fmla="*/ 88 h 1485"/>
                <a:gd name="T70" fmla="*/ 882 w 9905"/>
                <a:gd name="T71" fmla="*/ 682 h 1485"/>
                <a:gd name="T72" fmla="*/ 652 w 9905"/>
                <a:gd name="T73" fmla="*/ 1475 h 1485"/>
                <a:gd name="T74" fmla="*/ 0 w 9905"/>
                <a:gd name="T75" fmla="*/ 122 h 1485"/>
                <a:gd name="T76" fmla="*/ 622 w 9905"/>
                <a:gd name="T77" fmla="*/ 7 h 1485"/>
                <a:gd name="T78" fmla="*/ 882 w 9905"/>
                <a:gd name="T79" fmla="*/ 682 h 1485"/>
                <a:gd name="T80" fmla="*/ 592 w 9905"/>
                <a:gd name="T81" fmla="*/ 595 h 1485"/>
                <a:gd name="T82" fmla="*/ 592 w 9905"/>
                <a:gd name="T83" fmla="*/ 238 h 1485"/>
                <a:gd name="T84" fmla="*/ 237 w 9905"/>
                <a:gd name="T85" fmla="*/ 595 h 1485"/>
                <a:gd name="T86" fmla="*/ 859 w 9905"/>
                <a:gd name="T87" fmla="*/ 1032 h 1485"/>
                <a:gd name="T88" fmla="*/ 237 w 9905"/>
                <a:gd name="T89" fmla="*/ 812 h 1485"/>
                <a:gd name="T90" fmla="*/ 607 w 9905"/>
                <a:gd name="T91" fmla="*/ 1250 h 1485"/>
                <a:gd name="T92" fmla="*/ 7492 w 9905"/>
                <a:gd name="T93" fmla="*/ 125 h 1485"/>
                <a:gd name="T94" fmla="*/ 6642 w 9905"/>
                <a:gd name="T95" fmla="*/ 10 h 1485"/>
                <a:gd name="T96" fmla="*/ 6527 w 9905"/>
                <a:gd name="T97" fmla="*/ 1365 h 1485"/>
                <a:gd name="T98" fmla="*/ 7484 w 9905"/>
                <a:gd name="T99" fmla="*/ 1478 h 1485"/>
                <a:gd name="T100" fmla="*/ 6764 w 9905"/>
                <a:gd name="T101" fmla="*/ 1248 h 1485"/>
                <a:gd name="T102" fmla="*/ 7307 w 9905"/>
                <a:gd name="T103" fmla="*/ 822 h 1485"/>
                <a:gd name="T104" fmla="*/ 7307 w 9905"/>
                <a:gd name="T105" fmla="*/ 592 h 1485"/>
                <a:gd name="T106" fmla="*/ 6764 w 9905"/>
                <a:gd name="T107" fmla="*/ 240 h 1485"/>
                <a:gd name="T108" fmla="*/ 1635 w 9905"/>
                <a:gd name="T109" fmla="*/ 893 h 1485"/>
                <a:gd name="T110" fmla="*/ 1517 w 9905"/>
                <a:gd name="T111" fmla="*/ 0 h 1485"/>
                <a:gd name="T112" fmla="*/ 1399 w 9905"/>
                <a:gd name="T113" fmla="*/ 885 h 1485"/>
                <a:gd name="T114" fmla="*/ 2605 w 9905"/>
                <a:gd name="T115" fmla="*/ 885 h 1485"/>
                <a:gd name="T116" fmla="*/ 2367 w 9905"/>
                <a:gd name="T117" fmla="*/ 7 h 1485"/>
                <a:gd name="T118" fmla="*/ 2002 w 9905"/>
                <a:gd name="T119" fmla="*/ 1260 h 1485"/>
                <a:gd name="T120" fmla="*/ 4320 w 9905"/>
                <a:gd name="T121" fmla="*/ 0 h 1485"/>
                <a:gd name="T122" fmla="*/ 4439 w 9905"/>
                <a:gd name="T123" fmla="*/ 1477 h 1485"/>
                <a:gd name="T124" fmla="*/ 4202 w 9905"/>
                <a:gd name="T125" fmla="*/ 115 h 1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905" h="1485">
                  <a:moveTo>
                    <a:pt x="8929" y="1267"/>
                  </a:moveTo>
                  <a:cubicBezTo>
                    <a:pt x="8959" y="1305"/>
                    <a:pt x="9097" y="1485"/>
                    <a:pt x="9402" y="1485"/>
                  </a:cubicBezTo>
                  <a:cubicBezTo>
                    <a:pt x="9700" y="1485"/>
                    <a:pt x="9905" y="1313"/>
                    <a:pt x="9905" y="1072"/>
                  </a:cubicBezTo>
                  <a:cubicBezTo>
                    <a:pt x="9905" y="913"/>
                    <a:pt x="9842" y="787"/>
                    <a:pt x="9609" y="673"/>
                  </a:cubicBezTo>
                  <a:cubicBezTo>
                    <a:pt x="9545" y="643"/>
                    <a:pt x="9368" y="558"/>
                    <a:pt x="9368" y="558"/>
                  </a:cubicBezTo>
                  <a:cubicBezTo>
                    <a:pt x="9277" y="513"/>
                    <a:pt x="9235" y="460"/>
                    <a:pt x="9235" y="387"/>
                  </a:cubicBezTo>
                  <a:cubicBezTo>
                    <a:pt x="9235" y="310"/>
                    <a:pt x="9298" y="227"/>
                    <a:pt x="9452" y="227"/>
                  </a:cubicBezTo>
                  <a:cubicBezTo>
                    <a:pt x="9540" y="227"/>
                    <a:pt x="9609" y="255"/>
                    <a:pt x="9645" y="272"/>
                  </a:cubicBezTo>
                  <a:cubicBezTo>
                    <a:pt x="9662" y="280"/>
                    <a:pt x="9704" y="300"/>
                    <a:pt x="9743" y="300"/>
                  </a:cubicBezTo>
                  <a:cubicBezTo>
                    <a:pt x="9795" y="300"/>
                    <a:pt x="9852" y="263"/>
                    <a:pt x="9852" y="188"/>
                  </a:cubicBezTo>
                  <a:cubicBezTo>
                    <a:pt x="9852" y="125"/>
                    <a:pt x="9807" y="92"/>
                    <a:pt x="9767" y="73"/>
                  </a:cubicBezTo>
                  <a:cubicBezTo>
                    <a:pt x="9704" y="43"/>
                    <a:pt x="9605" y="0"/>
                    <a:pt x="9440" y="0"/>
                  </a:cubicBezTo>
                  <a:cubicBezTo>
                    <a:pt x="9179" y="0"/>
                    <a:pt x="8985" y="165"/>
                    <a:pt x="8985" y="395"/>
                  </a:cubicBezTo>
                  <a:cubicBezTo>
                    <a:pt x="8985" y="605"/>
                    <a:pt x="9125" y="710"/>
                    <a:pt x="9297" y="792"/>
                  </a:cubicBezTo>
                  <a:cubicBezTo>
                    <a:pt x="9329" y="807"/>
                    <a:pt x="9455" y="868"/>
                    <a:pt x="9490" y="885"/>
                  </a:cubicBezTo>
                  <a:cubicBezTo>
                    <a:pt x="9598" y="937"/>
                    <a:pt x="9655" y="987"/>
                    <a:pt x="9655" y="1077"/>
                  </a:cubicBezTo>
                  <a:cubicBezTo>
                    <a:pt x="9655" y="1175"/>
                    <a:pt x="9564" y="1257"/>
                    <a:pt x="9425" y="1257"/>
                  </a:cubicBezTo>
                  <a:cubicBezTo>
                    <a:pt x="9227" y="1257"/>
                    <a:pt x="9120" y="1127"/>
                    <a:pt x="9102" y="1105"/>
                  </a:cubicBezTo>
                  <a:lnTo>
                    <a:pt x="8929" y="1267"/>
                  </a:lnTo>
                  <a:close/>
                  <a:moveTo>
                    <a:pt x="7727" y="1267"/>
                  </a:moveTo>
                  <a:cubicBezTo>
                    <a:pt x="7757" y="1305"/>
                    <a:pt x="7897" y="1485"/>
                    <a:pt x="8202" y="1485"/>
                  </a:cubicBezTo>
                  <a:cubicBezTo>
                    <a:pt x="8500" y="1485"/>
                    <a:pt x="8704" y="1313"/>
                    <a:pt x="8704" y="1072"/>
                  </a:cubicBezTo>
                  <a:cubicBezTo>
                    <a:pt x="8704" y="913"/>
                    <a:pt x="8642" y="787"/>
                    <a:pt x="8407" y="673"/>
                  </a:cubicBezTo>
                  <a:cubicBezTo>
                    <a:pt x="8345" y="643"/>
                    <a:pt x="8168" y="558"/>
                    <a:pt x="8168" y="558"/>
                  </a:cubicBezTo>
                  <a:cubicBezTo>
                    <a:pt x="8075" y="513"/>
                    <a:pt x="8034" y="460"/>
                    <a:pt x="8034" y="387"/>
                  </a:cubicBezTo>
                  <a:cubicBezTo>
                    <a:pt x="8034" y="310"/>
                    <a:pt x="8097" y="227"/>
                    <a:pt x="8252" y="227"/>
                  </a:cubicBezTo>
                  <a:cubicBezTo>
                    <a:pt x="8340" y="227"/>
                    <a:pt x="8407" y="255"/>
                    <a:pt x="8443" y="272"/>
                  </a:cubicBezTo>
                  <a:cubicBezTo>
                    <a:pt x="8462" y="280"/>
                    <a:pt x="8504" y="300"/>
                    <a:pt x="8543" y="300"/>
                  </a:cubicBezTo>
                  <a:cubicBezTo>
                    <a:pt x="8595" y="300"/>
                    <a:pt x="8652" y="263"/>
                    <a:pt x="8652" y="188"/>
                  </a:cubicBezTo>
                  <a:cubicBezTo>
                    <a:pt x="8652" y="125"/>
                    <a:pt x="8607" y="92"/>
                    <a:pt x="8567" y="73"/>
                  </a:cubicBezTo>
                  <a:cubicBezTo>
                    <a:pt x="8504" y="43"/>
                    <a:pt x="8404" y="0"/>
                    <a:pt x="8240" y="0"/>
                  </a:cubicBezTo>
                  <a:cubicBezTo>
                    <a:pt x="7979" y="0"/>
                    <a:pt x="7785" y="165"/>
                    <a:pt x="7785" y="395"/>
                  </a:cubicBezTo>
                  <a:cubicBezTo>
                    <a:pt x="7785" y="605"/>
                    <a:pt x="7927" y="710"/>
                    <a:pt x="8097" y="792"/>
                  </a:cubicBezTo>
                  <a:cubicBezTo>
                    <a:pt x="8130" y="807"/>
                    <a:pt x="8257" y="868"/>
                    <a:pt x="8292" y="885"/>
                  </a:cubicBezTo>
                  <a:cubicBezTo>
                    <a:pt x="8398" y="937"/>
                    <a:pt x="8455" y="987"/>
                    <a:pt x="8455" y="1077"/>
                  </a:cubicBezTo>
                  <a:cubicBezTo>
                    <a:pt x="8455" y="1175"/>
                    <a:pt x="8364" y="1257"/>
                    <a:pt x="8225" y="1257"/>
                  </a:cubicBezTo>
                  <a:cubicBezTo>
                    <a:pt x="8025" y="1257"/>
                    <a:pt x="7920" y="1127"/>
                    <a:pt x="7902" y="1105"/>
                  </a:cubicBezTo>
                  <a:lnTo>
                    <a:pt x="7727" y="1267"/>
                  </a:lnTo>
                  <a:close/>
                  <a:moveTo>
                    <a:pt x="2880" y="1267"/>
                  </a:moveTo>
                  <a:cubicBezTo>
                    <a:pt x="2910" y="1305"/>
                    <a:pt x="3049" y="1485"/>
                    <a:pt x="3354" y="1485"/>
                  </a:cubicBezTo>
                  <a:cubicBezTo>
                    <a:pt x="3654" y="1485"/>
                    <a:pt x="3857" y="1313"/>
                    <a:pt x="3857" y="1072"/>
                  </a:cubicBezTo>
                  <a:cubicBezTo>
                    <a:pt x="3857" y="913"/>
                    <a:pt x="3795" y="787"/>
                    <a:pt x="3560" y="673"/>
                  </a:cubicBezTo>
                  <a:cubicBezTo>
                    <a:pt x="3497" y="643"/>
                    <a:pt x="3322" y="558"/>
                    <a:pt x="3322" y="558"/>
                  </a:cubicBezTo>
                  <a:cubicBezTo>
                    <a:pt x="3229" y="513"/>
                    <a:pt x="3187" y="460"/>
                    <a:pt x="3187" y="387"/>
                  </a:cubicBezTo>
                  <a:cubicBezTo>
                    <a:pt x="3187" y="310"/>
                    <a:pt x="3250" y="227"/>
                    <a:pt x="3405" y="227"/>
                  </a:cubicBezTo>
                  <a:cubicBezTo>
                    <a:pt x="3493" y="227"/>
                    <a:pt x="3562" y="255"/>
                    <a:pt x="3597" y="272"/>
                  </a:cubicBezTo>
                  <a:cubicBezTo>
                    <a:pt x="3615" y="280"/>
                    <a:pt x="3657" y="300"/>
                    <a:pt x="3697" y="300"/>
                  </a:cubicBezTo>
                  <a:cubicBezTo>
                    <a:pt x="3749" y="300"/>
                    <a:pt x="3805" y="263"/>
                    <a:pt x="3805" y="188"/>
                  </a:cubicBezTo>
                  <a:cubicBezTo>
                    <a:pt x="3805" y="125"/>
                    <a:pt x="3760" y="92"/>
                    <a:pt x="3720" y="73"/>
                  </a:cubicBezTo>
                  <a:cubicBezTo>
                    <a:pt x="3657" y="43"/>
                    <a:pt x="3559" y="0"/>
                    <a:pt x="3393" y="0"/>
                  </a:cubicBezTo>
                  <a:cubicBezTo>
                    <a:pt x="3132" y="0"/>
                    <a:pt x="2939" y="165"/>
                    <a:pt x="2939" y="395"/>
                  </a:cubicBezTo>
                  <a:cubicBezTo>
                    <a:pt x="2939" y="605"/>
                    <a:pt x="3080" y="710"/>
                    <a:pt x="3250" y="792"/>
                  </a:cubicBezTo>
                  <a:cubicBezTo>
                    <a:pt x="3282" y="807"/>
                    <a:pt x="3409" y="868"/>
                    <a:pt x="3443" y="885"/>
                  </a:cubicBezTo>
                  <a:cubicBezTo>
                    <a:pt x="3552" y="937"/>
                    <a:pt x="3609" y="987"/>
                    <a:pt x="3609" y="1077"/>
                  </a:cubicBezTo>
                  <a:cubicBezTo>
                    <a:pt x="3609" y="1175"/>
                    <a:pt x="3517" y="1257"/>
                    <a:pt x="3379" y="1257"/>
                  </a:cubicBezTo>
                  <a:cubicBezTo>
                    <a:pt x="3180" y="1257"/>
                    <a:pt x="3074" y="1127"/>
                    <a:pt x="3055" y="1105"/>
                  </a:cubicBezTo>
                  <a:lnTo>
                    <a:pt x="2880" y="1267"/>
                  </a:lnTo>
                  <a:close/>
                  <a:moveTo>
                    <a:pt x="5023" y="0"/>
                  </a:moveTo>
                  <a:cubicBezTo>
                    <a:pt x="4952" y="0"/>
                    <a:pt x="4905" y="52"/>
                    <a:pt x="4905" y="113"/>
                  </a:cubicBezTo>
                  <a:lnTo>
                    <a:pt x="4905" y="1370"/>
                  </a:lnTo>
                  <a:cubicBezTo>
                    <a:pt x="4905" y="1433"/>
                    <a:pt x="4960" y="1483"/>
                    <a:pt x="5023" y="1483"/>
                  </a:cubicBezTo>
                  <a:cubicBezTo>
                    <a:pt x="5085" y="1483"/>
                    <a:pt x="5140" y="1433"/>
                    <a:pt x="5140" y="1370"/>
                  </a:cubicBezTo>
                  <a:lnTo>
                    <a:pt x="5140" y="463"/>
                  </a:lnTo>
                  <a:cubicBezTo>
                    <a:pt x="5140" y="463"/>
                    <a:pt x="5717" y="1200"/>
                    <a:pt x="5868" y="1395"/>
                  </a:cubicBezTo>
                  <a:cubicBezTo>
                    <a:pt x="5907" y="1443"/>
                    <a:pt x="5934" y="1485"/>
                    <a:pt x="6002" y="1485"/>
                  </a:cubicBezTo>
                  <a:cubicBezTo>
                    <a:pt x="6070" y="1485"/>
                    <a:pt x="6117" y="1435"/>
                    <a:pt x="6117" y="1372"/>
                  </a:cubicBezTo>
                  <a:lnTo>
                    <a:pt x="6117" y="10"/>
                  </a:lnTo>
                  <a:lnTo>
                    <a:pt x="5884" y="10"/>
                  </a:lnTo>
                  <a:lnTo>
                    <a:pt x="5884" y="1027"/>
                  </a:lnTo>
                  <a:cubicBezTo>
                    <a:pt x="5884" y="1027"/>
                    <a:pt x="5242" y="203"/>
                    <a:pt x="5152" y="88"/>
                  </a:cubicBezTo>
                  <a:cubicBezTo>
                    <a:pt x="5110" y="35"/>
                    <a:pt x="5079" y="0"/>
                    <a:pt x="5023" y="0"/>
                  </a:cubicBezTo>
                  <a:close/>
                  <a:moveTo>
                    <a:pt x="882" y="682"/>
                  </a:moveTo>
                  <a:cubicBezTo>
                    <a:pt x="924" y="702"/>
                    <a:pt x="1099" y="777"/>
                    <a:pt x="1099" y="1037"/>
                  </a:cubicBezTo>
                  <a:cubicBezTo>
                    <a:pt x="1099" y="1283"/>
                    <a:pt x="915" y="1475"/>
                    <a:pt x="652" y="1475"/>
                  </a:cubicBezTo>
                  <a:lnTo>
                    <a:pt x="0" y="1475"/>
                  </a:lnTo>
                  <a:lnTo>
                    <a:pt x="0" y="122"/>
                  </a:lnTo>
                  <a:cubicBezTo>
                    <a:pt x="0" y="53"/>
                    <a:pt x="47" y="7"/>
                    <a:pt x="115" y="7"/>
                  </a:cubicBezTo>
                  <a:lnTo>
                    <a:pt x="622" y="7"/>
                  </a:lnTo>
                  <a:cubicBezTo>
                    <a:pt x="868" y="7"/>
                    <a:pt x="1030" y="155"/>
                    <a:pt x="1030" y="380"/>
                  </a:cubicBezTo>
                  <a:cubicBezTo>
                    <a:pt x="1030" y="572"/>
                    <a:pt x="922" y="657"/>
                    <a:pt x="882" y="682"/>
                  </a:cubicBezTo>
                  <a:moveTo>
                    <a:pt x="237" y="595"/>
                  </a:moveTo>
                  <a:lnTo>
                    <a:pt x="592" y="595"/>
                  </a:lnTo>
                  <a:cubicBezTo>
                    <a:pt x="718" y="595"/>
                    <a:pt x="790" y="515"/>
                    <a:pt x="790" y="417"/>
                  </a:cubicBezTo>
                  <a:cubicBezTo>
                    <a:pt x="790" y="318"/>
                    <a:pt x="725" y="238"/>
                    <a:pt x="592" y="238"/>
                  </a:cubicBezTo>
                  <a:lnTo>
                    <a:pt x="237" y="238"/>
                  </a:lnTo>
                  <a:lnTo>
                    <a:pt x="237" y="595"/>
                  </a:lnTo>
                  <a:close/>
                  <a:moveTo>
                    <a:pt x="607" y="1250"/>
                  </a:moveTo>
                  <a:cubicBezTo>
                    <a:pt x="774" y="1250"/>
                    <a:pt x="859" y="1152"/>
                    <a:pt x="859" y="1032"/>
                  </a:cubicBezTo>
                  <a:cubicBezTo>
                    <a:pt x="859" y="910"/>
                    <a:pt x="777" y="812"/>
                    <a:pt x="607" y="812"/>
                  </a:cubicBezTo>
                  <a:lnTo>
                    <a:pt x="237" y="812"/>
                  </a:lnTo>
                  <a:lnTo>
                    <a:pt x="237" y="1250"/>
                  </a:lnTo>
                  <a:lnTo>
                    <a:pt x="607" y="1250"/>
                  </a:lnTo>
                  <a:close/>
                  <a:moveTo>
                    <a:pt x="7367" y="240"/>
                  </a:moveTo>
                  <a:cubicBezTo>
                    <a:pt x="7445" y="240"/>
                    <a:pt x="7492" y="190"/>
                    <a:pt x="7492" y="125"/>
                  </a:cubicBezTo>
                  <a:cubicBezTo>
                    <a:pt x="7492" y="60"/>
                    <a:pt x="7443" y="10"/>
                    <a:pt x="7367" y="10"/>
                  </a:cubicBezTo>
                  <a:lnTo>
                    <a:pt x="6642" y="10"/>
                  </a:lnTo>
                  <a:cubicBezTo>
                    <a:pt x="6575" y="10"/>
                    <a:pt x="6527" y="58"/>
                    <a:pt x="6527" y="125"/>
                  </a:cubicBezTo>
                  <a:lnTo>
                    <a:pt x="6527" y="1365"/>
                  </a:lnTo>
                  <a:cubicBezTo>
                    <a:pt x="6527" y="1430"/>
                    <a:pt x="6575" y="1478"/>
                    <a:pt x="6642" y="1478"/>
                  </a:cubicBezTo>
                  <a:lnTo>
                    <a:pt x="7484" y="1478"/>
                  </a:lnTo>
                  <a:lnTo>
                    <a:pt x="7484" y="1248"/>
                  </a:lnTo>
                  <a:lnTo>
                    <a:pt x="6764" y="1248"/>
                  </a:lnTo>
                  <a:lnTo>
                    <a:pt x="6764" y="822"/>
                  </a:lnTo>
                  <a:lnTo>
                    <a:pt x="7307" y="822"/>
                  </a:lnTo>
                  <a:cubicBezTo>
                    <a:pt x="7389" y="822"/>
                    <a:pt x="7435" y="773"/>
                    <a:pt x="7435" y="707"/>
                  </a:cubicBezTo>
                  <a:cubicBezTo>
                    <a:pt x="7435" y="640"/>
                    <a:pt x="7390" y="592"/>
                    <a:pt x="7307" y="592"/>
                  </a:cubicBezTo>
                  <a:lnTo>
                    <a:pt x="6764" y="592"/>
                  </a:lnTo>
                  <a:lnTo>
                    <a:pt x="6764" y="240"/>
                  </a:lnTo>
                  <a:lnTo>
                    <a:pt x="7367" y="240"/>
                  </a:lnTo>
                  <a:close/>
                  <a:moveTo>
                    <a:pt x="1635" y="893"/>
                  </a:moveTo>
                  <a:lnTo>
                    <a:pt x="1635" y="115"/>
                  </a:lnTo>
                  <a:cubicBezTo>
                    <a:pt x="1635" y="52"/>
                    <a:pt x="1589" y="0"/>
                    <a:pt x="1517" y="0"/>
                  </a:cubicBezTo>
                  <a:cubicBezTo>
                    <a:pt x="1443" y="0"/>
                    <a:pt x="1399" y="52"/>
                    <a:pt x="1399" y="115"/>
                  </a:cubicBezTo>
                  <a:lnTo>
                    <a:pt x="1399" y="885"/>
                  </a:lnTo>
                  <a:cubicBezTo>
                    <a:pt x="1399" y="1215"/>
                    <a:pt x="1630" y="1483"/>
                    <a:pt x="2002" y="1483"/>
                  </a:cubicBezTo>
                  <a:cubicBezTo>
                    <a:pt x="2372" y="1483"/>
                    <a:pt x="2605" y="1215"/>
                    <a:pt x="2605" y="885"/>
                  </a:cubicBezTo>
                  <a:lnTo>
                    <a:pt x="2605" y="7"/>
                  </a:lnTo>
                  <a:lnTo>
                    <a:pt x="2367" y="7"/>
                  </a:lnTo>
                  <a:lnTo>
                    <a:pt x="2367" y="892"/>
                  </a:lnTo>
                  <a:cubicBezTo>
                    <a:pt x="2367" y="1087"/>
                    <a:pt x="2237" y="1260"/>
                    <a:pt x="2002" y="1260"/>
                  </a:cubicBezTo>
                  <a:cubicBezTo>
                    <a:pt x="1765" y="1262"/>
                    <a:pt x="1635" y="1088"/>
                    <a:pt x="1635" y="893"/>
                  </a:cubicBezTo>
                  <a:close/>
                  <a:moveTo>
                    <a:pt x="4320" y="0"/>
                  </a:moveTo>
                  <a:cubicBezTo>
                    <a:pt x="4393" y="0"/>
                    <a:pt x="4439" y="52"/>
                    <a:pt x="4439" y="115"/>
                  </a:cubicBezTo>
                  <a:lnTo>
                    <a:pt x="4439" y="1477"/>
                  </a:lnTo>
                  <a:lnTo>
                    <a:pt x="4202" y="1477"/>
                  </a:lnTo>
                  <a:lnTo>
                    <a:pt x="4202" y="115"/>
                  </a:lnTo>
                  <a:cubicBezTo>
                    <a:pt x="4202" y="52"/>
                    <a:pt x="4247" y="0"/>
                    <a:pt x="432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82647178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Open / Close 6 (alt dark image, no text)">
    <p:spTree>
      <p:nvGrpSpPr>
        <p:cNvPr id="1" name=""/>
        <p:cNvGrpSpPr/>
        <p:nvPr/>
      </p:nvGrpSpPr>
      <p:grpSpPr>
        <a:xfrm>
          <a:off x="0" y="0"/>
          <a:ext cx="0" cy="0"/>
          <a:chOff x="0" y="0"/>
          <a:chExt cx="0" cy="0"/>
        </a:xfrm>
      </p:grpSpPr>
      <p:sp>
        <p:nvSpPr>
          <p:cNvPr id="7" name="Picture Placeholder 5">
            <a:extLst>
              <a:ext uri="{FF2B5EF4-FFF2-40B4-BE49-F238E27FC236}">
                <a16:creationId xmlns:a16="http://schemas.microsoft.com/office/drawing/2014/main" id="{9AB9824A-F0C7-443E-8E14-C45A75A5B36E}"/>
              </a:ext>
            </a:extLst>
          </p:cNvPr>
          <p:cNvSpPr>
            <a:spLocks noGrp="1"/>
          </p:cNvSpPr>
          <p:nvPr>
            <p:ph type="pic" sz="quarter" idx="11" hasCustomPrompt="1"/>
          </p:nvPr>
        </p:nvSpPr>
        <p:spPr>
          <a:xfrm>
            <a:off x="-9144" y="-4713"/>
            <a:ext cx="12207240" cy="6876288"/>
          </a:xfrm>
          <a:solidFill>
            <a:schemeClr val="bg1">
              <a:lumMod val="50000"/>
            </a:schemeClr>
          </a:solidFill>
        </p:spPr>
        <p:txBody>
          <a:bodyPr lIns="1920240" tIns="731520" rIns="1828800"/>
          <a:lstStyle>
            <a:lvl1pPr marL="0" indent="0">
              <a:lnSpc>
                <a:spcPct val="100000"/>
              </a:lnSpc>
              <a:spcBef>
                <a:spcPts val="0"/>
              </a:spcBef>
              <a:buNone/>
              <a:defRPr sz="1800">
                <a:solidFill>
                  <a:schemeClr val="accent2"/>
                </a:solidFill>
              </a:defRPr>
            </a:lvl1pPr>
          </a:lstStyle>
          <a:p>
            <a:r>
              <a:rPr lang="en-GB"/>
              <a:t>Drag picture to placeholder or click icon to add, then send to back. If logo not showing on slide, copy from slide master and paste on slide layout ensuring position matches the slide master (it should by default).</a:t>
            </a:r>
          </a:p>
        </p:txBody>
      </p:sp>
      <p:grpSp>
        <p:nvGrpSpPr>
          <p:cNvPr id="6" name="Group 4">
            <a:extLst>
              <a:ext uri="{FF2B5EF4-FFF2-40B4-BE49-F238E27FC236}">
                <a16:creationId xmlns:a16="http://schemas.microsoft.com/office/drawing/2014/main" id="{9765A39F-6E3D-45FB-A65F-D834460EEBF5}"/>
              </a:ext>
            </a:extLst>
          </p:cNvPr>
          <p:cNvGrpSpPr>
            <a:grpSpLocks noChangeAspect="1"/>
          </p:cNvGrpSpPr>
          <p:nvPr userDrawn="1"/>
        </p:nvGrpSpPr>
        <p:grpSpPr bwMode="auto">
          <a:xfrm>
            <a:off x="5305044" y="5518959"/>
            <a:ext cx="1581912" cy="804468"/>
            <a:chOff x="1276" y="2201"/>
            <a:chExt cx="4800" cy="2441"/>
          </a:xfrm>
          <a:solidFill>
            <a:srgbClr val="FFFFFF"/>
          </a:solidFill>
        </p:grpSpPr>
        <p:sp>
          <p:nvSpPr>
            <p:cNvPr id="11" name="Freeform 5">
              <a:extLst>
                <a:ext uri="{FF2B5EF4-FFF2-40B4-BE49-F238E27FC236}">
                  <a16:creationId xmlns:a16="http://schemas.microsoft.com/office/drawing/2014/main" id="{CEFF7C73-A55A-4085-B18F-7BADE4E9A10B}"/>
                </a:ext>
              </a:extLst>
            </p:cNvPr>
            <p:cNvSpPr>
              <a:spLocks noEditPoints="1"/>
            </p:cNvSpPr>
            <p:nvPr userDrawn="1"/>
          </p:nvSpPr>
          <p:spPr bwMode="auto">
            <a:xfrm>
              <a:off x="1276" y="2201"/>
              <a:ext cx="4794" cy="2441"/>
            </a:xfrm>
            <a:custGeom>
              <a:avLst/>
              <a:gdLst>
                <a:gd name="T0" fmla="*/ 9572 w 9986"/>
                <a:gd name="T1" fmla="*/ 153 h 5085"/>
                <a:gd name="T2" fmla="*/ 6835 w 9986"/>
                <a:gd name="T3" fmla="*/ 925 h 5085"/>
                <a:gd name="T4" fmla="*/ 6895 w 9986"/>
                <a:gd name="T5" fmla="*/ 780 h 5085"/>
                <a:gd name="T6" fmla="*/ 3251 w 9986"/>
                <a:gd name="T7" fmla="*/ 1478 h 5085"/>
                <a:gd name="T8" fmla="*/ 4555 w 9986"/>
                <a:gd name="T9" fmla="*/ 55 h 5085"/>
                <a:gd name="T10" fmla="*/ 5001 w 9986"/>
                <a:gd name="T11" fmla="*/ 740 h 5085"/>
                <a:gd name="T12" fmla="*/ 1260 w 9986"/>
                <a:gd name="T13" fmla="*/ 320 h 5085"/>
                <a:gd name="T14" fmla="*/ 738 w 9986"/>
                <a:gd name="T15" fmla="*/ 1331 h 5085"/>
                <a:gd name="T16" fmla="*/ 8772 w 9986"/>
                <a:gd name="T17" fmla="*/ 158 h 5085"/>
                <a:gd name="T18" fmla="*/ 8053 w 9986"/>
                <a:gd name="T19" fmla="*/ 1163 h 5085"/>
                <a:gd name="T20" fmla="*/ 2988 w 9986"/>
                <a:gd name="T21" fmla="*/ 740 h 5085"/>
                <a:gd name="T22" fmla="*/ 9814 w 9986"/>
                <a:gd name="T23" fmla="*/ 4415 h 5085"/>
                <a:gd name="T24" fmla="*/ 9918 w 9986"/>
                <a:gd name="T25" fmla="*/ 4246 h 5085"/>
                <a:gd name="T26" fmla="*/ 9562 w 9986"/>
                <a:gd name="T27" fmla="*/ 4273 h 5085"/>
                <a:gd name="T28" fmla="*/ 9408 w 9986"/>
                <a:gd name="T29" fmla="*/ 4780 h 5085"/>
                <a:gd name="T30" fmla="*/ 9380 w 9986"/>
                <a:gd name="T31" fmla="*/ 4447 h 5085"/>
                <a:gd name="T32" fmla="*/ 9389 w 9986"/>
                <a:gd name="T33" fmla="*/ 4671 h 5085"/>
                <a:gd name="T34" fmla="*/ 8917 w 9986"/>
                <a:gd name="T35" fmla="*/ 4533 h 5085"/>
                <a:gd name="T36" fmla="*/ 9001 w 9986"/>
                <a:gd name="T37" fmla="*/ 4836 h 5085"/>
                <a:gd name="T38" fmla="*/ 8919 w 9986"/>
                <a:gd name="T39" fmla="*/ 4466 h 5085"/>
                <a:gd name="T40" fmla="*/ 8387 w 9986"/>
                <a:gd name="T41" fmla="*/ 4323 h 5085"/>
                <a:gd name="T42" fmla="*/ 8282 w 9986"/>
                <a:gd name="T43" fmla="*/ 4879 h 5085"/>
                <a:gd name="T44" fmla="*/ 8045 w 9986"/>
                <a:gd name="T45" fmla="*/ 4336 h 5085"/>
                <a:gd name="T46" fmla="*/ 8228 w 9986"/>
                <a:gd name="T47" fmla="*/ 4852 h 5085"/>
                <a:gd name="T48" fmla="*/ 7788 w 9986"/>
                <a:gd name="T49" fmla="*/ 4291 h 5085"/>
                <a:gd name="T50" fmla="*/ 7635 w 9986"/>
                <a:gd name="T51" fmla="*/ 4246 h 5085"/>
                <a:gd name="T52" fmla="*/ 7339 w 9986"/>
                <a:gd name="T53" fmla="*/ 4323 h 5085"/>
                <a:gd name="T54" fmla="*/ 7070 w 9986"/>
                <a:gd name="T55" fmla="*/ 4833 h 5085"/>
                <a:gd name="T56" fmla="*/ 6828 w 9986"/>
                <a:gd name="T57" fmla="*/ 4769 h 5085"/>
                <a:gd name="T58" fmla="*/ 6985 w 9986"/>
                <a:gd name="T59" fmla="*/ 4912 h 5085"/>
                <a:gd name="T60" fmla="*/ 6985 w 9986"/>
                <a:gd name="T61" fmla="*/ 4435 h 5085"/>
                <a:gd name="T62" fmla="*/ 6510 w 9986"/>
                <a:gd name="T63" fmla="*/ 4260 h 5085"/>
                <a:gd name="T64" fmla="*/ 6046 w 9986"/>
                <a:gd name="T65" fmla="*/ 4804 h 5085"/>
                <a:gd name="T66" fmla="*/ 6059 w 9986"/>
                <a:gd name="T67" fmla="*/ 4643 h 5085"/>
                <a:gd name="T68" fmla="*/ 6098 w 9986"/>
                <a:gd name="T69" fmla="*/ 4567 h 5085"/>
                <a:gd name="T70" fmla="*/ 6099 w 9986"/>
                <a:gd name="T71" fmla="*/ 4896 h 5085"/>
                <a:gd name="T72" fmla="*/ 5833 w 9986"/>
                <a:gd name="T73" fmla="*/ 4717 h 5085"/>
                <a:gd name="T74" fmla="*/ 5913 w 9986"/>
                <a:gd name="T75" fmla="*/ 4530 h 5085"/>
                <a:gd name="T76" fmla="*/ 5956 w 9986"/>
                <a:gd name="T77" fmla="*/ 4779 h 5085"/>
                <a:gd name="T78" fmla="*/ 5277 w 9986"/>
                <a:gd name="T79" fmla="*/ 4491 h 5085"/>
                <a:gd name="T80" fmla="*/ 5069 w 9986"/>
                <a:gd name="T81" fmla="*/ 4796 h 5085"/>
                <a:gd name="T82" fmla="*/ 5399 w 9986"/>
                <a:gd name="T83" fmla="*/ 4882 h 5085"/>
                <a:gd name="T84" fmla="*/ 4727 w 9986"/>
                <a:gd name="T85" fmla="*/ 4653 h 5085"/>
                <a:gd name="T86" fmla="*/ 4495 w 9986"/>
                <a:gd name="T87" fmla="*/ 4284 h 5085"/>
                <a:gd name="T88" fmla="*/ 3755 w 9986"/>
                <a:gd name="T89" fmla="*/ 4512 h 5085"/>
                <a:gd name="T90" fmla="*/ 4028 w 9986"/>
                <a:gd name="T91" fmla="*/ 5028 h 5085"/>
                <a:gd name="T92" fmla="*/ 4023 w 9986"/>
                <a:gd name="T93" fmla="*/ 4799 h 5085"/>
                <a:gd name="T94" fmla="*/ 3948 w 9986"/>
                <a:gd name="T95" fmla="*/ 4459 h 5085"/>
                <a:gd name="T96" fmla="*/ 3405 w 9986"/>
                <a:gd name="T97" fmla="*/ 4531 h 5085"/>
                <a:gd name="T98" fmla="*/ 3205 w 9986"/>
                <a:gd name="T99" fmla="*/ 4459 h 5085"/>
                <a:gd name="T100" fmla="*/ 2844 w 9986"/>
                <a:gd name="T101" fmla="*/ 4291 h 5085"/>
                <a:gd name="T102" fmla="*/ 2753 w 9986"/>
                <a:gd name="T103" fmla="*/ 4435 h 5085"/>
                <a:gd name="T104" fmla="*/ 2577 w 9986"/>
                <a:gd name="T105" fmla="*/ 4531 h 5085"/>
                <a:gd name="T106" fmla="*/ 2001 w 9986"/>
                <a:gd name="T107" fmla="*/ 4693 h 5085"/>
                <a:gd name="T108" fmla="*/ 1969 w 9986"/>
                <a:gd name="T109" fmla="*/ 4796 h 5085"/>
                <a:gd name="T110" fmla="*/ 1912 w 9986"/>
                <a:gd name="T111" fmla="*/ 4439 h 5085"/>
                <a:gd name="T112" fmla="*/ 1500 w 9986"/>
                <a:gd name="T113" fmla="*/ 4439 h 5085"/>
                <a:gd name="T114" fmla="*/ 965 w 9986"/>
                <a:gd name="T115" fmla="*/ 4513 h 5085"/>
                <a:gd name="T116" fmla="*/ 753 w 9986"/>
                <a:gd name="T117" fmla="*/ 4882 h 5085"/>
                <a:gd name="T118" fmla="*/ 1083 w 9986"/>
                <a:gd name="T119" fmla="*/ 4796 h 5085"/>
                <a:gd name="T120" fmla="*/ 159 w 9986"/>
                <a:gd name="T121" fmla="*/ 4653 h 5085"/>
                <a:gd name="T122" fmla="*/ 93 w 9986"/>
                <a:gd name="T123" fmla="*/ 4908 h 5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986" h="5085">
                  <a:moveTo>
                    <a:pt x="9986" y="81"/>
                  </a:moveTo>
                  <a:cubicBezTo>
                    <a:pt x="9986" y="41"/>
                    <a:pt x="9953" y="8"/>
                    <a:pt x="9913" y="8"/>
                  </a:cubicBezTo>
                  <a:lnTo>
                    <a:pt x="9093" y="8"/>
                  </a:lnTo>
                  <a:cubicBezTo>
                    <a:pt x="9053" y="8"/>
                    <a:pt x="9020" y="40"/>
                    <a:pt x="9020" y="81"/>
                  </a:cubicBezTo>
                  <a:cubicBezTo>
                    <a:pt x="9020" y="121"/>
                    <a:pt x="9051" y="153"/>
                    <a:pt x="9093" y="153"/>
                  </a:cubicBezTo>
                  <a:lnTo>
                    <a:pt x="9438" y="153"/>
                  </a:lnTo>
                  <a:lnTo>
                    <a:pt x="9438" y="1468"/>
                  </a:lnTo>
                  <a:lnTo>
                    <a:pt x="9572" y="1468"/>
                  </a:lnTo>
                  <a:lnTo>
                    <a:pt x="9572" y="153"/>
                  </a:lnTo>
                  <a:lnTo>
                    <a:pt x="9915" y="153"/>
                  </a:lnTo>
                  <a:cubicBezTo>
                    <a:pt x="9955" y="155"/>
                    <a:pt x="9986" y="121"/>
                    <a:pt x="9986" y="81"/>
                  </a:cubicBezTo>
                  <a:close/>
                  <a:moveTo>
                    <a:pt x="7113" y="1"/>
                  </a:moveTo>
                  <a:cubicBezTo>
                    <a:pt x="7085" y="1"/>
                    <a:pt x="7065" y="20"/>
                    <a:pt x="7051" y="43"/>
                  </a:cubicBezTo>
                  <a:cubicBezTo>
                    <a:pt x="7040" y="66"/>
                    <a:pt x="6505" y="1386"/>
                    <a:pt x="6505" y="1386"/>
                  </a:cubicBezTo>
                  <a:cubicBezTo>
                    <a:pt x="6501" y="1395"/>
                    <a:pt x="6500" y="1403"/>
                    <a:pt x="6500" y="1411"/>
                  </a:cubicBezTo>
                  <a:cubicBezTo>
                    <a:pt x="6500" y="1448"/>
                    <a:pt x="6528" y="1476"/>
                    <a:pt x="6565" y="1476"/>
                  </a:cubicBezTo>
                  <a:cubicBezTo>
                    <a:pt x="6593" y="1476"/>
                    <a:pt x="6617" y="1460"/>
                    <a:pt x="6626" y="1435"/>
                  </a:cubicBezTo>
                  <a:lnTo>
                    <a:pt x="6835" y="925"/>
                  </a:lnTo>
                  <a:lnTo>
                    <a:pt x="7393" y="925"/>
                  </a:lnTo>
                  <a:lnTo>
                    <a:pt x="7615" y="1468"/>
                  </a:lnTo>
                  <a:lnTo>
                    <a:pt x="7756" y="1468"/>
                  </a:lnTo>
                  <a:cubicBezTo>
                    <a:pt x="7756" y="1468"/>
                    <a:pt x="7188" y="65"/>
                    <a:pt x="7176" y="41"/>
                  </a:cubicBezTo>
                  <a:cubicBezTo>
                    <a:pt x="7163" y="20"/>
                    <a:pt x="7142" y="1"/>
                    <a:pt x="7113" y="1"/>
                  </a:cubicBezTo>
                  <a:moveTo>
                    <a:pt x="6895" y="780"/>
                  </a:moveTo>
                  <a:lnTo>
                    <a:pt x="7115" y="240"/>
                  </a:lnTo>
                  <a:lnTo>
                    <a:pt x="7335" y="780"/>
                  </a:lnTo>
                  <a:lnTo>
                    <a:pt x="6895" y="780"/>
                  </a:lnTo>
                  <a:close/>
                  <a:moveTo>
                    <a:pt x="4490" y="1"/>
                  </a:moveTo>
                  <a:cubicBezTo>
                    <a:pt x="4463" y="1"/>
                    <a:pt x="4441" y="20"/>
                    <a:pt x="4430" y="41"/>
                  </a:cubicBezTo>
                  <a:cubicBezTo>
                    <a:pt x="4418" y="65"/>
                    <a:pt x="3995" y="1108"/>
                    <a:pt x="3995" y="1108"/>
                  </a:cubicBezTo>
                  <a:cubicBezTo>
                    <a:pt x="3995" y="1108"/>
                    <a:pt x="3572" y="63"/>
                    <a:pt x="3560" y="41"/>
                  </a:cubicBezTo>
                  <a:cubicBezTo>
                    <a:pt x="3548" y="18"/>
                    <a:pt x="3526" y="1"/>
                    <a:pt x="3500" y="1"/>
                  </a:cubicBezTo>
                  <a:cubicBezTo>
                    <a:pt x="3468" y="1"/>
                    <a:pt x="3443" y="25"/>
                    <a:pt x="3435" y="55"/>
                  </a:cubicBezTo>
                  <a:cubicBezTo>
                    <a:pt x="3426" y="85"/>
                    <a:pt x="3188" y="1400"/>
                    <a:pt x="3188" y="1400"/>
                  </a:cubicBezTo>
                  <a:cubicBezTo>
                    <a:pt x="3188" y="1405"/>
                    <a:pt x="3186" y="1408"/>
                    <a:pt x="3186" y="1413"/>
                  </a:cubicBezTo>
                  <a:cubicBezTo>
                    <a:pt x="3186" y="1450"/>
                    <a:pt x="3216" y="1478"/>
                    <a:pt x="3251" y="1478"/>
                  </a:cubicBezTo>
                  <a:cubicBezTo>
                    <a:pt x="3283" y="1478"/>
                    <a:pt x="3310" y="1455"/>
                    <a:pt x="3316" y="1425"/>
                  </a:cubicBezTo>
                  <a:lnTo>
                    <a:pt x="3523" y="300"/>
                  </a:lnTo>
                  <a:cubicBezTo>
                    <a:pt x="3523" y="300"/>
                    <a:pt x="3921" y="1283"/>
                    <a:pt x="3933" y="1306"/>
                  </a:cubicBezTo>
                  <a:cubicBezTo>
                    <a:pt x="3945" y="1330"/>
                    <a:pt x="3966" y="1348"/>
                    <a:pt x="3995" y="1348"/>
                  </a:cubicBezTo>
                  <a:cubicBezTo>
                    <a:pt x="4022" y="1348"/>
                    <a:pt x="4045" y="1330"/>
                    <a:pt x="4056" y="1306"/>
                  </a:cubicBezTo>
                  <a:cubicBezTo>
                    <a:pt x="4068" y="1283"/>
                    <a:pt x="4466" y="300"/>
                    <a:pt x="4466" y="300"/>
                  </a:cubicBezTo>
                  <a:lnTo>
                    <a:pt x="4681" y="1470"/>
                  </a:lnTo>
                  <a:lnTo>
                    <a:pt x="4815" y="1470"/>
                  </a:lnTo>
                  <a:cubicBezTo>
                    <a:pt x="4815" y="1470"/>
                    <a:pt x="4563" y="85"/>
                    <a:pt x="4555" y="55"/>
                  </a:cubicBezTo>
                  <a:cubicBezTo>
                    <a:pt x="4545" y="25"/>
                    <a:pt x="4522" y="1"/>
                    <a:pt x="4490" y="1"/>
                  </a:cubicBezTo>
                  <a:moveTo>
                    <a:pt x="5740" y="146"/>
                  </a:moveTo>
                  <a:cubicBezTo>
                    <a:pt x="5898" y="146"/>
                    <a:pt x="6047" y="208"/>
                    <a:pt x="6158" y="320"/>
                  </a:cubicBezTo>
                  <a:cubicBezTo>
                    <a:pt x="6185" y="346"/>
                    <a:pt x="6235" y="346"/>
                    <a:pt x="6261" y="320"/>
                  </a:cubicBezTo>
                  <a:cubicBezTo>
                    <a:pt x="6275" y="306"/>
                    <a:pt x="6283" y="288"/>
                    <a:pt x="6283" y="268"/>
                  </a:cubicBezTo>
                  <a:cubicBezTo>
                    <a:pt x="6283" y="248"/>
                    <a:pt x="6275" y="230"/>
                    <a:pt x="6261" y="216"/>
                  </a:cubicBezTo>
                  <a:lnTo>
                    <a:pt x="6253" y="208"/>
                  </a:lnTo>
                  <a:cubicBezTo>
                    <a:pt x="6115" y="75"/>
                    <a:pt x="5933" y="1"/>
                    <a:pt x="5740" y="1"/>
                  </a:cubicBezTo>
                  <a:cubicBezTo>
                    <a:pt x="5333" y="1"/>
                    <a:pt x="5001" y="333"/>
                    <a:pt x="5001" y="740"/>
                  </a:cubicBezTo>
                  <a:cubicBezTo>
                    <a:pt x="5001" y="1146"/>
                    <a:pt x="5333" y="1478"/>
                    <a:pt x="5740" y="1478"/>
                  </a:cubicBezTo>
                  <a:cubicBezTo>
                    <a:pt x="5955" y="1478"/>
                    <a:pt x="6148" y="1386"/>
                    <a:pt x="6283" y="1238"/>
                  </a:cubicBezTo>
                  <a:lnTo>
                    <a:pt x="6180" y="1135"/>
                  </a:lnTo>
                  <a:cubicBezTo>
                    <a:pt x="6072" y="1255"/>
                    <a:pt x="5915" y="1331"/>
                    <a:pt x="5740" y="1331"/>
                  </a:cubicBezTo>
                  <a:cubicBezTo>
                    <a:pt x="5413" y="1331"/>
                    <a:pt x="5147" y="1065"/>
                    <a:pt x="5147" y="738"/>
                  </a:cubicBezTo>
                  <a:cubicBezTo>
                    <a:pt x="5147" y="413"/>
                    <a:pt x="5413" y="146"/>
                    <a:pt x="5740" y="146"/>
                  </a:cubicBezTo>
                  <a:moveTo>
                    <a:pt x="736" y="146"/>
                  </a:moveTo>
                  <a:cubicBezTo>
                    <a:pt x="895" y="146"/>
                    <a:pt x="1043" y="208"/>
                    <a:pt x="1156" y="320"/>
                  </a:cubicBezTo>
                  <a:cubicBezTo>
                    <a:pt x="1183" y="346"/>
                    <a:pt x="1233" y="346"/>
                    <a:pt x="1260" y="320"/>
                  </a:cubicBezTo>
                  <a:cubicBezTo>
                    <a:pt x="1273" y="306"/>
                    <a:pt x="1281" y="288"/>
                    <a:pt x="1281" y="268"/>
                  </a:cubicBezTo>
                  <a:cubicBezTo>
                    <a:pt x="1281" y="248"/>
                    <a:pt x="1275" y="230"/>
                    <a:pt x="1260" y="216"/>
                  </a:cubicBezTo>
                  <a:lnTo>
                    <a:pt x="1251" y="208"/>
                  </a:lnTo>
                  <a:cubicBezTo>
                    <a:pt x="1113" y="75"/>
                    <a:pt x="931" y="1"/>
                    <a:pt x="738" y="1"/>
                  </a:cubicBezTo>
                  <a:cubicBezTo>
                    <a:pt x="331" y="1"/>
                    <a:pt x="0" y="333"/>
                    <a:pt x="0" y="740"/>
                  </a:cubicBezTo>
                  <a:cubicBezTo>
                    <a:pt x="0" y="1146"/>
                    <a:pt x="331" y="1478"/>
                    <a:pt x="738" y="1478"/>
                  </a:cubicBezTo>
                  <a:cubicBezTo>
                    <a:pt x="953" y="1478"/>
                    <a:pt x="1147" y="1386"/>
                    <a:pt x="1281" y="1238"/>
                  </a:cubicBezTo>
                  <a:lnTo>
                    <a:pt x="1178" y="1135"/>
                  </a:lnTo>
                  <a:cubicBezTo>
                    <a:pt x="1070" y="1255"/>
                    <a:pt x="911" y="1331"/>
                    <a:pt x="738" y="1331"/>
                  </a:cubicBezTo>
                  <a:cubicBezTo>
                    <a:pt x="411" y="1331"/>
                    <a:pt x="145" y="1065"/>
                    <a:pt x="145" y="738"/>
                  </a:cubicBezTo>
                  <a:cubicBezTo>
                    <a:pt x="143" y="413"/>
                    <a:pt x="410" y="146"/>
                    <a:pt x="736" y="146"/>
                  </a:cubicBezTo>
                  <a:moveTo>
                    <a:pt x="8613" y="748"/>
                  </a:moveTo>
                  <a:cubicBezTo>
                    <a:pt x="8573" y="728"/>
                    <a:pt x="8333" y="603"/>
                    <a:pt x="8298" y="585"/>
                  </a:cubicBezTo>
                  <a:cubicBezTo>
                    <a:pt x="8172" y="520"/>
                    <a:pt x="8126" y="463"/>
                    <a:pt x="8126" y="366"/>
                  </a:cubicBezTo>
                  <a:cubicBezTo>
                    <a:pt x="8126" y="231"/>
                    <a:pt x="8236" y="145"/>
                    <a:pt x="8408" y="145"/>
                  </a:cubicBezTo>
                  <a:cubicBezTo>
                    <a:pt x="8508" y="145"/>
                    <a:pt x="8606" y="188"/>
                    <a:pt x="8663" y="221"/>
                  </a:cubicBezTo>
                  <a:cubicBezTo>
                    <a:pt x="8673" y="226"/>
                    <a:pt x="8686" y="230"/>
                    <a:pt x="8698" y="230"/>
                  </a:cubicBezTo>
                  <a:cubicBezTo>
                    <a:pt x="8738" y="230"/>
                    <a:pt x="8772" y="198"/>
                    <a:pt x="8772" y="158"/>
                  </a:cubicBezTo>
                  <a:cubicBezTo>
                    <a:pt x="8772" y="131"/>
                    <a:pt x="8756" y="108"/>
                    <a:pt x="8735" y="95"/>
                  </a:cubicBezTo>
                  <a:cubicBezTo>
                    <a:pt x="8663" y="55"/>
                    <a:pt x="8542" y="0"/>
                    <a:pt x="8410" y="0"/>
                  </a:cubicBezTo>
                  <a:cubicBezTo>
                    <a:pt x="8158" y="0"/>
                    <a:pt x="7983" y="150"/>
                    <a:pt x="7983" y="366"/>
                  </a:cubicBezTo>
                  <a:cubicBezTo>
                    <a:pt x="7983" y="560"/>
                    <a:pt x="8110" y="651"/>
                    <a:pt x="8235" y="715"/>
                  </a:cubicBezTo>
                  <a:cubicBezTo>
                    <a:pt x="8270" y="733"/>
                    <a:pt x="8513" y="858"/>
                    <a:pt x="8550" y="878"/>
                  </a:cubicBezTo>
                  <a:cubicBezTo>
                    <a:pt x="8647" y="928"/>
                    <a:pt x="8700" y="1005"/>
                    <a:pt x="8700" y="1091"/>
                  </a:cubicBezTo>
                  <a:cubicBezTo>
                    <a:pt x="8700" y="1208"/>
                    <a:pt x="8601" y="1331"/>
                    <a:pt x="8418" y="1331"/>
                  </a:cubicBezTo>
                  <a:cubicBezTo>
                    <a:pt x="8240" y="1331"/>
                    <a:pt x="8101" y="1211"/>
                    <a:pt x="8065" y="1175"/>
                  </a:cubicBezTo>
                  <a:lnTo>
                    <a:pt x="8053" y="1163"/>
                  </a:lnTo>
                  <a:lnTo>
                    <a:pt x="7945" y="1261"/>
                  </a:lnTo>
                  <a:lnTo>
                    <a:pt x="7958" y="1273"/>
                  </a:lnTo>
                  <a:cubicBezTo>
                    <a:pt x="8006" y="1320"/>
                    <a:pt x="8180" y="1475"/>
                    <a:pt x="8418" y="1475"/>
                  </a:cubicBezTo>
                  <a:cubicBezTo>
                    <a:pt x="8685" y="1475"/>
                    <a:pt x="8845" y="1278"/>
                    <a:pt x="8845" y="1088"/>
                  </a:cubicBezTo>
                  <a:cubicBezTo>
                    <a:pt x="8843" y="950"/>
                    <a:pt x="8760" y="825"/>
                    <a:pt x="8613" y="748"/>
                  </a:cubicBezTo>
                  <a:moveTo>
                    <a:pt x="2250" y="1"/>
                  </a:moveTo>
                  <a:cubicBezTo>
                    <a:pt x="1843" y="1"/>
                    <a:pt x="1511" y="333"/>
                    <a:pt x="1511" y="740"/>
                  </a:cubicBezTo>
                  <a:cubicBezTo>
                    <a:pt x="1511" y="1146"/>
                    <a:pt x="1843" y="1478"/>
                    <a:pt x="2250" y="1478"/>
                  </a:cubicBezTo>
                  <a:cubicBezTo>
                    <a:pt x="2656" y="1478"/>
                    <a:pt x="2988" y="1146"/>
                    <a:pt x="2988" y="740"/>
                  </a:cubicBezTo>
                  <a:cubicBezTo>
                    <a:pt x="2988" y="333"/>
                    <a:pt x="2656" y="1"/>
                    <a:pt x="2250" y="1"/>
                  </a:cubicBezTo>
                  <a:moveTo>
                    <a:pt x="2250" y="1331"/>
                  </a:moveTo>
                  <a:cubicBezTo>
                    <a:pt x="1923" y="1331"/>
                    <a:pt x="1656" y="1065"/>
                    <a:pt x="1656" y="738"/>
                  </a:cubicBezTo>
                  <a:cubicBezTo>
                    <a:pt x="1656" y="411"/>
                    <a:pt x="1923" y="145"/>
                    <a:pt x="2250" y="145"/>
                  </a:cubicBezTo>
                  <a:cubicBezTo>
                    <a:pt x="2576" y="145"/>
                    <a:pt x="2843" y="411"/>
                    <a:pt x="2843" y="738"/>
                  </a:cubicBezTo>
                  <a:cubicBezTo>
                    <a:pt x="2841" y="1066"/>
                    <a:pt x="2576" y="1331"/>
                    <a:pt x="2250" y="1331"/>
                  </a:cubicBezTo>
                  <a:close/>
                  <a:moveTo>
                    <a:pt x="9887" y="4438"/>
                  </a:moveTo>
                  <a:lnTo>
                    <a:pt x="9886" y="4303"/>
                  </a:lnTo>
                  <a:lnTo>
                    <a:pt x="9814" y="4415"/>
                  </a:lnTo>
                  <a:lnTo>
                    <a:pt x="9799" y="4415"/>
                  </a:lnTo>
                  <a:lnTo>
                    <a:pt x="9726" y="4306"/>
                  </a:lnTo>
                  <a:lnTo>
                    <a:pt x="9726" y="4438"/>
                  </a:lnTo>
                  <a:lnTo>
                    <a:pt x="9694" y="4438"/>
                  </a:lnTo>
                  <a:lnTo>
                    <a:pt x="9694" y="4246"/>
                  </a:lnTo>
                  <a:lnTo>
                    <a:pt x="9721" y="4246"/>
                  </a:lnTo>
                  <a:lnTo>
                    <a:pt x="9807" y="4377"/>
                  </a:lnTo>
                  <a:lnTo>
                    <a:pt x="9891" y="4246"/>
                  </a:lnTo>
                  <a:lnTo>
                    <a:pt x="9918" y="4246"/>
                  </a:lnTo>
                  <a:lnTo>
                    <a:pt x="9918" y="4438"/>
                  </a:lnTo>
                  <a:lnTo>
                    <a:pt x="9887" y="4438"/>
                  </a:lnTo>
                  <a:close/>
                  <a:moveTo>
                    <a:pt x="9492" y="4246"/>
                  </a:moveTo>
                  <a:lnTo>
                    <a:pt x="9666" y="4246"/>
                  </a:lnTo>
                  <a:lnTo>
                    <a:pt x="9666" y="4273"/>
                  </a:lnTo>
                  <a:lnTo>
                    <a:pt x="9596" y="4273"/>
                  </a:lnTo>
                  <a:lnTo>
                    <a:pt x="9596" y="4438"/>
                  </a:lnTo>
                  <a:lnTo>
                    <a:pt x="9562" y="4438"/>
                  </a:lnTo>
                  <a:lnTo>
                    <a:pt x="9562" y="4273"/>
                  </a:lnTo>
                  <a:lnTo>
                    <a:pt x="9492" y="4273"/>
                  </a:lnTo>
                  <a:lnTo>
                    <a:pt x="9492" y="4246"/>
                  </a:lnTo>
                  <a:close/>
                  <a:moveTo>
                    <a:pt x="9167" y="4896"/>
                  </a:moveTo>
                  <a:cubicBezTo>
                    <a:pt x="9133" y="4885"/>
                    <a:pt x="9105" y="4871"/>
                    <a:pt x="9086" y="4854"/>
                  </a:cubicBezTo>
                  <a:lnTo>
                    <a:pt x="9114" y="4804"/>
                  </a:lnTo>
                  <a:cubicBezTo>
                    <a:pt x="9134" y="4820"/>
                    <a:pt x="9159" y="4833"/>
                    <a:pt x="9188" y="4842"/>
                  </a:cubicBezTo>
                  <a:cubicBezTo>
                    <a:pt x="9218" y="4852"/>
                    <a:pt x="9249" y="4857"/>
                    <a:pt x="9281" y="4857"/>
                  </a:cubicBezTo>
                  <a:cubicBezTo>
                    <a:pt x="9324" y="4857"/>
                    <a:pt x="9356" y="4850"/>
                    <a:pt x="9377" y="4837"/>
                  </a:cubicBezTo>
                  <a:cubicBezTo>
                    <a:pt x="9397" y="4824"/>
                    <a:pt x="9408" y="4805"/>
                    <a:pt x="9408" y="4780"/>
                  </a:cubicBezTo>
                  <a:cubicBezTo>
                    <a:pt x="9408" y="4763"/>
                    <a:pt x="9402" y="4750"/>
                    <a:pt x="9390" y="4740"/>
                  </a:cubicBezTo>
                  <a:cubicBezTo>
                    <a:pt x="9379" y="4730"/>
                    <a:pt x="9365" y="4723"/>
                    <a:pt x="9348" y="4717"/>
                  </a:cubicBezTo>
                  <a:cubicBezTo>
                    <a:pt x="9330" y="4712"/>
                    <a:pt x="9307" y="4708"/>
                    <a:pt x="9279" y="4703"/>
                  </a:cubicBezTo>
                  <a:cubicBezTo>
                    <a:pt x="9241" y="4696"/>
                    <a:pt x="9210" y="4688"/>
                    <a:pt x="9187" y="4681"/>
                  </a:cubicBezTo>
                  <a:cubicBezTo>
                    <a:pt x="9163" y="4674"/>
                    <a:pt x="9144" y="4661"/>
                    <a:pt x="9127" y="4643"/>
                  </a:cubicBezTo>
                  <a:cubicBezTo>
                    <a:pt x="9111" y="4625"/>
                    <a:pt x="9103" y="4601"/>
                    <a:pt x="9103" y="4569"/>
                  </a:cubicBezTo>
                  <a:cubicBezTo>
                    <a:pt x="9103" y="4530"/>
                    <a:pt x="9119" y="4498"/>
                    <a:pt x="9152" y="4473"/>
                  </a:cubicBezTo>
                  <a:cubicBezTo>
                    <a:pt x="9185" y="4448"/>
                    <a:pt x="9230" y="4435"/>
                    <a:pt x="9289" y="4435"/>
                  </a:cubicBezTo>
                  <a:cubicBezTo>
                    <a:pt x="9319" y="4435"/>
                    <a:pt x="9349" y="4439"/>
                    <a:pt x="9380" y="4447"/>
                  </a:cubicBezTo>
                  <a:cubicBezTo>
                    <a:pt x="9410" y="4455"/>
                    <a:pt x="9435" y="4466"/>
                    <a:pt x="9455" y="4479"/>
                  </a:cubicBezTo>
                  <a:lnTo>
                    <a:pt x="9427" y="4530"/>
                  </a:lnTo>
                  <a:cubicBezTo>
                    <a:pt x="9388" y="4503"/>
                    <a:pt x="9342" y="4490"/>
                    <a:pt x="9289" y="4490"/>
                  </a:cubicBezTo>
                  <a:cubicBezTo>
                    <a:pt x="9248" y="4490"/>
                    <a:pt x="9218" y="4497"/>
                    <a:pt x="9197" y="4511"/>
                  </a:cubicBezTo>
                  <a:cubicBezTo>
                    <a:pt x="9176" y="4525"/>
                    <a:pt x="9166" y="4544"/>
                    <a:pt x="9166" y="4567"/>
                  </a:cubicBezTo>
                  <a:cubicBezTo>
                    <a:pt x="9166" y="4585"/>
                    <a:pt x="9172" y="4599"/>
                    <a:pt x="9184" y="4610"/>
                  </a:cubicBezTo>
                  <a:cubicBezTo>
                    <a:pt x="9195" y="4621"/>
                    <a:pt x="9210" y="4629"/>
                    <a:pt x="9227" y="4634"/>
                  </a:cubicBezTo>
                  <a:cubicBezTo>
                    <a:pt x="9244" y="4639"/>
                    <a:pt x="9268" y="4644"/>
                    <a:pt x="9298" y="4649"/>
                  </a:cubicBezTo>
                  <a:cubicBezTo>
                    <a:pt x="9336" y="4656"/>
                    <a:pt x="9366" y="4664"/>
                    <a:pt x="9389" y="4671"/>
                  </a:cubicBezTo>
                  <a:cubicBezTo>
                    <a:pt x="9411" y="4678"/>
                    <a:pt x="9431" y="4690"/>
                    <a:pt x="9447" y="4707"/>
                  </a:cubicBezTo>
                  <a:cubicBezTo>
                    <a:pt x="9463" y="4724"/>
                    <a:pt x="9471" y="4748"/>
                    <a:pt x="9471" y="4779"/>
                  </a:cubicBezTo>
                  <a:cubicBezTo>
                    <a:pt x="9471" y="4820"/>
                    <a:pt x="9454" y="4852"/>
                    <a:pt x="9420" y="4876"/>
                  </a:cubicBezTo>
                  <a:cubicBezTo>
                    <a:pt x="9385" y="4900"/>
                    <a:pt x="9338" y="4912"/>
                    <a:pt x="9277" y="4912"/>
                  </a:cubicBezTo>
                  <a:cubicBezTo>
                    <a:pt x="9239" y="4912"/>
                    <a:pt x="9202" y="4907"/>
                    <a:pt x="9167" y="4896"/>
                  </a:cubicBezTo>
                  <a:moveTo>
                    <a:pt x="8688" y="4533"/>
                  </a:moveTo>
                  <a:cubicBezTo>
                    <a:pt x="8658" y="4562"/>
                    <a:pt x="8640" y="4599"/>
                    <a:pt x="8636" y="4646"/>
                  </a:cubicBezTo>
                  <a:lnTo>
                    <a:pt x="8969" y="4646"/>
                  </a:lnTo>
                  <a:cubicBezTo>
                    <a:pt x="8965" y="4599"/>
                    <a:pt x="8948" y="4562"/>
                    <a:pt x="8917" y="4533"/>
                  </a:cubicBezTo>
                  <a:cubicBezTo>
                    <a:pt x="8886" y="4504"/>
                    <a:pt x="8848" y="4490"/>
                    <a:pt x="8802" y="4490"/>
                  </a:cubicBezTo>
                  <a:cubicBezTo>
                    <a:pt x="8757" y="4490"/>
                    <a:pt x="8719" y="4504"/>
                    <a:pt x="8688" y="4533"/>
                  </a:cubicBezTo>
                  <a:close/>
                  <a:moveTo>
                    <a:pt x="9029" y="4693"/>
                  </a:moveTo>
                  <a:lnTo>
                    <a:pt x="8636" y="4693"/>
                  </a:lnTo>
                  <a:cubicBezTo>
                    <a:pt x="8640" y="4742"/>
                    <a:pt x="8658" y="4781"/>
                    <a:pt x="8692" y="4811"/>
                  </a:cubicBezTo>
                  <a:cubicBezTo>
                    <a:pt x="8726" y="4841"/>
                    <a:pt x="8769" y="4856"/>
                    <a:pt x="8821" y="4856"/>
                  </a:cubicBezTo>
                  <a:cubicBezTo>
                    <a:pt x="8850" y="4856"/>
                    <a:pt x="8877" y="4851"/>
                    <a:pt x="8901" y="4841"/>
                  </a:cubicBezTo>
                  <a:cubicBezTo>
                    <a:pt x="8926" y="4830"/>
                    <a:pt x="8947" y="4815"/>
                    <a:pt x="8965" y="4795"/>
                  </a:cubicBezTo>
                  <a:lnTo>
                    <a:pt x="9001" y="4836"/>
                  </a:lnTo>
                  <a:cubicBezTo>
                    <a:pt x="8980" y="4861"/>
                    <a:pt x="8954" y="4880"/>
                    <a:pt x="8922" y="4893"/>
                  </a:cubicBezTo>
                  <a:cubicBezTo>
                    <a:pt x="8891" y="4906"/>
                    <a:pt x="8857" y="4912"/>
                    <a:pt x="8819" y="4912"/>
                  </a:cubicBezTo>
                  <a:cubicBezTo>
                    <a:pt x="8771" y="4912"/>
                    <a:pt x="8728" y="4902"/>
                    <a:pt x="8691" y="4882"/>
                  </a:cubicBezTo>
                  <a:cubicBezTo>
                    <a:pt x="8654" y="4861"/>
                    <a:pt x="8625" y="4833"/>
                    <a:pt x="8604" y="4796"/>
                  </a:cubicBezTo>
                  <a:cubicBezTo>
                    <a:pt x="8583" y="4760"/>
                    <a:pt x="8572" y="4719"/>
                    <a:pt x="8572" y="4673"/>
                  </a:cubicBezTo>
                  <a:cubicBezTo>
                    <a:pt x="8572" y="4628"/>
                    <a:pt x="8582" y="4587"/>
                    <a:pt x="8602" y="4550"/>
                  </a:cubicBezTo>
                  <a:cubicBezTo>
                    <a:pt x="8622" y="4514"/>
                    <a:pt x="8650" y="4486"/>
                    <a:pt x="8685" y="4466"/>
                  </a:cubicBezTo>
                  <a:cubicBezTo>
                    <a:pt x="8720" y="4445"/>
                    <a:pt x="8759" y="4435"/>
                    <a:pt x="8802" y="4435"/>
                  </a:cubicBezTo>
                  <a:cubicBezTo>
                    <a:pt x="8846" y="4435"/>
                    <a:pt x="8885" y="4445"/>
                    <a:pt x="8919" y="4466"/>
                  </a:cubicBezTo>
                  <a:cubicBezTo>
                    <a:pt x="8954" y="4486"/>
                    <a:pt x="8981" y="4514"/>
                    <a:pt x="9001" y="4550"/>
                  </a:cubicBezTo>
                  <a:cubicBezTo>
                    <a:pt x="9020" y="4586"/>
                    <a:pt x="9030" y="4627"/>
                    <a:pt x="9030" y="4673"/>
                  </a:cubicBezTo>
                  <a:lnTo>
                    <a:pt x="9029" y="4693"/>
                  </a:lnTo>
                  <a:close/>
                  <a:moveTo>
                    <a:pt x="8388" y="4439"/>
                  </a:moveTo>
                  <a:lnTo>
                    <a:pt x="8452" y="4439"/>
                  </a:lnTo>
                  <a:lnTo>
                    <a:pt x="8452" y="4908"/>
                  </a:lnTo>
                  <a:lnTo>
                    <a:pt x="8388" y="4908"/>
                  </a:lnTo>
                  <a:lnTo>
                    <a:pt x="8388" y="4439"/>
                  </a:lnTo>
                  <a:close/>
                  <a:moveTo>
                    <a:pt x="8387" y="4323"/>
                  </a:moveTo>
                  <a:cubicBezTo>
                    <a:pt x="8378" y="4314"/>
                    <a:pt x="8374" y="4303"/>
                    <a:pt x="8374" y="4291"/>
                  </a:cubicBezTo>
                  <a:cubicBezTo>
                    <a:pt x="8374" y="4279"/>
                    <a:pt x="8378" y="4268"/>
                    <a:pt x="8387" y="4260"/>
                  </a:cubicBezTo>
                  <a:cubicBezTo>
                    <a:pt x="8396" y="4251"/>
                    <a:pt x="8407" y="4246"/>
                    <a:pt x="8420" y="4246"/>
                  </a:cubicBezTo>
                  <a:cubicBezTo>
                    <a:pt x="8434" y="4246"/>
                    <a:pt x="8445" y="4250"/>
                    <a:pt x="8454" y="4259"/>
                  </a:cubicBezTo>
                  <a:cubicBezTo>
                    <a:pt x="8462" y="4268"/>
                    <a:pt x="8467" y="4278"/>
                    <a:pt x="8467" y="4290"/>
                  </a:cubicBezTo>
                  <a:cubicBezTo>
                    <a:pt x="8467" y="4303"/>
                    <a:pt x="8462" y="4314"/>
                    <a:pt x="8454" y="4323"/>
                  </a:cubicBezTo>
                  <a:cubicBezTo>
                    <a:pt x="8445" y="4332"/>
                    <a:pt x="8434" y="4336"/>
                    <a:pt x="8420" y="4336"/>
                  </a:cubicBezTo>
                  <a:cubicBezTo>
                    <a:pt x="8407" y="4336"/>
                    <a:pt x="8396" y="4332"/>
                    <a:pt x="8387" y="4323"/>
                  </a:cubicBezTo>
                  <a:close/>
                  <a:moveTo>
                    <a:pt x="8282" y="4879"/>
                  </a:moveTo>
                  <a:cubicBezTo>
                    <a:pt x="8270" y="4890"/>
                    <a:pt x="8255" y="4898"/>
                    <a:pt x="8238" y="4904"/>
                  </a:cubicBezTo>
                  <a:cubicBezTo>
                    <a:pt x="8220" y="4910"/>
                    <a:pt x="8202" y="4912"/>
                    <a:pt x="8183" y="4912"/>
                  </a:cubicBezTo>
                  <a:cubicBezTo>
                    <a:pt x="8139" y="4912"/>
                    <a:pt x="8105" y="4900"/>
                    <a:pt x="8081" y="4877"/>
                  </a:cubicBezTo>
                  <a:cubicBezTo>
                    <a:pt x="8057" y="4853"/>
                    <a:pt x="8045" y="4819"/>
                    <a:pt x="8045" y="4776"/>
                  </a:cubicBezTo>
                  <a:lnTo>
                    <a:pt x="8045" y="4492"/>
                  </a:lnTo>
                  <a:lnTo>
                    <a:pt x="7961" y="4492"/>
                  </a:lnTo>
                  <a:lnTo>
                    <a:pt x="7961" y="4439"/>
                  </a:lnTo>
                  <a:lnTo>
                    <a:pt x="8045" y="4439"/>
                  </a:lnTo>
                  <a:lnTo>
                    <a:pt x="8045" y="4336"/>
                  </a:lnTo>
                  <a:lnTo>
                    <a:pt x="8108" y="4336"/>
                  </a:lnTo>
                  <a:lnTo>
                    <a:pt x="8108" y="4439"/>
                  </a:lnTo>
                  <a:lnTo>
                    <a:pt x="8251" y="4439"/>
                  </a:lnTo>
                  <a:lnTo>
                    <a:pt x="8251" y="4492"/>
                  </a:lnTo>
                  <a:lnTo>
                    <a:pt x="8108" y="4492"/>
                  </a:lnTo>
                  <a:lnTo>
                    <a:pt x="8108" y="4772"/>
                  </a:lnTo>
                  <a:cubicBezTo>
                    <a:pt x="8108" y="4800"/>
                    <a:pt x="8115" y="4822"/>
                    <a:pt x="8129" y="4836"/>
                  </a:cubicBezTo>
                  <a:cubicBezTo>
                    <a:pt x="8143" y="4851"/>
                    <a:pt x="8164" y="4858"/>
                    <a:pt x="8190" y="4858"/>
                  </a:cubicBezTo>
                  <a:cubicBezTo>
                    <a:pt x="8203" y="4858"/>
                    <a:pt x="8216" y="4856"/>
                    <a:pt x="8228" y="4852"/>
                  </a:cubicBezTo>
                  <a:cubicBezTo>
                    <a:pt x="8240" y="4848"/>
                    <a:pt x="8251" y="4842"/>
                    <a:pt x="8260" y="4834"/>
                  </a:cubicBezTo>
                  <a:lnTo>
                    <a:pt x="8282" y="4879"/>
                  </a:lnTo>
                  <a:close/>
                  <a:moveTo>
                    <a:pt x="7803" y="4439"/>
                  </a:moveTo>
                  <a:lnTo>
                    <a:pt x="7866" y="4439"/>
                  </a:lnTo>
                  <a:lnTo>
                    <a:pt x="7866" y="4908"/>
                  </a:lnTo>
                  <a:lnTo>
                    <a:pt x="7803" y="4908"/>
                  </a:lnTo>
                  <a:lnTo>
                    <a:pt x="7803" y="4439"/>
                  </a:lnTo>
                  <a:close/>
                  <a:moveTo>
                    <a:pt x="7802" y="4323"/>
                  </a:moveTo>
                  <a:cubicBezTo>
                    <a:pt x="7793" y="4314"/>
                    <a:pt x="7788" y="4303"/>
                    <a:pt x="7788" y="4291"/>
                  </a:cubicBezTo>
                  <a:cubicBezTo>
                    <a:pt x="7788" y="4279"/>
                    <a:pt x="7793" y="4268"/>
                    <a:pt x="7802" y="4260"/>
                  </a:cubicBezTo>
                  <a:cubicBezTo>
                    <a:pt x="7811" y="4251"/>
                    <a:pt x="7822" y="4246"/>
                    <a:pt x="7835" y="4246"/>
                  </a:cubicBezTo>
                  <a:cubicBezTo>
                    <a:pt x="7848" y="4246"/>
                    <a:pt x="7859" y="4250"/>
                    <a:pt x="7868" y="4259"/>
                  </a:cubicBezTo>
                  <a:cubicBezTo>
                    <a:pt x="7877" y="4268"/>
                    <a:pt x="7881" y="4278"/>
                    <a:pt x="7881" y="4290"/>
                  </a:cubicBezTo>
                  <a:cubicBezTo>
                    <a:pt x="7881" y="4303"/>
                    <a:pt x="7877" y="4314"/>
                    <a:pt x="7868" y="4323"/>
                  </a:cubicBezTo>
                  <a:cubicBezTo>
                    <a:pt x="7859" y="4332"/>
                    <a:pt x="7848" y="4336"/>
                    <a:pt x="7835" y="4336"/>
                  </a:cubicBezTo>
                  <a:cubicBezTo>
                    <a:pt x="7822" y="4336"/>
                    <a:pt x="7811" y="4332"/>
                    <a:pt x="7802" y="4323"/>
                  </a:cubicBezTo>
                  <a:close/>
                  <a:moveTo>
                    <a:pt x="7571" y="4246"/>
                  </a:moveTo>
                  <a:lnTo>
                    <a:pt x="7635" y="4246"/>
                  </a:lnTo>
                  <a:lnTo>
                    <a:pt x="7635" y="4908"/>
                  </a:lnTo>
                  <a:lnTo>
                    <a:pt x="7571" y="4908"/>
                  </a:lnTo>
                  <a:lnTo>
                    <a:pt x="7571" y="4246"/>
                  </a:lnTo>
                  <a:close/>
                  <a:moveTo>
                    <a:pt x="7340" y="4439"/>
                  </a:moveTo>
                  <a:lnTo>
                    <a:pt x="7403" y="4439"/>
                  </a:lnTo>
                  <a:lnTo>
                    <a:pt x="7403" y="4908"/>
                  </a:lnTo>
                  <a:lnTo>
                    <a:pt x="7340" y="4908"/>
                  </a:lnTo>
                  <a:lnTo>
                    <a:pt x="7340" y="4439"/>
                  </a:lnTo>
                  <a:close/>
                  <a:moveTo>
                    <a:pt x="7339" y="4323"/>
                  </a:moveTo>
                  <a:cubicBezTo>
                    <a:pt x="7330" y="4314"/>
                    <a:pt x="7325" y="4303"/>
                    <a:pt x="7325" y="4291"/>
                  </a:cubicBezTo>
                  <a:cubicBezTo>
                    <a:pt x="7325" y="4279"/>
                    <a:pt x="7330" y="4268"/>
                    <a:pt x="7339" y="4260"/>
                  </a:cubicBezTo>
                  <a:cubicBezTo>
                    <a:pt x="7348" y="4251"/>
                    <a:pt x="7359" y="4246"/>
                    <a:pt x="7372" y="4246"/>
                  </a:cubicBezTo>
                  <a:cubicBezTo>
                    <a:pt x="7385" y="4246"/>
                    <a:pt x="7396" y="4250"/>
                    <a:pt x="7405" y="4259"/>
                  </a:cubicBezTo>
                  <a:cubicBezTo>
                    <a:pt x="7414" y="4268"/>
                    <a:pt x="7418" y="4278"/>
                    <a:pt x="7418" y="4290"/>
                  </a:cubicBezTo>
                  <a:cubicBezTo>
                    <a:pt x="7418" y="4303"/>
                    <a:pt x="7414" y="4314"/>
                    <a:pt x="7405" y="4323"/>
                  </a:cubicBezTo>
                  <a:cubicBezTo>
                    <a:pt x="7396" y="4332"/>
                    <a:pt x="7385" y="4336"/>
                    <a:pt x="7372" y="4336"/>
                  </a:cubicBezTo>
                  <a:cubicBezTo>
                    <a:pt x="7359" y="4336"/>
                    <a:pt x="7348" y="4332"/>
                    <a:pt x="7339" y="4323"/>
                  </a:cubicBezTo>
                  <a:close/>
                  <a:moveTo>
                    <a:pt x="7070" y="4833"/>
                  </a:moveTo>
                  <a:cubicBezTo>
                    <a:pt x="7096" y="4818"/>
                    <a:pt x="7117" y="4797"/>
                    <a:pt x="7133" y="4769"/>
                  </a:cubicBezTo>
                  <a:cubicBezTo>
                    <a:pt x="7148" y="4741"/>
                    <a:pt x="7155" y="4709"/>
                    <a:pt x="7155" y="4673"/>
                  </a:cubicBezTo>
                  <a:cubicBezTo>
                    <a:pt x="7155" y="4638"/>
                    <a:pt x="7148" y="4606"/>
                    <a:pt x="7133" y="4578"/>
                  </a:cubicBezTo>
                  <a:cubicBezTo>
                    <a:pt x="7117" y="4550"/>
                    <a:pt x="7096" y="4528"/>
                    <a:pt x="7070" y="4513"/>
                  </a:cubicBezTo>
                  <a:cubicBezTo>
                    <a:pt x="7043" y="4498"/>
                    <a:pt x="7013" y="4491"/>
                    <a:pt x="6980" y="4491"/>
                  </a:cubicBezTo>
                  <a:cubicBezTo>
                    <a:pt x="6947" y="4491"/>
                    <a:pt x="6917" y="4498"/>
                    <a:pt x="6890" y="4513"/>
                  </a:cubicBezTo>
                  <a:cubicBezTo>
                    <a:pt x="6864" y="4528"/>
                    <a:pt x="6843" y="4550"/>
                    <a:pt x="6828" y="4578"/>
                  </a:cubicBezTo>
                  <a:cubicBezTo>
                    <a:pt x="6813" y="4606"/>
                    <a:pt x="6805" y="4638"/>
                    <a:pt x="6805" y="4673"/>
                  </a:cubicBezTo>
                  <a:cubicBezTo>
                    <a:pt x="6805" y="4709"/>
                    <a:pt x="6813" y="4741"/>
                    <a:pt x="6828" y="4769"/>
                  </a:cubicBezTo>
                  <a:cubicBezTo>
                    <a:pt x="6843" y="4797"/>
                    <a:pt x="6864" y="4818"/>
                    <a:pt x="6890" y="4833"/>
                  </a:cubicBezTo>
                  <a:cubicBezTo>
                    <a:pt x="6917" y="4849"/>
                    <a:pt x="6947" y="4856"/>
                    <a:pt x="6980" y="4856"/>
                  </a:cubicBezTo>
                  <a:cubicBezTo>
                    <a:pt x="7013" y="4856"/>
                    <a:pt x="7043" y="4849"/>
                    <a:pt x="7070" y="4833"/>
                  </a:cubicBezTo>
                  <a:close/>
                  <a:moveTo>
                    <a:pt x="7104" y="4465"/>
                  </a:moveTo>
                  <a:cubicBezTo>
                    <a:pt x="7140" y="4485"/>
                    <a:pt x="7168" y="4513"/>
                    <a:pt x="7188" y="4549"/>
                  </a:cubicBezTo>
                  <a:cubicBezTo>
                    <a:pt x="7209" y="4586"/>
                    <a:pt x="7219" y="4627"/>
                    <a:pt x="7219" y="4673"/>
                  </a:cubicBezTo>
                  <a:cubicBezTo>
                    <a:pt x="7219" y="4720"/>
                    <a:pt x="7209" y="4761"/>
                    <a:pt x="7188" y="4797"/>
                  </a:cubicBezTo>
                  <a:cubicBezTo>
                    <a:pt x="7168" y="4834"/>
                    <a:pt x="7140" y="4862"/>
                    <a:pt x="7104" y="4882"/>
                  </a:cubicBezTo>
                  <a:cubicBezTo>
                    <a:pt x="7069" y="4902"/>
                    <a:pt x="7029" y="4912"/>
                    <a:pt x="6985" y="4912"/>
                  </a:cubicBezTo>
                  <a:cubicBezTo>
                    <a:pt x="6945" y="4912"/>
                    <a:pt x="6910" y="4904"/>
                    <a:pt x="6879" y="4887"/>
                  </a:cubicBezTo>
                  <a:cubicBezTo>
                    <a:pt x="6847" y="4871"/>
                    <a:pt x="6822" y="4847"/>
                    <a:pt x="6803" y="4815"/>
                  </a:cubicBezTo>
                  <a:lnTo>
                    <a:pt x="6803" y="4908"/>
                  </a:lnTo>
                  <a:lnTo>
                    <a:pt x="6742" y="4908"/>
                  </a:lnTo>
                  <a:lnTo>
                    <a:pt x="6742" y="4246"/>
                  </a:lnTo>
                  <a:lnTo>
                    <a:pt x="6806" y="4246"/>
                  </a:lnTo>
                  <a:lnTo>
                    <a:pt x="6806" y="4528"/>
                  </a:lnTo>
                  <a:cubicBezTo>
                    <a:pt x="6825" y="4498"/>
                    <a:pt x="6851" y="4475"/>
                    <a:pt x="6881" y="4459"/>
                  </a:cubicBezTo>
                  <a:cubicBezTo>
                    <a:pt x="6912" y="4443"/>
                    <a:pt x="6946" y="4435"/>
                    <a:pt x="6985" y="4435"/>
                  </a:cubicBezTo>
                  <a:cubicBezTo>
                    <a:pt x="7029" y="4435"/>
                    <a:pt x="7069" y="4445"/>
                    <a:pt x="7104" y="4465"/>
                  </a:cubicBezTo>
                  <a:close/>
                  <a:moveTo>
                    <a:pt x="6511" y="4439"/>
                  </a:moveTo>
                  <a:lnTo>
                    <a:pt x="6574" y="4439"/>
                  </a:lnTo>
                  <a:lnTo>
                    <a:pt x="6574" y="4908"/>
                  </a:lnTo>
                  <a:lnTo>
                    <a:pt x="6511" y="4908"/>
                  </a:lnTo>
                  <a:lnTo>
                    <a:pt x="6511" y="4439"/>
                  </a:lnTo>
                  <a:close/>
                  <a:moveTo>
                    <a:pt x="6510" y="4323"/>
                  </a:moveTo>
                  <a:cubicBezTo>
                    <a:pt x="6501" y="4314"/>
                    <a:pt x="6496" y="4303"/>
                    <a:pt x="6496" y="4291"/>
                  </a:cubicBezTo>
                  <a:cubicBezTo>
                    <a:pt x="6496" y="4279"/>
                    <a:pt x="6501" y="4268"/>
                    <a:pt x="6510" y="4260"/>
                  </a:cubicBezTo>
                  <a:cubicBezTo>
                    <a:pt x="6519" y="4251"/>
                    <a:pt x="6530" y="4246"/>
                    <a:pt x="6543" y="4246"/>
                  </a:cubicBezTo>
                  <a:cubicBezTo>
                    <a:pt x="6556" y="4246"/>
                    <a:pt x="6567" y="4250"/>
                    <a:pt x="6576" y="4259"/>
                  </a:cubicBezTo>
                  <a:cubicBezTo>
                    <a:pt x="6585" y="4268"/>
                    <a:pt x="6589" y="4278"/>
                    <a:pt x="6589" y="4290"/>
                  </a:cubicBezTo>
                  <a:cubicBezTo>
                    <a:pt x="6589" y="4303"/>
                    <a:pt x="6585" y="4314"/>
                    <a:pt x="6576" y="4323"/>
                  </a:cubicBezTo>
                  <a:cubicBezTo>
                    <a:pt x="6567" y="4332"/>
                    <a:pt x="6556" y="4336"/>
                    <a:pt x="6543" y="4336"/>
                  </a:cubicBezTo>
                  <a:cubicBezTo>
                    <a:pt x="6530" y="4336"/>
                    <a:pt x="6519" y="4332"/>
                    <a:pt x="6510" y="4323"/>
                  </a:cubicBezTo>
                  <a:close/>
                  <a:moveTo>
                    <a:pt x="6099" y="4896"/>
                  </a:moveTo>
                  <a:cubicBezTo>
                    <a:pt x="6064" y="4885"/>
                    <a:pt x="6037" y="4871"/>
                    <a:pt x="6017" y="4854"/>
                  </a:cubicBezTo>
                  <a:lnTo>
                    <a:pt x="6046" y="4804"/>
                  </a:lnTo>
                  <a:cubicBezTo>
                    <a:pt x="6066" y="4820"/>
                    <a:pt x="6090" y="4833"/>
                    <a:pt x="6120" y="4842"/>
                  </a:cubicBezTo>
                  <a:cubicBezTo>
                    <a:pt x="6150" y="4852"/>
                    <a:pt x="6181" y="4857"/>
                    <a:pt x="6213" y="4857"/>
                  </a:cubicBezTo>
                  <a:cubicBezTo>
                    <a:pt x="6256" y="4857"/>
                    <a:pt x="6288" y="4850"/>
                    <a:pt x="6308" y="4837"/>
                  </a:cubicBezTo>
                  <a:cubicBezTo>
                    <a:pt x="6329" y="4824"/>
                    <a:pt x="6339" y="4805"/>
                    <a:pt x="6339" y="4780"/>
                  </a:cubicBezTo>
                  <a:cubicBezTo>
                    <a:pt x="6339" y="4763"/>
                    <a:pt x="6333" y="4750"/>
                    <a:pt x="6322" y="4740"/>
                  </a:cubicBezTo>
                  <a:cubicBezTo>
                    <a:pt x="6311" y="4730"/>
                    <a:pt x="6296" y="4723"/>
                    <a:pt x="6279" y="4717"/>
                  </a:cubicBezTo>
                  <a:cubicBezTo>
                    <a:pt x="6262" y="4712"/>
                    <a:pt x="6239" y="4708"/>
                    <a:pt x="6210" y="4703"/>
                  </a:cubicBezTo>
                  <a:cubicBezTo>
                    <a:pt x="6172" y="4696"/>
                    <a:pt x="6141" y="4688"/>
                    <a:pt x="6118" y="4681"/>
                  </a:cubicBezTo>
                  <a:cubicBezTo>
                    <a:pt x="6095" y="4674"/>
                    <a:pt x="6075" y="4661"/>
                    <a:pt x="6059" y="4643"/>
                  </a:cubicBezTo>
                  <a:cubicBezTo>
                    <a:pt x="6042" y="4625"/>
                    <a:pt x="6034" y="4601"/>
                    <a:pt x="6034" y="4569"/>
                  </a:cubicBezTo>
                  <a:cubicBezTo>
                    <a:pt x="6034" y="4530"/>
                    <a:pt x="6051" y="4498"/>
                    <a:pt x="6083" y="4473"/>
                  </a:cubicBezTo>
                  <a:cubicBezTo>
                    <a:pt x="6116" y="4448"/>
                    <a:pt x="6162" y="4435"/>
                    <a:pt x="6220" y="4435"/>
                  </a:cubicBezTo>
                  <a:cubicBezTo>
                    <a:pt x="6251" y="4435"/>
                    <a:pt x="6281" y="4439"/>
                    <a:pt x="6311" y="4447"/>
                  </a:cubicBezTo>
                  <a:cubicBezTo>
                    <a:pt x="6342" y="4455"/>
                    <a:pt x="6367" y="4466"/>
                    <a:pt x="6386" y="4479"/>
                  </a:cubicBezTo>
                  <a:lnTo>
                    <a:pt x="6359" y="4530"/>
                  </a:lnTo>
                  <a:cubicBezTo>
                    <a:pt x="6320" y="4503"/>
                    <a:pt x="6274" y="4490"/>
                    <a:pt x="6220" y="4490"/>
                  </a:cubicBezTo>
                  <a:cubicBezTo>
                    <a:pt x="6180" y="4490"/>
                    <a:pt x="6149" y="4497"/>
                    <a:pt x="6129" y="4511"/>
                  </a:cubicBezTo>
                  <a:cubicBezTo>
                    <a:pt x="6108" y="4525"/>
                    <a:pt x="6098" y="4544"/>
                    <a:pt x="6098" y="4567"/>
                  </a:cubicBezTo>
                  <a:cubicBezTo>
                    <a:pt x="6098" y="4585"/>
                    <a:pt x="6104" y="4599"/>
                    <a:pt x="6115" y="4610"/>
                  </a:cubicBezTo>
                  <a:cubicBezTo>
                    <a:pt x="6127" y="4621"/>
                    <a:pt x="6141" y="4629"/>
                    <a:pt x="6158" y="4634"/>
                  </a:cubicBezTo>
                  <a:cubicBezTo>
                    <a:pt x="6176" y="4639"/>
                    <a:pt x="6200" y="4644"/>
                    <a:pt x="6230" y="4649"/>
                  </a:cubicBezTo>
                  <a:cubicBezTo>
                    <a:pt x="6268" y="4656"/>
                    <a:pt x="6298" y="4664"/>
                    <a:pt x="6320" y="4671"/>
                  </a:cubicBezTo>
                  <a:cubicBezTo>
                    <a:pt x="6343" y="4678"/>
                    <a:pt x="6362" y="4690"/>
                    <a:pt x="6378" y="4707"/>
                  </a:cubicBezTo>
                  <a:cubicBezTo>
                    <a:pt x="6395" y="4724"/>
                    <a:pt x="6403" y="4748"/>
                    <a:pt x="6403" y="4779"/>
                  </a:cubicBezTo>
                  <a:cubicBezTo>
                    <a:pt x="6403" y="4820"/>
                    <a:pt x="6385" y="4852"/>
                    <a:pt x="6351" y="4876"/>
                  </a:cubicBezTo>
                  <a:cubicBezTo>
                    <a:pt x="6317" y="4900"/>
                    <a:pt x="6269" y="4912"/>
                    <a:pt x="6209" y="4912"/>
                  </a:cubicBezTo>
                  <a:cubicBezTo>
                    <a:pt x="6170" y="4912"/>
                    <a:pt x="6134" y="4907"/>
                    <a:pt x="6099" y="4896"/>
                  </a:cubicBezTo>
                  <a:moveTo>
                    <a:pt x="5653" y="4896"/>
                  </a:moveTo>
                  <a:cubicBezTo>
                    <a:pt x="5618" y="4885"/>
                    <a:pt x="5591" y="4871"/>
                    <a:pt x="5571" y="4854"/>
                  </a:cubicBezTo>
                  <a:lnTo>
                    <a:pt x="5600" y="4804"/>
                  </a:lnTo>
                  <a:cubicBezTo>
                    <a:pt x="5619" y="4820"/>
                    <a:pt x="5644" y="4833"/>
                    <a:pt x="5674" y="4842"/>
                  </a:cubicBezTo>
                  <a:cubicBezTo>
                    <a:pt x="5704" y="4852"/>
                    <a:pt x="5735" y="4857"/>
                    <a:pt x="5767" y="4857"/>
                  </a:cubicBezTo>
                  <a:cubicBezTo>
                    <a:pt x="5810" y="4857"/>
                    <a:pt x="5842" y="4850"/>
                    <a:pt x="5862" y="4837"/>
                  </a:cubicBezTo>
                  <a:cubicBezTo>
                    <a:pt x="5883" y="4824"/>
                    <a:pt x="5893" y="4805"/>
                    <a:pt x="5893" y="4780"/>
                  </a:cubicBezTo>
                  <a:cubicBezTo>
                    <a:pt x="5893" y="4763"/>
                    <a:pt x="5887" y="4750"/>
                    <a:pt x="5876" y="4740"/>
                  </a:cubicBezTo>
                  <a:cubicBezTo>
                    <a:pt x="5865" y="4730"/>
                    <a:pt x="5850" y="4723"/>
                    <a:pt x="5833" y="4717"/>
                  </a:cubicBezTo>
                  <a:cubicBezTo>
                    <a:pt x="5816" y="4712"/>
                    <a:pt x="5793" y="4708"/>
                    <a:pt x="5764" y="4703"/>
                  </a:cubicBezTo>
                  <a:cubicBezTo>
                    <a:pt x="5726" y="4696"/>
                    <a:pt x="5695" y="4688"/>
                    <a:pt x="5672" y="4681"/>
                  </a:cubicBezTo>
                  <a:cubicBezTo>
                    <a:pt x="5649" y="4674"/>
                    <a:pt x="5629" y="4661"/>
                    <a:pt x="5613" y="4643"/>
                  </a:cubicBezTo>
                  <a:cubicBezTo>
                    <a:pt x="5596" y="4625"/>
                    <a:pt x="5588" y="4601"/>
                    <a:pt x="5588" y="4569"/>
                  </a:cubicBezTo>
                  <a:cubicBezTo>
                    <a:pt x="5588" y="4530"/>
                    <a:pt x="5604" y="4498"/>
                    <a:pt x="5637" y="4473"/>
                  </a:cubicBezTo>
                  <a:cubicBezTo>
                    <a:pt x="5670" y="4448"/>
                    <a:pt x="5716" y="4435"/>
                    <a:pt x="5774" y="4435"/>
                  </a:cubicBezTo>
                  <a:cubicBezTo>
                    <a:pt x="5804" y="4435"/>
                    <a:pt x="5835" y="4439"/>
                    <a:pt x="5865" y="4447"/>
                  </a:cubicBezTo>
                  <a:cubicBezTo>
                    <a:pt x="5896" y="4455"/>
                    <a:pt x="5921" y="4466"/>
                    <a:pt x="5940" y="4479"/>
                  </a:cubicBezTo>
                  <a:lnTo>
                    <a:pt x="5913" y="4530"/>
                  </a:lnTo>
                  <a:cubicBezTo>
                    <a:pt x="5874" y="4503"/>
                    <a:pt x="5828" y="4490"/>
                    <a:pt x="5774" y="4490"/>
                  </a:cubicBezTo>
                  <a:cubicBezTo>
                    <a:pt x="5734" y="4490"/>
                    <a:pt x="5703" y="4497"/>
                    <a:pt x="5682" y="4511"/>
                  </a:cubicBezTo>
                  <a:cubicBezTo>
                    <a:pt x="5662" y="4525"/>
                    <a:pt x="5652" y="4544"/>
                    <a:pt x="5652" y="4567"/>
                  </a:cubicBezTo>
                  <a:cubicBezTo>
                    <a:pt x="5652" y="4585"/>
                    <a:pt x="5657" y="4599"/>
                    <a:pt x="5669" y="4610"/>
                  </a:cubicBezTo>
                  <a:cubicBezTo>
                    <a:pt x="5681" y="4621"/>
                    <a:pt x="5695" y="4629"/>
                    <a:pt x="5712" y="4634"/>
                  </a:cubicBezTo>
                  <a:cubicBezTo>
                    <a:pt x="5730" y="4639"/>
                    <a:pt x="5754" y="4644"/>
                    <a:pt x="5784" y="4649"/>
                  </a:cubicBezTo>
                  <a:cubicBezTo>
                    <a:pt x="5821" y="4656"/>
                    <a:pt x="5852" y="4664"/>
                    <a:pt x="5874" y="4671"/>
                  </a:cubicBezTo>
                  <a:cubicBezTo>
                    <a:pt x="5897" y="4678"/>
                    <a:pt x="5916" y="4690"/>
                    <a:pt x="5932" y="4707"/>
                  </a:cubicBezTo>
                  <a:cubicBezTo>
                    <a:pt x="5948" y="4724"/>
                    <a:pt x="5956" y="4748"/>
                    <a:pt x="5956" y="4779"/>
                  </a:cubicBezTo>
                  <a:cubicBezTo>
                    <a:pt x="5956" y="4820"/>
                    <a:pt x="5939" y="4852"/>
                    <a:pt x="5905" y="4876"/>
                  </a:cubicBezTo>
                  <a:cubicBezTo>
                    <a:pt x="5871" y="4900"/>
                    <a:pt x="5823" y="4912"/>
                    <a:pt x="5762" y="4912"/>
                  </a:cubicBezTo>
                  <a:cubicBezTo>
                    <a:pt x="5724" y="4912"/>
                    <a:pt x="5688" y="4907"/>
                    <a:pt x="5653" y="4896"/>
                  </a:cubicBezTo>
                  <a:moveTo>
                    <a:pt x="5367" y="4833"/>
                  </a:moveTo>
                  <a:cubicBezTo>
                    <a:pt x="5393" y="4818"/>
                    <a:pt x="5414" y="4797"/>
                    <a:pt x="5429" y="4769"/>
                  </a:cubicBezTo>
                  <a:cubicBezTo>
                    <a:pt x="5444" y="4741"/>
                    <a:pt x="5451" y="4709"/>
                    <a:pt x="5451" y="4673"/>
                  </a:cubicBezTo>
                  <a:cubicBezTo>
                    <a:pt x="5451" y="4638"/>
                    <a:pt x="5444" y="4606"/>
                    <a:pt x="5429" y="4578"/>
                  </a:cubicBezTo>
                  <a:cubicBezTo>
                    <a:pt x="5414" y="4550"/>
                    <a:pt x="5393" y="4528"/>
                    <a:pt x="5367" y="4513"/>
                  </a:cubicBezTo>
                  <a:cubicBezTo>
                    <a:pt x="5340" y="4498"/>
                    <a:pt x="5310" y="4491"/>
                    <a:pt x="5277" y="4491"/>
                  </a:cubicBezTo>
                  <a:cubicBezTo>
                    <a:pt x="5244" y="4491"/>
                    <a:pt x="5214" y="4498"/>
                    <a:pt x="5187" y="4513"/>
                  </a:cubicBezTo>
                  <a:cubicBezTo>
                    <a:pt x="5161" y="4528"/>
                    <a:pt x="5140" y="4550"/>
                    <a:pt x="5124" y="4578"/>
                  </a:cubicBezTo>
                  <a:cubicBezTo>
                    <a:pt x="5109" y="4606"/>
                    <a:pt x="5102" y="4638"/>
                    <a:pt x="5102" y="4673"/>
                  </a:cubicBezTo>
                  <a:cubicBezTo>
                    <a:pt x="5102" y="4709"/>
                    <a:pt x="5109" y="4741"/>
                    <a:pt x="5124" y="4769"/>
                  </a:cubicBezTo>
                  <a:cubicBezTo>
                    <a:pt x="5140" y="4797"/>
                    <a:pt x="5161" y="4818"/>
                    <a:pt x="5187" y="4833"/>
                  </a:cubicBezTo>
                  <a:cubicBezTo>
                    <a:pt x="5214" y="4849"/>
                    <a:pt x="5244" y="4856"/>
                    <a:pt x="5277" y="4856"/>
                  </a:cubicBezTo>
                  <a:cubicBezTo>
                    <a:pt x="5310" y="4856"/>
                    <a:pt x="5340" y="4849"/>
                    <a:pt x="5367" y="4833"/>
                  </a:cubicBezTo>
                  <a:close/>
                  <a:moveTo>
                    <a:pt x="5154" y="4882"/>
                  </a:moveTo>
                  <a:cubicBezTo>
                    <a:pt x="5118" y="4861"/>
                    <a:pt x="5089" y="4833"/>
                    <a:pt x="5069" y="4796"/>
                  </a:cubicBezTo>
                  <a:cubicBezTo>
                    <a:pt x="5048" y="4760"/>
                    <a:pt x="5037" y="4719"/>
                    <a:pt x="5037" y="4673"/>
                  </a:cubicBezTo>
                  <a:cubicBezTo>
                    <a:pt x="5037" y="4628"/>
                    <a:pt x="5048" y="4587"/>
                    <a:pt x="5069" y="4550"/>
                  </a:cubicBezTo>
                  <a:cubicBezTo>
                    <a:pt x="5089" y="4514"/>
                    <a:pt x="5118" y="4486"/>
                    <a:pt x="5154" y="4466"/>
                  </a:cubicBezTo>
                  <a:cubicBezTo>
                    <a:pt x="5191" y="4445"/>
                    <a:pt x="5232" y="4435"/>
                    <a:pt x="5277" y="4435"/>
                  </a:cubicBezTo>
                  <a:cubicBezTo>
                    <a:pt x="5322" y="4435"/>
                    <a:pt x="5363" y="4445"/>
                    <a:pt x="5399" y="4466"/>
                  </a:cubicBezTo>
                  <a:cubicBezTo>
                    <a:pt x="5436" y="4486"/>
                    <a:pt x="5464" y="4514"/>
                    <a:pt x="5485" y="4550"/>
                  </a:cubicBezTo>
                  <a:cubicBezTo>
                    <a:pt x="5505" y="4587"/>
                    <a:pt x="5516" y="4628"/>
                    <a:pt x="5516" y="4673"/>
                  </a:cubicBezTo>
                  <a:cubicBezTo>
                    <a:pt x="5516" y="4719"/>
                    <a:pt x="5505" y="4760"/>
                    <a:pt x="5485" y="4796"/>
                  </a:cubicBezTo>
                  <a:cubicBezTo>
                    <a:pt x="5464" y="4833"/>
                    <a:pt x="5436" y="4861"/>
                    <a:pt x="5399" y="4882"/>
                  </a:cubicBezTo>
                  <a:cubicBezTo>
                    <a:pt x="5363" y="4902"/>
                    <a:pt x="5322" y="4912"/>
                    <a:pt x="5277" y="4912"/>
                  </a:cubicBezTo>
                  <a:cubicBezTo>
                    <a:pt x="5232" y="4912"/>
                    <a:pt x="5191" y="4902"/>
                    <a:pt x="5154" y="4882"/>
                  </a:cubicBezTo>
                  <a:close/>
                  <a:moveTo>
                    <a:pt x="4869" y="4612"/>
                  </a:moveTo>
                  <a:cubicBezTo>
                    <a:pt x="4902" y="4585"/>
                    <a:pt x="4918" y="4547"/>
                    <a:pt x="4918" y="4498"/>
                  </a:cubicBezTo>
                  <a:cubicBezTo>
                    <a:pt x="4918" y="4447"/>
                    <a:pt x="4902" y="4408"/>
                    <a:pt x="4869" y="4381"/>
                  </a:cubicBezTo>
                  <a:cubicBezTo>
                    <a:pt x="4836" y="4354"/>
                    <a:pt x="4789" y="4341"/>
                    <a:pt x="4727" y="4341"/>
                  </a:cubicBezTo>
                  <a:lnTo>
                    <a:pt x="4561" y="4341"/>
                  </a:lnTo>
                  <a:lnTo>
                    <a:pt x="4561" y="4653"/>
                  </a:lnTo>
                  <a:lnTo>
                    <a:pt x="4727" y="4653"/>
                  </a:lnTo>
                  <a:cubicBezTo>
                    <a:pt x="4789" y="4653"/>
                    <a:pt x="4836" y="4639"/>
                    <a:pt x="4869" y="4612"/>
                  </a:cubicBezTo>
                  <a:close/>
                  <a:moveTo>
                    <a:pt x="4917" y="4341"/>
                  </a:moveTo>
                  <a:cubicBezTo>
                    <a:pt x="4962" y="4379"/>
                    <a:pt x="4985" y="4431"/>
                    <a:pt x="4985" y="4498"/>
                  </a:cubicBezTo>
                  <a:cubicBezTo>
                    <a:pt x="4985" y="4564"/>
                    <a:pt x="4962" y="4616"/>
                    <a:pt x="4917" y="4654"/>
                  </a:cubicBezTo>
                  <a:cubicBezTo>
                    <a:pt x="4871" y="4692"/>
                    <a:pt x="4809" y="4711"/>
                    <a:pt x="4729" y="4711"/>
                  </a:cubicBezTo>
                  <a:lnTo>
                    <a:pt x="4561" y="4711"/>
                  </a:lnTo>
                  <a:lnTo>
                    <a:pt x="4561" y="4908"/>
                  </a:lnTo>
                  <a:lnTo>
                    <a:pt x="4495" y="4908"/>
                  </a:lnTo>
                  <a:lnTo>
                    <a:pt x="4495" y="4284"/>
                  </a:lnTo>
                  <a:lnTo>
                    <a:pt x="4729" y="4284"/>
                  </a:lnTo>
                  <a:cubicBezTo>
                    <a:pt x="4809" y="4284"/>
                    <a:pt x="4871" y="4303"/>
                    <a:pt x="4917" y="4341"/>
                  </a:cubicBezTo>
                  <a:moveTo>
                    <a:pt x="3939" y="4812"/>
                  </a:moveTo>
                  <a:cubicBezTo>
                    <a:pt x="3966" y="4797"/>
                    <a:pt x="3987" y="4777"/>
                    <a:pt x="4002" y="4751"/>
                  </a:cubicBezTo>
                  <a:cubicBezTo>
                    <a:pt x="4018" y="4725"/>
                    <a:pt x="4025" y="4695"/>
                    <a:pt x="4025" y="4662"/>
                  </a:cubicBezTo>
                  <a:cubicBezTo>
                    <a:pt x="4025" y="4628"/>
                    <a:pt x="4018" y="4599"/>
                    <a:pt x="4002" y="4573"/>
                  </a:cubicBezTo>
                  <a:cubicBezTo>
                    <a:pt x="3987" y="4547"/>
                    <a:pt x="3966" y="4527"/>
                    <a:pt x="3939" y="4512"/>
                  </a:cubicBezTo>
                  <a:cubicBezTo>
                    <a:pt x="3912" y="4498"/>
                    <a:pt x="3881" y="4491"/>
                    <a:pt x="3846" y="4491"/>
                  </a:cubicBezTo>
                  <a:cubicBezTo>
                    <a:pt x="3812" y="4491"/>
                    <a:pt x="3782" y="4498"/>
                    <a:pt x="3755" y="4512"/>
                  </a:cubicBezTo>
                  <a:cubicBezTo>
                    <a:pt x="3728" y="4526"/>
                    <a:pt x="3707" y="4546"/>
                    <a:pt x="3691" y="4573"/>
                  </a:cubicBezTo>
                  <a:cubicBezTo>
                    <a:pt x="3676" y="4599"/>
                    <a:pt x="3669" y="4628"/>
                    <a:pt x="3669" y="4662"/>
                  </a:cubicBezTo>
                  <a:cubicBezTo>
                    <a:pt x="3669" y="4695"/>
                    <a:pt x="3676" y="4725"/>
                    <a:pt x="3691" y="4751"/>
                  </a:cubicBezTo>
                  <a:cubicBezTo>
                    <a:pt x="3707" y="4777"/>
                    <a:pt x="3728" y="4797"/>
                    <a:pt x="3755" y="4812"/>
                  </a:cubicBezTo>
                  <a:cubicBezTo>
                    <a:pt x="3782" y="4827"/>
                    <a:pt x="3812" y="4834"/>
                    <a:pt x="3846" y="4834"/>
                  </a:cubicBezTo>
                  <a:cubicBezTo>
                    <a:pt x="3880" y="4834"/>
                    <a:pt x="3911" y="4827"/>
                    <a:pt x="3939" y="4812"/>
                  </a:cubicBezTo>
                  <a:moveTo>
                    <a:pt x="4087" y="4439"/>
                  </a:moveTo>
                  <a:lnTo>
                    <a:pt x="4087" y="4851"/>
                  </a:lnTo>
                  <a:cubicBezTo>
                    <a:pt x="4087" y="4930"/>
                    <a:pt x="4067" y="4990"/>
                    <a:pt x="4028" y="5028"/>
                  </a:cubicBezTo>
                  <a:cubicBezTo>
                    <a:pt x="3989" y="5066"/>
                    <a:pt x="3930" y="5085"/>
                    <a:pt x="3852" y="5085"/>
                  </a:cubicBezTo>
                  <a:cubicBezTo>
                    <a:pt x="3808" y="5085"/>
                    <a:pt x="3767" y="5079"/>
                    <a:pt x="3728" y="5066"/>
                  </a:cubicBezTo>
                  <a:cubicBezTo>
                    <a:pt x="3689" y="5053"/>
                    <a:pt x="3657" y="5036"/>
                    <a:pt x="3633" y="5013"/>
                  </a:cubicBezTo>
                  <a:lnTo>
                    <a:pt x="3665" y="4965"/>
                  </a:lnTo>
                  <a:cubicBezTo>
                    <a:pt x="3688" y="4985"/>
                    <a:pt x="3715" y="5001"/>
                    <a:pt x="3748" y="5012"/>
                  </a:cubicBezTo>
                  <a:cubicBezTo>
                    <a:pt x="3780" y="5024"/>
                    <a:pt x="3814" y="5029"/>
                    <a:pt x="3850" y="5029"/>
                  </a:cubicBezTo>
                  <a:cubicBezTo>
                    <a:pt x="3910" y="5029"/>
                    <a:pt x="3953" y="5015"/>
                    <a:pt x="3981" y="4988"/>
                  </a:cubicBezTo>
                  <a:cubicBezTo>
                    <a:pt x="4009" y="4960"/>
                    <a:pt x="4023" y="4917"/>
                    <a:pt x="4023" y="4859"/>
                  </a:cubicBezTo>
                  <a:lnTo>
                    <a:pt x="4023" y="4799"/>
                  </a:lnTo>
                  <a:cubicBezTo>
                    <a:pt x="4004" y="4829"/>
                    <a:pt x="3978" y="4851"/>
                    <a:pt x="3946" y="4867"/>
                  </a:cubicBezTo>
                  <a:cubicBezTo>
                    <a:pt x="3914" y="4882"/>
                    <a:pt x="3879" y="4890"/>
                    <a:pt x="3840" y="4890"/>
                  </a:cubicBezTo>
                  <a:cubicBezTo>
                    <a:pt x="3796" y="4890"/>
                    <a:pt x="3756" y="4880"/>
                    <a:pt x="3720" y="4861"/>
                  </a:cubicBezTo>
                  <a:cubicBezTo>
                    <a:pt x="3684" y="4842"/>
                    <a:pt x="3656" y="4815"/>
                    <a:pt x="3635" y="4780"/>
                  </a:cubicBezTo>
                  <a:cubicBezTo>
                    <a:pt x="3614" y="4745"/>
                    <a:pt x="3604" y="4706"/>
                    <a:pt x="3604" y="4662"/>
                  </a:cubicBezTo>
                  <a:cubicBezTo>
                    <a:pt x="3604" y="4618"/>
                    <a:pt x="3614" y="4578"/>
                    <a:pt x="3635" y="4544"/>
                  </a:cubicBezTo>
                  <a:cubicBezTo>
                    <a:pt x="3656" y="4510"/>
                    <a:pt x="3684" y="4483"/>
                    <a:pt x="3719" y="4464"/>
                  </a:cubicBezTo>
                  <a:cubicBezTo>
                    <a:pt x="3755" y="4445"/>
                    <a:pt x="3795" y="4435"/>
                    <a:pt x="3840" y="4435"/>
                  </a:cubicBezTo>
                  <a:cubicBezTo>
                    <a:pt x="3880" y="4435"/>
                    <a:pt x="3916" y="4443"/>
                    <a:pt x="3948" y="4459"/>
                  </a:cubicBezTo>
                  <a:cubicBezTo>
                    <a:pt x="3981" y="4475"/>
                    <a:pt x="4006" y="4499"/>
                    <a:pt x="4026" y="4529"/>
                  </a:cubicBezTo>
                  <a:lnTo>
                    <a:pt x="4026" y="4439"/>
                  </a:lnTo>
                  <a:lnTo>
                    <a:pt x="4087" y="4439"/>
                  </a:lnTo>
                  <a:close/>
                  <a:moveTo>
                    <a:pt x="3453" y="4487"/>
                  </a:moveTo>
                  <a:cubicBezTo>
                    <a:pt x="3487" y="4521"/>
                    <a:pt x="3505" y="4570"/>
                    <a:pt x="3505" y="4636"/>
                  </a:cubicBezTo>
                  <a:lnTo>
                    <a:pt x="3505" y="4908"/>
                  </a:lnTo>
                  <a:lnTo>
                    <a:pt x="3441" y="4908"/>
                  </a:lnTo>
                  <a:lnTo>
                    <a:pt x="3441" y="4642"/>
                  </a:lnTo>
                  <a:cubicBezTo>
                    <a:pt x="3441" y="4593"/>
                    <a:pt x="3429" y="4556"/>
                    <a:pt x="3405" y="4531"/>
                  </a:cubicBezTo>
                  <a:cubicBezTo>
                    <a:pt x="3380" y="4505"/>
                    <a:pt x="3345" y="4492"/>
                    <a:pt x="3300" y="4492"/>
                  </a:cubicBezTo>
                  <a:cubicBezTo>
                    <a:pt x="3249" y="4492"/>
                    <a:pt x="3209" y="4507"/>
                    <a:pt x="3180" y="4537"/>
                  </a:cubicBezTo>
                  <a:cubicBezTo>
                    <a:pt x="3150" y="4567"/>
                    <a:pt x="3136" y="4609"/>
                    <a:pt x="3136" y="4662"/>
                  </a:cubicBezTo>
                  <a:lnTo>
                    <a:pt x="3136" y="4908"/>
                  </a:lnTo>
                  <a:lnTo>
                    <a:pt x="3072" y="4908"/>
                  </a:lnTo>
                  <a:lnTo>
                    <a:pt x="3072" y="4439"/>
                  </a:lnTo>
                  <a:lnTo>
                    <a:pt x="3133" y="4439"/>
                  </a:lnTo>
                  <a:lnTo>
                    <a:pt x="3133" y="4525"/>
                  </a:lnTo>
                  <a:cubicBezTo>
                    <a:pt x="3150" y="4497"/>
                    <a:pt x="3174" y="4475"/>
                    <a:pt x="3205" y="4459"/>
                  </a:cubicBezTo>
                  <a:cubicBezTo>
                    <a:pt x="3236" y="4443"/>
                    <a:pt x="3271" y="4435"/>
                    <a:pt x="3312" y="4435"/>
                  </a:cubicBezTo>
                  <a:cubicBezTo>
                    <a:pt x="3371" y="4435"/>
                    <a:pt x="3418" y="4452"/>
                    <a:pt x="3453" y="4487"/>
                  </a:cubicBezTo>
                  <a:close/>
                  <a:moveTo>
                    <a:pt x="2858" y="4439"/>
                  </a:moveTo>
                  <a:lnTo>
                    <a:pt x="2922" y="4439"/>
                  </a:lnTo>
                  <a:lnTo>
                    <a:pt x="2922" y="4908"/>
                  </a:lnTo>
                  <a:lnTo>
                    <a:pt x="2858" y="4908"/>
                  </a:lnTo>
                  <a:lnTo>
                    <a:pt x="2858" y="4439"/>
                  </a:lnTo>
                  <a:close/>
                  <a:moveTo>
                    <a:pt x="2858" y="4323"/>
                  </a:moveTo>
                  <a:cubicBezTo>
                    <a:pt x="2849" y="4314"/>
                    <a:pt x="2844" y="4303"/>
                    <a:pt x="2844" y="4291"/>
                  </a:cubicBezTo>
                  <a:cubicBezTo>
                    <a:pt x="2844" y="4279"/>
                    <a:pt x="2849" y="4268"/>
                    <a:pt x="2858" y="4260"/>
                  </a:cubicBezTo>
                  <a:cubicBezTo>
                    <a:pt x="2867" y="4251"/>
                    <a:pt x="2878" y="4246"/>
                    <a:pt x="2891" y="4246"/>
                  </a:cubicBezTo>
                  <a:cubicBezTo>
                    <a:pt x="2904" y="4246"/>
                    <a:pt x="2915" y="4250"/>
                    <a:pt x="2924" y="4259"/>
                  </a:cubicBezTo>
                  <a:cubicBezTo>
                    <a:pt x="2933" y="4268"/>
                    <a:pt x="2937" y="4278"/>
                    <a:pt x="2937" y="4290"/>
                  </a:cubicBezTo>
                  <a:cubicBezTo>
                    <a:pt x="2937" y="4303"/>
                    <a:pt x="2933" y="4314"/>
                    <a:pt x="2924" y="4323"/>
                  </a:cubicBezTo>
                  <a:cubicBezTo>
                    <a:pt x="2915" y="4332"/>
                    <a:pt x="2904" y="4336"/>
                    <a:pt x="2891" y="4336"/>
                  </a:cubicBezTo>
                  <a:cubicBezTo>
                    <a:pt x="2878" y="4336"/>
                    <a:pt x="2867" y="4332"/>
                    <a:pt x="2858" y="4323"/>
                  </a:cubicBezTo>
                  <a:close/>
                  <a:moveTo>
                    <a:pt x="2643" y="4459"/>
                  </a:moveTo>
                  <a:cubicBezTo>
                    <a:pt x="2673" y="4443"/>
                    <a:pt x="2710" y="4435"/>
                    <a:pt x="2753" y="4435"/>
                  </a:cubicBezTo>
                  <a:lnTo>
                    <a:pt x="2753" y="4497"/>
                  </a:lnTo>
                  <a:lnTo>
                    <a:pt x="2738" y="4496"/>
                  </a:lnTo>
                  <a:cubicBezTo>
                    <a:pt x="2688" y="4496"/>
                    <a:pt x="2650" y="4511"/>
                    <a:pt x="2622" y="4541"/>
                  </a:cubicBezTo>
                  <a:cubicBezTo>
                    <a:pt x="2594" y="4572"/>
                    <a:pt x="2580" y="4614"/>
                    <a:pt x="2580" y="4669"/>
                  </a:cubicBezTo>
                  <a:lnTo>
                    <a:pt x="2580" y="4908"/>
                  </a:lnTo>
                  <a:lnTo>
                    <a:pt x="2516" y="4908"/>
                  </a:lnTo>
                  <a:lnTo>
                    <a:pt x="2516" y="4439"/>
                  </a:lnTo>
                  <a:lnTo>
                    <a:pt x="2577" y="4439"/>
                  </a:lnTo>
                  <a:lnTo>
                    <a:pt x="2577" y="4531"/>
                  </a:lnTo>
                  <a:cubicBezTo>
                    <a:pt x="2592" y="4499"/>
                    <a:pt x="2614" y="4475"/>
                    <a:pt x="2643" y="4459"/>
                  </a:cubicBezTo>
                  <a:close/>
                  <a:moveTo>
                    <a:pt x="2053" y="4533"/>
                  </a:moveTo>
                  <a:cubicBezTo>
                    <a:pt x="2023" y="4562"/>
                    <a:pt x="2005" y="4599"/>
                    <a:pt x="2001" y="4646"/>
                  </a:cubicBezTo>
                  <a:lnTo>
                    <a:pt x="2335" y="4646"/>
                  </a:lnTo>
                  <a:cubicBezTo>
                    <a:pt x="2330" y="4599"/>
                    <a:pt x="2313" y="4562"/>
                    <a:pt x="2282" y="4533"/>
                  </a:cubicBezTo>
                  <a:cubicBezTo>
                    <a:pt x="2252" y="4504"/>
                    <a:pt x="2213" y="4490"/>
                    <a:pt x="2167" y="4490"/>
                  </a:cubicBezTo>
                  <a:cubicBezTo>
                    <a:pt x="2122" y="4490"/>
                    <a:pt x="2084" y="4504"/>
                    <a:pt x="2053" y="4533"/>
                  </a:cubicBezTo>
                  <a:close/>
                  <a:moveTo>
                    <a:pt x="2395" y="4693"/>
                  </a:moveTo>
                  <a:lnTo>
                    <a:pt x="2001" y="4693"/>
                  </a:lnTo>
                  <a:cubicBezTo>
                    <a:pt x="2005" y="4742"/>
                    <a:pt x="2023" y="4781"/>
                    <a:pt x="2057" y="4811"/>
                  </a:cubicBezTo>
                  <a:cubicBezTo>
                    <a:pt x="2091" y="4841"/>
                    <a:pt x="2134" y="4856"/>
                    <a:pt x="2186" y="4856"/>
                  </a:cubicBezTo>
                  <a:cubicBezTo>
                    <a:pt x="2215" y="4856"/>
                    <a:pt x="2242" y="4851"/>
                    <a:pt x="2267" y="4841"/>
                  </a:cubicBezTo>
                  <a:cubicBezTo>
                    <a:pt x="2291" y="4830"/>
                    <a:pt x="2312" y="4815"/>
                    <a:pt x="2330" y="4795"/>
                  </a:cubicBezTo>
                  <a:lnTo>
                    <a:pt x="2366" y="4836"/>
                  </a:lnTo>
                  <a:cubicBezTo>
                    <a:pt x="2345" y="4861"/>
                    <a:pt x="2319" y="4880"/>
                    <a:pt x="2288" y="4893"/>
                  </a:cubicBezTo>
                  <a:cubicBezTo>
                    <a:pt x="2256" y="4906"/>
                    <a:pt x="2222" y="4912"/>
                    <a:pt x="2184" y="4912"/>
                  </a:cubicBezTo>
                  <a:cubicBezTo>
                    <a:pt x="2136" y="4912"/>
                    <a:pt x="2093" y="4902"/>
                    <a:pt x="2056" y="4882"/>
                  </a:cubicBezTo>
                  <a:cubicBezTo>
                    <a:pt x="2019" y="4861"/>
                    <a:pt x="1990" y="4833"/>
                    <a:pt x="1969" y="4796"/>
                  </a:cubicBezTo>
                  <a:cubicBezTo>
                    <a:pt x="1948" y="4760"/>
                    <a:pt x="1938" y="4719"/>
                    <a:pt x="1938" y="4673"/>
                  </a:cubicBezTo>
                  <a:cubicBezTo>
                    <a:pt x="1938" y="4628"/>
                    <a:pt x="1948" y="4587"/>
                    <a:pt x="1968" y="4550"/>
                  </a:cubicBezTo>
                  <a:cubicBezTo>
                    <a:pt x="1988" y="4514"/>
                    <a:pt x="2015" y="4486"/>
                    <a:pt x="2050" y="4466"/>
                  </a:cubicBezTo>
                  <a:cubicBezTo>
                    <a:pt x="2085" y="4445"/>
                    <a:pt x="2124" y="4435"/>
                    <a:pt x="2167" y="4435"/>
                  </a:cubicBezTo>
                  <a:cubicBezTo>
                    <a:pt x="2211" y="4435"/>
                    <a:pt x="2250" y="4445"/>
                    <a:pt x="2285" y="4466"/>
                  </a:cubicBezTo>
                  <a:cubicBezTo>
                    <a:pt x="2319" y="4486"/>
                    <a:pt x="2346" y="4514"/>
                    <a:pt x="2366" y="4550"/>
                  </a:cubicBezTo>
                  <a:cubicBezTo>
                    <a:pt x="2386" y="4586"/>
                    <a:pt x="2395" y="4627"/>
                    <a:pt x="2395" y="4673"/>
                  </a:cubicBezTo>
                  <a:lnTo>
                    <a:pt x="2395" y="4693"/>
                  </a:lnTo>
                  <a:close/>
                  <a:moveTo>
                    <a:pt x="1912" y="4439"/>
                  </a:moveTo>
                  <a:lnTo>
                    <a:pt x="1734" y="4908"/>
                  </a:lnTo>
                  <a:lnTo>
                    <a:pt x="1674" y="4908"/>
                  </a:lnTo>
                  <a:lnTo>
                    <a:pt x="1525" y="4524"/>
                  </a:lnTo>
                  <a:lnTo>
                    <a:pt x="1377" y="4908"/>
                  </a:lnTo>
                  <a:lnTo>
                    <a:pt x="1317" y="4908"/>
                  </a:lnTo>
                  <a:lnTo>
                    <a:pt x="1140" y="4439"/>
                  </a:lnTo>
                  <a:lnTo>
                    <a:pt x="1201" y="4439"/>
                  </a:lnTo>
                  <a:lnTo>
                    <a:pt x="1348" y="4837"/>
                  </a:lnTo>
                  <a:lnTo>
                    <a:pt x="1500" y="4439"/>
                  </a:lnTo>
                  <a:lnTo>
                    <a:pt x="1554" y="4439"/>
                  </a:lnTo>
                  <a:lnTo>
                    <a:pt x="1704" y="4837"/>
                  </a:lnTo>
                  <a:lnTo>
                    <a:pt x="1854" y="4439"/>
                  </a:lnTo>
                  <a:lnTo>
                    <a:pt x="1912" y="4439"/>
                  </a:lnTo>
                  <a:close/>
                  <a:moveTo>
                    <a:pt x="965" y="4833"/>
                  </a:moveTo>
                  <a:cubicBezTo>
                    <a:pt x="992" y="4818"/>
                    <a:pt x="1013" y="4797"/>
                    <a:pt x="1027" y="4769"/>
                  </a:cubicBezTo>
                  <a:cubicBezTo>
                    <a:pt x="1042" y="4741"/>
                    <a:pt x="1050" y="4709"/>
                    <a:pt x="1050" y="4673"/>
                  </a:cubicBezTo>
                  <a:cubicBezTo>
                    <a:pt x="1050" y="4638"/>
                    <a:pt x="1042" y="4606"/>
                    <a:pt x="1027" y="4578"/>
                  </a:cubicBezTo>
                  <a:cubicBezTo>
                    <a:pt x="1013" y="4550"/>
                    <a:pt x="992" y="4528"/>
                    <a:pt x="965" y="4513"/>
                  </a:cubicBezTo>
                  <a:cubicBezTo>
                    <a:pt x="939" y="4498"/>
                    <a:pt x="909" y="4491"/>
                    <a:pt x="875" y="4491"/>
                  </a:cubicBezTo>
                  <a:cubicBezTo>
                    <a:pt x="842" y="4491"/>
                    <a:pt x="812" y="4498"/>
                    <a:pt x="786" y="4513"/>
                  </a:cubicBezTo>
                  <a:cubicBezTo>
                    <a:pt x="759" y="4528"/>
                    <a:pt x="738" y="4550"/>
                    <a:pt x="723" y="4578"/>
                  </a:cubicBezTo>
                  <a:cubicBezTo>
                    <a:pt x="708" y="4606"/>
                    <a:pt x="700" y="4638"/>
                    <a:pt x="700" y="4673"/>
                  </a:cubicBezTo>
                  <a:cubicBezTo>
                    <a:pt x="700" y="4709"/>
                    <a:pt x="708" y="4741"/>
                    <a:pt x="723" y="4769"/>
                  </a:cubicBezTo>
                  <a:cubicBezTo>
                    <a:pt x="738" y="4797"/>
                    <a:pt x="759" y="4818"/>
                    <a:pt x="786" y="4833"/>
                  </a:cubicBezTo>
                  <a:cubicBezTo>
                    <a:pt x="812" y="4849"/>
                    <a:pt x="842" y="4856"/>
                    <a:pt x="875" y="4856"/>
                  </a:cubicBezTo>
                  <a:cubicBezTo>
                    <a:pt x="909" y="4856"/>
                    <a:pt x="939" y="4849"/>
                    <a:pt x="965" y="4833"/>
                  </a:cubicBezTo>
                  <a:close/>
                  <a:moveTo>
                    <a:pt x="753" y="4882"/>
                  </a:moveTo>
                  <a:cubicBezTo>
                    <a:pt x="717" y="4861"/>
                    <a:pt x="688" y="4833"/>
                    <a:pt x="667" y="4796"/>
                  </a:cubicBezTo>
                  <a:cubicBezTo>
                    <a:pt x="646" y="4760"/>
                    <a:pt x="636" y="4719"/>
                    <a:pt x="636" y="4673"/>
                  </a:cubicBezTo>
                  <a:cubicBezTo>
                    <a:pt x="636" y="4628"/>
                    <a:pt x="646" y="4587"/>
                    <a:pt x="667" y="4550"/>
                  </a:cubicBezTo>
                  <a:cubicBezTo>
                    <a:pt x="688" y="4514"/>
                    <a:pt x="717" y="4486"/>
                    <a:pt x="753" y="4466"/>
                  </a:cubicBezTo>
                  <a:cubicBezTo>
                    <a:pt x="789" y="4445"/>
                    <a:pt x="830" y="4435"/>
                    <a:pt x="875" y="4435"/>
                  </a:cubicBezTo>
                  <a:cubicBezTo>
                    <a:pt x="921" y="4435"/>
                    <a:pt x="962" y="4445"/>
                    <a:pt x="998" y="4466"/>
                  </a:cubicBezTo>
                  <a:cubicBezTo>
                    <a:pt x="1034" y="4486"/>
                    <a:pt x="1063" y="4514"/>
                    <a:pt x="1083" y="4550"/>
                  </a:cubicBezTo>
                  <a:cubicBezTo>
                    <a:pt x="1104" y="4587"/>
                    <a:pt x="1114" y="4628"/>
                    <a:pt x="1114" y="4673"/>
                  </a:cubicBezTo>
                  <a:cubicBezTo>
                    <a:pt x="1114" y="4719"/>
                    <a:pt x="1104" y="4760"/>
                    <a:pt x="1083" y="4796"/>
                  </a:cubicBezTo>
                  <a:cubicBezTo>
                    <a:pt x="1063" y="4833"/>
                    <a:pt x="1034" y="4861"/>
                    <a:pt x="998" y="4882"/>
                  </a:cubicBezTo>
                  <a:cubicBezTo>
                    <a:pt x="962" y="4902"/>
                    <a:pt x="921" y="4912"/>
                    <a:pt x="875" y="4912"/>
                  </a:cubicBezTo>
                  <a:cubicBezTo>
                    <a:pt x="830" y="4912"/>
                    <a:pt x="789" y="4902"/>
                    <a:pt x="753" y="4882"/>
                  </a:cubicBezTo>
                  <a:close/>
                  <a:moveTo>
                    <a:pt x="468" y="4612"/>
                  </a:moveTo>
                  <a:cubicBezTo>
                    <a:pt x="501" y="4585"/>
                    <a:pt x="517" y="4547"/>
                    <a:pt x="517" y="4498"/>
                  </a:cubicBezTo>
                  <a:cubicBezTo>
                    <a:pt x="517" y="4447"/>
                    <a:pt x="501" y="4408"/>
                    <a:pt x="468" y="4381"/>
                  </a:cubicBezTo>
                  <a:cubicBezTo>
                    <a:pt x="435" y="4354"/>
                    <a:pt x="388" y="4341"/>
                    <a:pt x="326" y="4341"/>
                  </a:cubicBezTo>
                  <a:lnTo>
                    <a:pt x="159" y="4341"/>
                  </a:lnTo>
                  <a:lnTo>
                    <a:pt x="159" y="4653"/>
                  </a:lnTo>
                  <a:lnTo>
                    <a:pt x="326" y="4653"/>
                  </a:lnTo>
                  <a:cubicBezTo>
                    <a:pt x="388" y="4653"/>
                    <a:pt x="435" y="4639"/>
                    <a:pt x="468" y="4612"/>
                  </a:cubicBezTo>
                  <a:moveTo>
                    <a:pt x="515" y="4341"/>
                  </a:moveTo>
                  <a:cubicBezTo>
                    <a:pt x="560" y="4379"/>
                    <a:pt x="583" y="4431"/>
                    <a:pt x="583" y="4498"/>
                  </a:cubicBezTo>
                  <a:cubicBezTo>
                    <a:pt x="583" y="4564"/>
                    <a:pt x="560" y="4616"/>
                    <a:pt x="515" y="4654"/>
                  </a:cubicBezTo>
                  <a:cubicBezTo>
                    <a:pt x="470" y="4692"/>
                    <a:pt x="407" y="4711"/>
                    <a:pt x="327" y="4711"/>
                  </a:cubicBezTo>
                  <a:lnTo>
                    <a:pt x="159" y="4711"/>
                  </a:lnTo>
                  <a:lnTo>
                    <a:pt x="159" y="4908"/>
                  </a:lnTo>
                  <a:lnTo>
                    <a:pt x="93" y="4908"/>
                  </a:lnTo>
                  <a:lnTo>
                    <a:pt x="93" y="4284"/>
                  </a:lnTo>
                  <a:lnTo>
                    <a:pt x="327" y="4284"/>
                  </a:lnTo>
                  <a:cubicBezTo>
                    <a:pt x="407" y="4284"/>
                    <a:pt x="470" y="4303"/>
                    <a:pt x="515" y="4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6">
              <a:extLst>
                <a:ext uri="{FF2B5EF4-FFF2-40B4-BE49-F238E27FC236}">
                  <a16:creationId xmlns:a16="http://schemas.microsoft.com/office/drawing/2014/main" id="{6CED7033-A907-4CA6-9D7D-FD26B270BDB4}"/>
                </a:ext>
              </a:extLst>
            </p:cNvPr>
            <p:cNvSpPr>
              <a:spLocks noEditPoints="1"/>
            </p:cNvSpPr>
            <p:nvPr userDrawn="1"/>
          </p:nvSpPr>
          <p:spPr bwMode="auto">
            <a:xfrm>
              <a:off x="1321" y="3148"/>
              <a:ext cx="4755" cy="713"/>
            </a:xfrm>
            <a:custGeom>
              <a:avLst/>
              <a:gdLst>
                <a:gd name="T0" fmla="*/ 9402 w 9905"/>
                <a:gd name="T1" fmla="*/ 1485 h 1485"/>
                <a:gd name="T2" fmla="*/ 9609 w 9905"/>
                <a:gd name="T3" fmla="*/ 673 h 1485"/>
                <a:gd name="T4" fmla="*/ 9235 w 9905"/>
                <a:gd name="T5" fmla="*/ 387 h 1485"/>
                <a:gd name="T6" fmla="*/ 9645 w 9905"/>
                <a:gd name="T7" fmla="*/ 272 h 1485"/>
                <a:gd name="T8" fmla="*/ 9852 w 9905"/>
                <a:gd name="T9" fmla="*/ 188 h 1485"/>
                <a:gd name="T10" fmla="*/ 9440 w 9905"/>
                <a:gd name="T11" fmla="*/ 0 h 1485"/>
                <a:gd name="T12" fmla="*/ 9297 w 9905"/>
                <a:gd name="T13" fmla="*/ 792 h 1485"/>
                <a:gd name="T14" fmla="*/ 9655 w 9905"/>
                <a:gd name="T15" fmla="*/ 1077 h 1485"/>
                <a:gd name="T16" fmla="*/ 9102 w 9905"/>
                <a:gd name="T17" fmla="*/ 1105 h 1485"/>
                <a:gd name="T18" fmla="*/ 7727 w 9905"/>
                <a:gd name="T19" fmla="*/ 1267 h 1485"/>
                <a:gd name="T20" fmla="*/ 8704 w 9905"/>
                <a:gd name="T21" fmla="*/ 1072 h 1485"/>
                <a:gd name="T22" fmla="*/ 8168 w 9905"/>
                <a:gd name="T23" fmla="*/ 558 h 1485"/>
                <a:gd name="T24" fmla="*/ 8252 w 9905"/>
                <a:gd name="T25" fmla="*/ 227 h 1485"/>
                <a:gd name="T26" fmla="*/ 8543 w 9905"/>
                <a:gd name="T27" fmla="*/ 300 h 1485"/>
                <a:gd name="T28" fmla="*/ 8567 w 9905"/>
                <a:gd name="T29" fmla="*/ 73 h 1485"/>
                <a:gd name="T30" fmla="*/ 7785 w 9905"/>
                <a:gd name="T31" fmla="*/ 395 h 1485"/>
                <a:gd name="T32" fmla="*/ 8292 w 9905"/>
                <a:gd name="T33" fmla="*/ 885 h 1485"/>
                <a:gd name="T34" fmla="*/ 8225 w 9905"/>
                <a:gd name="T35" fmla="*/ 1257 h 1485"/>
                <a:gd name="T36" fmla="*/ 7727 w 9905"/>
                <a:gd name="T37" fmla="*/ 1267 h 1485"/>
                <a:gd name="T38" fmla="*/ 3354 w 9905"/>
                <a:gd name="T39" fmla="*/ 1485 h 1485"/>
                <a:gd name="T40" fmla="*/ 3560 w 9905"/>
                <a:gd name="T41" fmla="*/ 673 h 1485"/>
                <a:gd name="T42" fmla="*/ 3187 w 9905"/>
                <a:gd name="T43" fmla="*/ 387 h 1485"/>
                <a:gd name="T44" fmla="*/ 3597 w 9905"/>
                <a:gd name="T45" fmla="*/ 272 h 1485"/>
                <a:gd name="T46" fmla="*/ 3805 w 9905"/>
                <a:gd name="T47" fmla="*/ 188 h 1485"/>
                <a:gd name="T48" fmla="*/ 3393 w 9905"/>
                <a:gd name="T49" fmla="*/ 0 h 1485"/>
                <a:gd name="T50" fmla="*/ 3250 w 9905"/>
                <a:gd name="T51" fmla="*/ 792 h 1485"/>
                <a:gd name="T52" fmla="*/ 3609 w 9905"/>
                <a:gd name="T53" fmla="*/ 1077 h 1485"/>
                <a:gd name="T54" fmla="*/ 3055 w 9905"/>
                <a:gd name="T55" fmla="*/ 1105 h 1485"/>
                <a:gd name="T56" fmla="*/ 5023 w 9905"/>
                <a:gd name="T57" fmla="*/ 0 h 1485"/>
                <a:gd name="T58" fmla="*/ 4905 w 9905"/>
                <a:gd name="T59" fmla="*/ 1370 h 1485"/>
                <a:gd name="T60" fmla="*/ 5140 w 9905"/>
                <a:gd name="T61" fmla="*/ 1370 h 1485"/>
                <a:gd name="T62" fmla="*/ 5868 w 9905"/>
                <a:gd name="T63" fmla="*/ 1395 h 1485"/>
                <a:gd name="T64" fmla="*/ 6117 w 9905"/>
                <a:gd name="T65" fmla="*/ 1372 h 1485"/>
                <a:gd name="T66" fmla="*/ 5884 w 9905"/>
                <a:gd name="T67" fmla="*/ 10 h 1485"/>
                <a:gd name="T68" fmla="*/ 5152 w 9905"/>
                <a:gd name="T69" fmla="*/ 88 h 1485"/>
                <a:gd name="T70" fmla="*/ 882 w 9905"/>
                <a:gd name="T71" fmla="*/ 682 h 1485"/>
                <a:gd name="T72" fmla="*/ 652 w 9905"/>
                <a:gd name="T73" fmla="*/ 1475 h 1485"/>
                <a:gd name="T74" fmla="*/ 0 w 9905"/>
                <a:gd name="T75" fmla="*/ 122 h 1485"/>
                <a:gd name="T76" fmla="*/ 622 w 9905"/>
                <a:gd name="T77" fmla="*/ 7 h 1485"/>
                <a:gd name="T78" fmla="*/ 882 w 9905"/>
                <a:gd name="T79" fmla="*/ 682 h 1485"/>
                <a:gd name="T80" fmla="*/ 592 w 9905"/>
                <a:gd name="T81" fmla="*/ 595 h 1485"/>
                <a:gd name="T82" fmla="*/ 592 w 9905"/>
                <a:gd name="T83" fmla="*/ 238 h 1485"/>
                <a:gd name="T84" fmla="*/ 237 w 9905"/>
                <a:gd name="T85" fmla="*/ 595 h 1485"/>
                <a:gd name="T86" fmla="*/ 859 w 9905"/>
                <a:gd name="T87" fmla="*/ 1032 h 1485"/>
                <a:gd name="T88" fmla="*/ 237 w 9905"/>
                <a:gd name="T89" fmla="*/ 812 h 1485"/>
                <a:gd name="T90" fmla="*/ 607 w 9905"/>
                <a:gd name="T91" fmla="*/ 1250 h 1485"/>
                <a:gd name="T92" fmla="*/ 7492 w 9905"/>
                <a:gd name="T93" fmla="*/ 125 h 1485"/>
                <a:gd name="T94" fmla="*/ 6642 w 9905"/>
                <a:gd name="T95" fmla="*/ 10 h 1485"/>
                <a:gd name="T96" fmla="*/ 6527 w 9905"/>
                <a:gd name="T97" fmla="*/ 1365 h 1485"/>
                <a:gd name="T98" fmla="*/ 7484 w 9905"/>
                <a:gd name="T99" fmla="*/ 1478 h 1485"/>
                <a:gd name="T100" fmla="*/ 6764 w 9905"/>
                <a:gd name="T101" fmla="*/ 1248 h 1485"/>
                <a:gd name="T102" fmla="*/ 7307 w 9905"/>
                <a:gd name="T103" fmla="*/ 822 h 1485"/>
                <a:gd name="T104" fmla="*/ 7307 w 9905"/>
                <a:gd name="T105" fmla="*/ 592 h 1485"/>
                <a:gd name="T106" fmla="*/ 6764 w 9905"/>
                <a:gd name="T107" fmla="*/ 240 h 1485"/>
                <a:gd name="T108" fmla="*/ 1635 w 9905"/>
                <a:gd name="T109" fmla="*/ 893 h 1485"/>
                <a:gd name="T110" fmla="*/ 1517 w 9905"/>
                <a:gd name="T111" fmla="*/ 0 h 1485"/>
                <a:gd name="T112" fmla="*/ 1399 w 9905"/>
                <a:gd name="T113" fmla="*/ 885 h 1485"/>
                <a:gd name="T114" fmla="*/ 2605 w 9905"/>
                <a:gd name="T115" fmla="*/ 885 h 1485"/>
                <a:gd name="T116" fmla="*/ 2367 w 9905"/>
                <a:gd name="T117" fmla="*/ 7 h 1485"/>
                <a:gd name="T118" fmla="*/ 2002 w 9905"/>
                <a:gd name="T119" fmla="*/ 1260 h 1485"/>
                <a:gd name="T120" fmla="*/ 4320 w 9905"/>
                <a:gd name="T121" fmla="*/ 0 h 1485"/>
                <a:gd name="T122" fmla="*/ 4439 w 9905"/>
                <a:gd name="T123" fmla="*/ 1477 h 1485"/>
                <a:gd name="T124" fmla="*/ 4202 w 9905"/>
                <a:gd name="T125" fmla="*/ 115 h 1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905" h="1485">
                  <a:moveTo>
                    <a:pt x="8929" y="1267"/>
                  </a:moveTo>
                  <a:cubicBezTo>
                    <a:pt x="8959" y="1305"/>
                    <a:pt x="9097" y="1485"/>
                    <a:pt x="9402" y="1485"/>
                  </a:cubicBezTo>
                  <a:cubicBezTo>
                    <a:pt x="9700" y="1485"/>
                    <a:pt x="9905" y="1313"/>
                    <a:pt x="9905" y="1072"/>
                  </a:cubicBezTo>
                  <a:cubicBezTo>
                    <a:pt x="9905" y="913"/>
                    <a:pt x="9842" y="787"/>
                    <a:pt x="9609" y="673"/>
                  </a:cubicBezTo>
                  <a:cubicBezTo>
                    <a:pt x="9545" y="643"/>
                    <a:pt x="9368" y="558"/>
                    <a:pt x="9368" y="558"/>
                  </a:cubicBezTo>
                  <a:cubicBezTo>
                    <a:pt x="9277" y="513"/>
                    <a:pt x="9235" y="460"/>
                    <a:pt x="9235" y="387"/>
                  </a:cubicBezTo>
                  <a:cubicBezTo>
                    <a:pt x="9235" y="310"/>
                    <a:pt x="9298" y="227"/>
                    <a:pt x="9452" y="227"/>
                  </a:cubicBezTo>
                  <a:cubicBezTo>
                    <a:pt x="9540" y="227"/>
                    <a:pt x="9609" y="255"/>
                    <a:pt x="9645" y="272"/>
                  </a:cubicBezTo>
                  <a:cubicBezTo>
                    <a:pt x="9662" y="280"/>
                    <a:pt x="9704" y="300"/>
                    <a:pt x="9743" y="300"/>
                  </a:cubicBezTo>
                  <a:cubicBezTo>
                    <a:pt x="9795" y="300"/>
                    <a:pt x="9852" y="263"/>
                    <a:pt x="9852" y="188"/>
                  </a:cubicBezTo>
                  <a:cubicBezTo>
                    <a:pt x="9852" y="125"/>
                    <a:pt x="9807" y="92"/>
                    <a:pt x="9767" y="73"/>
                  </a:cubicBezTo>
                  <a:cubicBezTo>
                    <a:pt x="9704" y="43"/>
                    <a:pt x="9605" y="0"/>
                    <a:pt x="9440" y="0"/>
                  </a:cubicBezTo>
                  <a:cubicBezTo>
                    <a:pt x="9179" y="0"/>
                    <a:pt x="8985" y="165"/>
                    <a:pt x="8985" y="395"/>
                  </a:cubicBezTo>
                  <a:cubicBezTo>
                    <a:pt x="8985" y="605"/>
                    <a:pt x="9125" y="710"/>
                    <a:pt x="9297" y="792"/>
                  </a:cubicBezTo>
                  <a:cubicBezTo>
                    <a:pt x="9329" y="807"/>
                    <a:pt x="9455" y="868"/>
                    <a:pt x="9490" y="885"/>
                  </a:cubicBezTo>
                  <a:cubicBezTo>
                    <a:pt x="9598" y="937"/>
                    <a:pt x="9655" y="987"/>
                    <a:pt x="9655" y="1077"/>
                  </a:cubicBezTo>
                  <a:cubicBezTo>
                    <a:pt x="9655" y="1175"/>
                    <a:pt x="9564" y="1257"/>
                    <a:pt x="9425" y="1257"/>
                  </a:cubicBezTo>
                  <a:cubicBezTo>
                    <a:pt x="9227" y="1257"/>
                    <a:pt x="9120" y="1127"/>
                    <a:pt x="9102" y="1105"/>
                  </a:cubicBezTo>
                  <a:lnTo>
                    <a:pt x="8929" y="1267"/>
                  </a:lnTo>
                  <a:close/>
                  <a:moveTo>
                    <a:pt x="7727" y="1267"/>
                  </a:moveTo>
                  <a:cubicBezTo>
                    <a:pt x="7757" y="1305"/>
                    <a:pt x="7897" y="1485"/>
                    <a:pt x="8202" y="1485"/>
                  </a:cubicBezTo>
                  <a:cubicBezTo>
                    <a:pt x="8500" y="1485"/>
                    <a:pt x="8704" y="1313"/>
                    <a:pt x="8704" y="1072"/>
                  </a:cubicBezTo>
                  <a:cubicBezTo>
                    <a:pt x="8704" y="913"/>
                    <a:pt x="8642" y="787"/>
                    <a:pt x="8407" y="673"/>
                  </a:cubicBezTo>
                  <a:cubicBezTo>
                    <a:pt x="8345" y="643"/>
                    <a:pt x="8168" y="558"/>
                    <a:pt x="8168" y="558"/>
                  </a:cubicBezTo>
                  <a:cubicBezTo>
                    <a:pt x="8075" y="513"/>
                    <a:pt x="8034" y="460"/>
                    <a:pt x="8034" y="387"/>
                  </a:cubicBezTo>
                  <a:cubicBezTo>
                    <a:pt x="8034" y="310"/>
                    <a:pt x="8097" y="227"/>
                    <a:pt x="8252" y="227"/>
                  </a:cubicBezTo>
                  <a:cubicBezTo>
                    <a:pt x="8340" y="227"/>
                    <a:pt x="8407" y="255"/>
                    <a:pt x="8443" y="272"/>
                  </a:cubicBezTo>
                  <a:cubicBezTo>
                    <a:pt x="8462" y="280"/>
                    <a:pt x="8504" y="300"/>
                    <a:pt x="8543" y="300"/>
                  </a:cubicBezTo>
                  <a:cubicBezTo>
                    <a:pt x="8595" y="300"/>
                    <a:pt x="8652" y="263"/>
                    <a:pt x="8652" y="188"/>
                  </a:cubicBezTo>
                  <a:cubicBezTo>
                    <a:pt x="8652" y="125"/>
                    <a:pt x="8607" y="92"/>
                    <a:pt x="8567" y="73"/>
                  </a:cubicBezTo>
                  <a:cubicBezTo>
                    <a:pt x="8504" y="43"/>
                    <a:pt x="8404" y="0"/>
                    <a:pt x="8240" y="0"/>
                  </a:cubicBezTo>
                  <a:cubicBezTo>
                    <a:pt x="7979" y="0"/>
                    <a:pt x="7785" y="165"/>
                    <a:pt x="7785" y="395"/>
                  </a:cubicBezTo>
                  <a:cubicBezTo>
                    <a:pt x="7785" y="605"/>
                    <a:pt x="7927" y="710"/>
                    <a:pt x="8097" y="792"/>
                  </a:cubicBezTo>
                  <a:cubicBezTo>
                    <a:pt x="8130" y="807"/>
                    <a:pt x="8257" y="868"/>
                    <a:pt x="8292" y="885"/>
                  </a:cubicBezTo>
                  <a:cubicBezTo>
                    <a:pt x="8398" y="937"/>
                    <a:pt x="8455" y="987"/>
                    <a:pt x="8455" y="1077"/>
                  </a:cubicBezTo>
                  <a:cubicBezTo>
                    <a:pt x="8455" y="1175"/>
                    <a:pt x="8364" y="1257"/>
                    <a:pt x="8225" y="1257"/>
                  </a:cubicBezTo>
                  <a:cubicBezTo>
                    <a:pt x="8025" y="1257"/>
                    <a:pt x="7920" y="1127"/>
                    <a:pt x="7902" y="1105"/>
                  </a:cubicBezTo>
                  <a:lnTo>
                    <a:pt x="7727" y="1267"/>
                  </a:lnTo>
                  <a:close/>
                  <a:moveTo>
                    <a:pt x="2880" y="1267"/>
                  </a:moveTo>
                  <a:cubicBezTo>
                    <a:pt x="2910" y="1305"/>
                    <a:pt x="3049" y="1485"/>
                    <a:pt x="3354" y="1485"/>
                  </a:cubicBezTo>
                  <a:cubicBezTo>
                    <a:pt x="3654" y="1485"/>
                    <a:pt x="3857" y="1313"/>
                    <a:pt x="3857" y="1072"/>
                  </a:cubicBezTo>
                  <a:cubicBezTo>
                    <a:pt x="3857" y="913"/>
                    <a:pt x="3795" y="787"/>
                    <a:pt x="3560" y="673"/>
                  </a:cubicBezTo>
                  <a:cubicBezTo>
                    <a:pt x="3497" y="643"/>
                    <a:pt x="3322" y="558"/>
                    <a:pt x="3322" y="558"/>
                  </a:cubicBezTo>
                  <a:cubicBezTo>
                    <a:pt x="3229" y="513"/>
                    <a:pt x="3187" y="460"/>
                    <a:pt x="3187" y="387"/>
                  </a:cubicBezTo>
                  <a:cubicBezTo>
                    <a:pt x="3187" y="310"/>
                    <a:pt x="3250" y="227"/>
                    <a:pt x="3405" y="227"/>
                  </a:cubicBezTo>
                  <a:cubicBezTo>
                    <a:pt x="3493" y="227"/>
                    <a:pt x="3562" y="255"/>
                    <a:pt x="3597" y="272"/>
                  </a:cubicBezTo>
                  <a:cubicBezTo>
                    <a:pt x="3615" y="280"/>
                    <a:pt x="3657" y="300"/>
                    <a:pt x="3697" y="300"/>
                  </a:cubicBezTo>
                  <a:cubicBezTo>
                    <a:pt x="3749" y="300"/>
                    <a:pt x="3805" y="263"/>
                    <a:pt x="3805" y="188"/>
                  </a:cubicBezTo>
                  <a:cubicBezTo>
                    <a:pt x="3805" y="125"/>
                    <a:pt x="3760" y="92"/>
                    <a:pt x="3720" y="73"/>
                  </a:cubicBezTo>
                  <a:cubicBezTo>
                    <a:pt x="3657" y="43"/>
                    <a:pt x="3559" y="0"/>
                    <a:pt x="3393" y="0"/>
                  </a:cubicBezTo>
                  <a:cubicBezTo>
                    <a:pt x="3132" y="0"/>
                    <a:pt x="2939" y="165"/>
                    <a:pt x="2939" y="395"/>
                  </a:cubicBezTo>
                  <a:cubicBezTo>
                    <a:pt x="2939" y="605"/>
                    <a:pt x="3080" y="710"/>
                    <a:pt x="3250" y="792"/>
                  </a:cubicBezTo>
                  <a:cubicBezTo>
                    <a:pt x="3282" y="807"/>
                    <a:pt x="3409" y="868"/>
                    <a:pt x="3443" y="885"/>
                  </a:cubicBezTo>
                  <a:cubicBezTo>
                    <a:pt x="3552" y="937"/>
                    <a:pt x="3609" y="987"/>
                    <a:pt x="3609" y="1077"/>
                  </a:cubicBezTo>
                  <a:cubicBezTo>
                    <a:pt x="3609" y="1175"/>
                    <a:pt x="3517" y="1257"/>
                    <a:pt x="3379" y="1257"/>
                  </a:cubicBezTo>
                  <a:cubicBezTo>
                    <a:pt x="3180" y="1257"/>
                    <a:pt x="3074" y="1127"/>
                    <a:pt x="3055" y="1105"/>
                  </a:cubicBezTo>
                  <a:lnTo>
                    <a:pt x="2880" y="1267"/>
                  </a:lnTo>
                  <a:close/>
                  <a:moveTo>
                    <a:pt x="5023" y="0"/>
                  </a:moveTo>
                  <a:cubicBezTo>
                    <a:pt x="4952" y="0"/>
                    <a:pt x="4905" y="52"/>
                    <a:pt x="4905" y="113"/>
                  </a:cubicBezTo>
                  <a:lnTo>
                    <a:pt x="4905" y="1370"/>
                  </a:lnTo>
                  <a:cubicBezTo>
                    <a:pt x="4905" y="1433"/>
                    <a:pt x="4960" y="1483"/>
                    <a:pt x="5023" y="1483"/>
                  </a:cubicBezTo>
                  <a:cubicBezTo>
                    <a:pt x="5085" y="1483"/>
                    <a:pt x="5140" y="1433"/>
                    <a:pt x="5140" y="1370"/>
                  </a:cubicBezTo>
                  <a:lnTo>
                    <a:pt x="5140" y="463"/>
                  </a:lnTo>
                  <a:cubicBezTo>
                    <a:pt x="5140" y="463"/>
                    <a:pt x="5717" y="1200"/>
                    <a:pt x="5868" y="1395"/>
                  </a:cubicBezTo>
                  <a:cubicBezTo>
                    <a:pt x="5907" y="1443"/>
                    <a:pt x="5934" y="1485"/>
                    <a:pt x="6002" y="1485"/>
                  </a:cubicBezTo>
                  <a:cubicBezTo>
                    <a:pt x="6070" y="1485"/>
                    <a:pt x="6117" y="1435"/>
                    <a:pt x="6117" y="1372"/>
                  </a:cubicBezTo>
                  <a:lnTo>
                    <a:pt x="6117" y="10"/>
                  </a:lnTo>
                  <a:lnTo>
                    <a:pt x="5884" y="10"/>
                  </a:lnTo>
                  <a:lnTo>
                    <a:pt x="5884" y="1027"/>
                  </a:lnTo>
                  <a:cubicBezTo>
                    <a:pt x="5884" y="1027"/>
                    <a:pt x="5242" y="203"/>
                    <a:pt x="5152" y="88"/>
                  </a:cubicBezTo>
                  <a:cubicBezTo>
                    <a:pt x="5110" y="35"/>
                    <a:pt x="5079" y="0"/>
                    <a:pt x="5023" y="0"/>
                  </a:cubicBezTo>
                  <a:close/>
                  <a:moveTo>
                    <a:pt x="882" y="682"/>
                  </a:moveTo>
                  <a:cubicBezTo>
                    <a:pt x="924" y="702"/>
                    <a:pt x="1099" y="777"/>
                    <a:pt x="1099" y="1037"/>
                  </a:cubicBezTo>
                  <a:cubicBezTo>
                    <a:pt x="1099" y="1283"/>
                    <a:pt x="915" y="1475"/>
                    <a:pt x="652" y="1475"/>
                  </a:cubicBezTo>
                  <a:lnTo>
                    <a:pt x="0" y="1475"/>
                  </a:lnTo>
                  <a:lnTo>
                    <a:pt x="0" y="122"/>
                  </a:lnTo>
                  <a:cubicBezTo>
                    <a:pt x="0" y="53"/>
                    <a:pt x="47" y="7"/>
                    <a:pt x="115" y="7"/>
                  </a:cubicBezTo>
                  <a:lnTo>
                    <a:pt x="622" y="7"/>
                  </a:lnTo>
                  <a:cubicBezTo>
                    <a:pt x="868" y="7"/>
                    <a:pt x="1030" y="155"/>
                    <a:pt x="1030" y="380"/>
                  </a:cubicBezTo>
                  <a:cubicBezTo>
                    <a:pt x="1030" y="572"/>
                    <a:pt x="922" y="657"/>
                    <a:pt x="882" y="682"/>
                  </a:cubicBezTo>
                  <a:moveTo>
                    <a:pt x="237" y="595"/>
                  </a:moveTo>
                  <a:lnTo>
                    <a:pt x="592" y="595"/>
                  </a:lnTo>
                  <a:cubicBezTo>
                    <a:pt x="718" y="595"/>
                    <a:pt x="790" y="515"/>
                    <a:pt x="790" y="417"/>
                  </a:cubicBezTo>
                  <a:cubicBezTo>
                    <a:pt x="790" y="318"/>
                    <a:pt x="725" y="238"/>
                    <a:pt x="592" y="238"/>
                  </a:cubicBezTo>
                  <a:lnTo>
                    <a:pt x="237" y="238"/>
                  </a:lnTo>
                  <a:lnTo>
                    <a:pt x="237" y="595"/>
                  </a:lnTo>
                  <a:close/>
                  <a:moveTo>
                    <a:pt x="607" y="1250"/>
                  </a:moveTo>
                  <a:cubicBezTo>
                    <a:pt x="774" y="1250"/>
                    <a:pt x="859" y="1152"/>
                    <a:pt x="859" y="1032"/>
                  </a:cubicBezTo>
                  <a:cubicBezTo>
                    <a:pt x="859" y="910"/>
                    <a:pt x="777" y="812"/>
                    <a:pt x="607" y="812"/>
                  </a:cubicBezTo>
                  <a:lnTo>
                    <a:pt x="237" y="812"/>
                  </a:lnTo>
                  <a:lnTo>
                    <a:pt x="237" y="1250"/>
                  </a:lnTo>
                  <a:lnTo>
                    <a:pt x="607" y="1250"/>
                  </a:lnTo>
                  <a:close/>
                  <a:moveTo>
                    <a:pt x="7367" y="240"/>
                  </a:moveTo>
                  <a:cubicBezTo>
                    <a:pt x="7445" y="240"/>
                    <a:pt x="7492" y="190"/>
                    <a:pt x="7492" y="125"/>
                  </a:cubicBezTo>
                  <a:cubicBezTo>
                    <a:pt x="7492" y="60"/>
                    <a:pt x="7443" y="10"/>
                    <a:pt x="7367" y="10"/>
                  </a:cubicBezTo>
                  <a:lnTo>
                    <a:pt x="6642" y="10"/>
                  </a:lnTo>
                  <a:cubicBezTo>
                    <a:pt x="6575" y="10"/>
                    <a:pt x="6527" y="58"/>
                    <a:pt x="6527" y="125"/>
                  </a:cubicBezTo>
                  <a:lnTo>
                    <a:pt x="6527" y="1365"/>
                  </a:lnTo>
                  <a:cubicBezTo>
                    <a:pt x="6527" y="1430"/>
                    <a:pt x="6575" y="1478"/>
                    <a:pt x="6642" y="1478"/>
                  </a:cubicBezTo>
                  <a:lnTo>
                    <a:pt x="7484" y="1478"/>
                  </a:lnTo>
                  <a:lnTo>
                    <a:pt x="7484" y="1248"/>
                  </a:lnTo>
                  <a:lnTo>
                    <a:pt x="6764" y="1248"/>
                  </a:lnTo>
                  <a:lnTo>
                    <a:pt x="6764" y="822"/>
                  </a:lnTo>
                  <a:lnTo>
                    <a:pt x="7307" y="822"/>
                  </a:lnTo>
                  <a:cubicBezTo>
                    <a:pt x="7389" y="822"/>
                    <a:pt x="7435" y="773"/>
                    <a:pt x="7435" y="707"/>
                  </a:cubicBezTo>
                  <a:cubicBezTo>
                    <a:pt x="7435" y="640"/>
                    <a:pt x="7390" y="592"/>
                    <a:pt x="7307" y="592"/>
                  </a:cubicBezTo>
                  <a:lnTo>
                    <a:pt x="6764" y="592"/>
                  </a:lnTo>
                  <a:lnTo>
                    <a:pt x="6764" y="240"/>
                  </a:lnTo>
                  <a:lnTo>
                    <a:pt x="7367" y="240"/>
                  </a:lnTo>
                  <a:close/>
                  <a:moveTo>
                    <a:pt x="1635" y="893"/>
                  </a:moveTo>
                  <a:lnTo>
                    <a:pt x="1635" y="115"/>
                  </a:lnTo>
                  <a:cubicBezTo>
                    <a:pt x="1635" y="52"/>
                    <a:pt x="1589" y="0"/>
                    <a:pt x="1517" y="0"/>
                  </a:cubicBezTo>
                  <a:cubicBezTo>
                    <a:pt x="1443" y="0"/>
                    <a:pt x="1399" y="52"/>
                    <a:pt x="1399" y="115"/>
                  </a:cubicBezTo>
                  <a:lnTo>
                    <a:pt x="1399" y="885"/>
                  </a:lnTo>
                  <a:cubicBezTo>
                    <a:pt x="1399" y="1215"/>
                    <a:pt x="1630" y="1483"/>
                    <a:pt x="2002" y="1483"/>
                  </a:cubicBezTo>
                  <a:cubicBezTo>
                    <a:pt x="2372" y="1483"/>
                    <a:pt x="2605" y="1215"/>
                    <a:pt x="2605" y="885"/>
                  </a:cubicBezTo>
                  <a:lnTo>
                    <a:pt x="2605" y="7"/>
                  </a:lnTo>
                  <a:lnTo>
                    <a:pt x="2367" y="7"/>
                  </a:lnTo>
                  <a:lnTo>
                    <a:pt x="2367" y="892"/>
                  </a:lnTo>
                  <a:cubicBezTo>
                    <a:pt x="2367" y="1087"/>
                    <a:pt x="2237" y="1260"/>
                    <a:pt x="2002" y="1260"/>
                  </a:cubicBezTo>
                  <a:cubicBezTo>
                    <a:pt x="1765" y="1262"/>
                    <a:pt x="1635" y="1088"/>
                    <a:pt x="1635" y="893"/>
                  </a:cubicBezTo>
                  <a:close/>
                  <a:moveTo>
                    <a:pt x="4320" y="0"/>
                  </a:moveTo>
                  <a:cubicBezTo>
                    <a:pt x="4393" y="0"/>
                    <a:pt x="4439" y="52"/>
                    <a:pt x="4439" y="115"/>
                  </a:cubicBezTo>
                  <a:lnTo>
                    <a:pt x="4439" y="1477"/>
                  </a:lnTo>
                  <a:lnTo>
                    <a:pt x="4202" y="1477"/>
                  </a:lnTo>
                  <a:lnTo>
                    <a:pt x="4202" y="115"/>
                  </a:lnTo>
                  <a:cubicBezTo>
                    <a:pt x="4202" y="52"/>
                    <a:pt x="4247" y="0"/>
                    <a:pt x="432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7991509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Main Blank">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A92413D-8710-44A7-A656-29F4FEA16B54}"/>
              </a:ext>
            </a:extLst>
          </p:cNvPr>
          <p:cNvSpPr>
            <a:spLocks noGrp="1"/>
          </p:cNvSpPr>
          <p:nvPr>
            <p:ph type="title"/>
          </p:nvPr>
        </p:nvSpPr>
        <p:spPr/>
        <p:txBody>
          <a:bodyPr/>
          <a:lstStyle/>
          <a:p>
            <a:r>
              <a:rPr lang="en-US"/>
              <a:t>Click to edit Master title style</a:t>
            </a:r>
          </a:p>
        </p:txBody>
      </p:sp>
      <p:sp>
        <p:nvSpPr>
          <p:cNvPr id="8" name="Text Placeholder 7">
            <a:extLst>
              <a:ext uri="{FF2B5EF4-FFF2-40B4-BE49-F238E27FC236}">
                <a16:creationId xmlns:a16="http://schemas.microsoft.com/office/drawing/2014/main" id="{1CE9C83E-2AE6-4E6F-BCD1-413B2B24F1ED}"/>
              </a:ext>
            </a:extLst>
          </p:cNvPr>
          <p:cNvSpPr>
            <a:spLocks noGrp="1"/>
          </p:cNvSpPr>
          <p:nvPr>
            <p:ph type="body" sz="quarter" idx="10"/>
          </p:nvPr>
        </p:nvSpPr>
        <p:spPr>
          <a:xfrm>
            <a:off x="472440" y="1449238"/>
            <a:ext cx="11247120" cy="4715025"/>
          </a:xfrm>
          <a:prstGeom prst="rect">
            <a:avLst/>
          </a:prstGeom>
        </p:spPr>
        <p:txBody>
          <a:bodyPr lIns="0" tIns="0" rIns="0" bIns="0"/>
          <a:lstStyle>
            <a:lvl1pPr algn="l">
              <a:lnSpc>
                <a:spcPct val="110000"/>
              </a:lnSpc>
              <a:spcBef>
                <a:spcPts val="0"/>
              </a:spcBef>
              <a:spcAft>
                <a:spcPts val="1000"/>
              </a:spcAft>
              <a:defRPr sz="1400">
                <a:solidFill>
                  <a:schemeClr val="tx1"/>
                </a:solidFill>
                <a:latin typeface="+mj-lt"/>
              </a:defRPr>
            </a:lvl1pPr>
            <a:lvl2pPr marL="173038" indent="-173038" algn="l">
              <a:lnSpc>
                <a:spcPct val="110000"/>
              </a:lnSpc>
              <a:spcBef>
                <a:spcPts val="0"/>
              </a:spcBef>
              <a:spcAft>
                <a:spcPts val="1000"/>
              </a:spcAft>
              <a:buFont typeface="Arial" panose="020B0604020202020204" pitchFamily="34" charset="0"/>
              <a:buChar char="•"/>
              <a:defRPr sz="1400">
                <a:solidFill>
                  <a:schemeClr val="tx1"/>
                </a:solidFill>
                <a:latin typeface="+mj-lt"/>
              </a:defRPr>
            </a:lvl2pPr>
            <a:lvl3pPr marL="344488" indent="-171450" algn="l">
              <a:lnSpc>
                <a:spcPct val="110000"/>
              </a:lnSpc>
              <a:spcBef>
                <a:spcPts val="0"/>
              </a:spcBef>
              <a:spcAft>
                <a:spcPts val="1000"/>
              </a:spcAft>
              <a:buFont typeface="Arial" panose="020B0604020202020204" pitchFamily="34" charset="0"/>
              <a:buChar char="-"/>
              <a:defRPr sz="1400">
                <a:solidFill>
                  <a:schemeClr val="tx1"/>
                </a:solidFill>
                <a:latin typeface="+mj-lt"/>
              </a:defRPr>
            </a:lvl3pPr>
            <a:lvl4pPr marL="511175" indent="-166688" algn="l">
              <a:lnSpc>
                <a:spcPct val="110000"/>
              </a:lnSpc>
              <a:spcBef>
                <a:spcPts val="0"/>
              </a:spcBef>
              <a:spcAft>
                <a:spcPts val="1000"/>
              </a:spcAft>
              <a:buFont typeface="Arial" panose="020B0604020202020204" pitchFamily="34" charset="0"/>
              <a:buChar char="-"/>
              <a:defRPr sz="1400">
                <a:solidFill>
                  <a:schemeClr val="tx1"/>
                </a:solidFill>
                <a:latin typeface="+mj-lt"/>
              </a:defRPr>
            </a:lvl4pPr>
            <a:lvl5pPr marL="684213" indent="-173038" algn="l">
              <a:lnSpc>
                <a:spcPct val="110000"/>
              </a:lnSpc>
              <a:spcBef>
                <a:spcPts val="0"/>
              </a:spcBef>
              <a:spcAft>
                <a:spcPts val="1000"/>
              </a:spcAft>
              <a:buFont typeface="Arial" panose="020B0604020202020204" pitchFamily="34" charset="0"/>
              <a:buChar char="-"/>
              <a:defRPr sz="1400">
                <a:solidFill>
                  <a:schemeClr val="tx1"/>
                </a:solidFill>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50328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2968577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611716" y="1371600"/>
            <a:ext cx="10972800" cy="4809744"/>
          </a:xfrm>
          <a:noFill/>
          <a:ln>
            <a:noFill/>
          </a:ln>
        </p:spPr>
        <p:txBody>
          <a:bodyPr vert="horz" wrap="square" lIns="0" tIns="0" rIns="0" bIns="0" numCol="1" anchor="t" anchorCtr="0" compatLnSpc="1">
            <a:prstTxWarp prst="textNoShape">
              <a:avLst/>
            </a:prstTxWarp>
          </a:bodyPr>
          <a:lstStyle>
            <a:lvl1pPr marL="285750" indent="-169863">
              <a:buClrTx/>
              <a:buSzPct val="100000"/>
              <a:tabLst/>
              <a:defRPr lang="en-US" sz="1400" smtClean="0"/>
            </a:lvl1pPr>
            <a:lvl2pPr marL="514350" indent="-166688">
              <a:buClrTx/>
              <a:buSzPct val="80000"/>
              <a:buFont typeface="Courier New" panose="02070309020205020404" pitchFamily="49" charset="0"/>
              <a:buChar char="o"/>
              <a:tabLst/>
              <a:defRPr lang="en-US" sz="1400" smtClean="0"/>
            </a:lvl2pPr>
            <a:lvl3pPr marL="804863" indent="-158750">
              <a:buClrTx/>
              <a:buSzPct val="100000"/>
              <a:tabLst/>
              <a:defRPr lang="en-US" sz="1200" smtClean="0"/>
            </a:lvl3pPr>
            <a:lvl4pPr marL="1028700" indent="-125413">
              <a:buClrTx/>
              <a:buSzPct val="100000"/>
              <a:tabLst/>
              <a:defRPr lang="en-US" sz="1100" smtClean="0"/>
            </a:lvl4pPr>
            <a:lvl5pPr>
              <a:buClrTx/>
              <a:buSzPct val="100000"/>
              <a:defRPr lang="en-US" sz="11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BF4D7819-8F47-1149-8784-B9F775C9C65B}"/>
              </a:ext>
            </a:extLst>
          </p:cNvPr>
          <p:cNvSpPr>
            <a:spLocks noGrp="1"/>
          </p:cNvSpPr>
          <p:nvPr>
            <p:ph type="title"/>
          </p:nvPr>
        </p:nvSpPr>
        <p:spPr>
          <a:xfrm>
            <a:off x="132497" y="115045"/>
            <a:ext cx="10972801" cy="653595"/>
          </a:xfrm>
        </p:spPr>
        <p:txBody>
          <a:bodyPr/>
          <a:lstStyle>
            <a:lvl1pPr>
              <a:defRPr>
                <a:solidFill>
                  <a:srgbClr val="002060"/>
                </a:solidFill>
              </a:defRPr>
            </a:lvl1pPr>
          </a:lstStyle>
          <a:p>
            <a:r>
              <a:rPr lang="en-US"/>
              <a:t>Click to edit Master title style</a:t>
            </a:r>
          </a:p>
        </p:txBody>
      </p:sp>
    </p:spTree>
    <p:extLst>
      <p:ext uri="{BB962C8B-B14F-4D97-AF65-F5344CB8AC3E}">
        <p14:creationId xmlns:p14="http://schemas.microsoft.com/office/powerpoint/2010/main" val="2424814377"/>
      </p:ext>
    </p:extLst>
  </p:cSld>
  <p:clrMapOvr>
    <a:masterClrMapping/>
  </p:clrMapOvr>
  <p:hf sldNum="0" hdr="0" ftr="0" dt="0"/>
</p:sldLayout>
</file>

<file path=ppt/slideLayouts/slideLayout56.xml><?xml version="1.0" encoding="utf-8"?>
<p:sldLayout xmlns:a="http://schemas.openxmlformats.org/drawingml/2006/main" xmlns:r="http://schemas.openxmlformats.org/officeDocument/2006/relationships" xmlns:p="http://schemas.openxmlformats.org/presentationml/2006/main" type="obj">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2C3D4F-AC60-464C-8327-5F891A10E74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36C1601-FC06-4D91-BB1E-B8B5B2E9CA5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0780AEB-041E-4893-BF43-02E29EB89C7A}"/>
              </a:ext>
            </a:extLst>
          </p:cNvPr>
          <p:cNvSpPr>
            <a:spLocks noGrp="1"/>
          </p:cNvSpPr>
          <p:nvPr>
            <p:ph type="dt" sz="half" idx="10"/>
          </p:nvPr>
        </p:nvSpPr>
        <p:spPr/>
        <p:txBody>
          <a:bodyPr/>
          <a:lstStyle/>
          <a:p>
            <a:fld id="{3D728A25-5689-4FBD-8C95-3F8E27AD05A1}" type="datetimeFigureOut">
              <a:rPr lang="en-US" smtClean="0"/>
              <a:t>6/30/2024</a:t>
            </a:fld>
            <a:endParaRPr lang="en-US"/>
          </a:p>
        </p:txBody>
      </p:sp>
      <p:sp>
        <p:nvSpPr>
          <p:cNvPr id="5" name="Footer Placeholder 4">
            <a:extLst>
              <a:ext uri="{FF2B5EF4-FFF2-40B4-BE49-F238E27FC236}">
                <a16:creationId xmlns:a16="http://schemas.microsoft.com/office/drawing/2014/main" id="{A1DFB7B4-8C95-4F18-8B2B-23C3A03D8C6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B0D228E-9C7B-4FCD-A578-920AF76BED6F}"/>
              </a:ext>
            </a:extLst>
          </p:cNvPr>
          <p:cNvSpPr>
            <a:spLocks noGrp="1"/>
          </p:cNvSpPr>
          <p:nvPr>
            <p:ph type="sldNum" sz="quarter" idx="12"/>
          </p:nvPr>
        </p:nvSpPr>
        <p:spPr/>
        <p:txBody>
          <a:bodyPr/>
          <a:lstStyle/>
          <a:p>
            <a:fld id="{F11FA10C-33C0-413A-9967-D88AD4610F96}" type="slidenum">
              <a:rPr lang="en-US" smtClean="0"/>
              <a:t>‹#›</a:t>
            </a:fld>
            <a:endParaRPr lang="en-US"/>
          </a:p>
        </p:txBody>
      </p:sp>
    </p:spTree>
    <p:extLst>
      <p:ext uri="{BB962C8B-B14F-4D97-AF65-F5344CB8AC3E}">
        <p14:creationId xmlns:p14="http://schemas.microsoft.com/office/powerpoint/2010/main" val="369173614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Shape 16"/>
        <p:cNvGrpSpPr/>
        <p:nvPr/>
      </p:nvGrpSpPr>
      <p:grpSpPr>
        <a:xfrm>
          <a:off x="0" y="0"/>
          <a:ext cx="0" cy="0"/>
          <a:chOff x="0" y="0"/>
          <a:chExt cx="0" cy="0"/>
        </a:xfrm>
      </p:grpSpPr>
      <p:sp>
        <p:nvSpPr>
          <p:cNvPr id="17" name="Shape 17"/>
          <p:cNvSpPr txBox="1">
            <a:spLocks noGrp="1"/>
          </p:cNvSpPr>
          <p:nvPr>
            <p:ph type="title"/>
          </p:nvPr>
        </p:nvSpPr>
        <p:spPr>
          <a:xfrm>
            <a:off x="152595" y="141884"/>
            <a:ext cx="10972801" cy="701304"/>
          </a:xfrm>
          <a:prstGeom prst="rect">
            <a:avLst/>
          </a:prstGeom>
          <a:noFill/>
          <a:ln>
            <a:noFill/>
          </a:ln>
        </p:spPr>
        <p:txBody>
          <a:bodyPr lIns="91425" tIns="91425" rIns="91425" bIns="91425" anchor="t" anchorCtr="0"/>
          <a:lstStyle>
            <a:lvl1pPr marL="0" marR="0" lvl="0" indent="0" algn="l" rtl="0">
              <a:lnSpc>
                <a:spcPct val="100000"/>
              </a:lnSpc>
              <a:spcBef>
                <a:spcPts val="0"/>
              </a:spcBef>
              <a:spcAft>
                <a:spcPts val="0"/>
              </a:spcAft>
              <a:buClr>
                <a:srgbClr val="7F7F7F"/>
              </a:buClr>
              <a:buFont typeface="Calibri"/>
              <a:buNone/>
              <a:defRPr sz="2400" b="1" i="0" u="none" strike="noStrike" cap="none">
                <a:solidFill>
                  <a:srgbClr val="7F7F7F"/>
                </a:solidFill>
                <a:latin typeface="Calibri" panose="020F0502020204030204" pitchFamily="34" charset="0"/>
                <a:ea typeface="Calibri" panose="020F0502020204030204" pitchFamily="34" charset="0"/>
                <a:cs typeface="Calibri" panose="020F0502020204030204" pitchFamily="34" charset="0"/>
                <a:sym typeface="Calibri"/>
              </a:defRPr>
            </a:lvl1pPr>
            <a:lvl2pPr marL="0" marR="0" lvl="1" indent="0" algn="l" rtl="0">
              <a:spcBef>
                <a:spcPts val="0"/>
              </a:spcBef>
              <a:spcAft>
                <a:spcPts val="0"/>
              </a:spcAft>
              <a:buClr>
                <a:srgbClr val="9F0812"/>
              </a:buClr>
              <a:buFont typeface="Arial"/>
              <a:buNone/>
              <a:defRPr sz="2000" b="1" i="0" u="none" strike="noStrike" cap="none">
                <a:solidFill>
                  <a:srgbClr val="9F0812"/>
                </a:solidFill>
                <a:latin typeface="Arial"/>
                <a:ea typeface="Arial"/>
                <a:cs typeface="Arial"/>
                <a:sym typeface="Arial"/>
              </a:defRPr>
            </a:lvl2pPr>
            <a:lvl3pPr marL="0" marR="0" lvl="2" indent="0" algn="l" rtl="0">
              <a:spcBef>
                <a:spcPts val="0"/>
              </a:spcBef>
              <a:spcAft>
                <a:spcPts val="0"/>
              </a:spcAft>
              <a:buClr>
                <a:srgbClr val="9F0812"/>
              </a:buClr>
              <a:buFont typeface="Arial"/>
              <a:buNone/>
              <a:defRPr sz="2000" b="1" i="0" u="none" strike="noStrike" cap="none">
                <a:solidFill>
                  <a:srgbClr val="9F0812"/>
                </a:solidFill>
                <a:latin typeface="Arial"/>
                <a:ea typeface="Arial"/>
                <a:cs typeface="Arial"/>
                <a:sym typeface="Arial"/>
              </a:defRPr>
            </a:lvl3pPr>
            <a:lvl4pPr marL="0" marR="0" lvl="3" indent="0" algn="l" rtl="0">
              <a:spcBef>
                <a:spcPts val="0"/>
              </a:spcBef>
              <a:spcAft>
                <a:spcPts val="0"/>
              </a:spcAft>
              <a:buClr>
                <a:srgbClr val="9F0812"/>
              </a:buClr>
              <a:buFont typeface="Arial"/>
              <a:buNone/>
              <a:defRPr sz="2000" b="1" i="0" u="none" strike="noStrike" cap="none">
                <a:solidFill>
                  <a:srgbClr val="9F0812"/>
                </a:solidFill>
                <a:latin typeface="Arial"/>
                <a:ea typeface="Arial"/>
                <a:cs typeface="Arial"/>
                <a:sym typeface="Arial"/>
              </a:defRPr>
            </a:lvl4pPr>
            <a:lvl5pPr marL="0" marR="0" lvl="4" indent="0" algn="l" rtl="0">
              <a:spcBef>
                <a:spcPts val="0"/>
              </a:spcBef>
              <a:spcAft>
                <a:spcPts val="0"/>
              </a:spcAft>
              <a:buClr>
                <a:srgbClr val="9F0812"/>
              </a:buClr>
              <a:buFont typeface="Arial"/>
              <a:buNone/>
              <a:defRPr sz="2000" b="1" i="0" u="none" strike="noStrike" cap="none">
                <a:solidFill>
                  <a:srgbClr val="9F0812"/>
                </a:solidFill>
                <a:latin typeface="Arial"/>
                <a:ea typeface="Arial"/>
                <a:cs typeface="Arial"/>
                <a:sym typeface="Arial"/>
              </a:defRPr>
            </a:lvl5pPr>
            <a:lvl6pPr marL="457200" marR="0" lvl="5" indent="0" algn="l" rtl="0">
              <a:spcBef>
                <a:spcPts val="0"/>
              </a:spcBef>
              <a:spcAft>
                <a:spcPts val="0"/>
              </a:spcAft>
              <a:buClr>
                <a:schemeClr val="dk2"/>
              </a:buClr>
              <a:buFont typeface="Arial"/>
              <a:buNone/>
              <a:defRPr sz="2800" b="1" i="0" u="none" strike="noStrike" cap="none">
                <a:solidFill>
                  <a:schemeClr val="dk2"/>
                </a:solidFill>
                <a:latin typeface="Arial"/>
                <a:ea typeface="Arial"/>
                <a:cs typeface="Arial"/>
                <a:sym typeface="Arial"/>
              </a:defRPr>
            </a:lvl6pPr>
            <a:lvl7pPr marL="914400" marR="0" lvl="6" indent="0" algn="l" rtl="0">
              <a:spcBef>
                <a:spcPts val="0"/>
              </a:spcBef>
              <a:spcAft>
                <a:spcPts val="0"/>
              </a:spcAft>
              <a:buClr>
                <a:schemeClr val="dk2"/>
              </a:buClr>
              <a:buFont typeface="Arial"/>
              <a:buNone/>
              <a:defRPr sz="2800" b="1" i="0" u="none" strike="noStrike" cap="none">
                <a:solidFill>
                  <a:schemeClr val="dk2"/>
                </a:solidFill>
                <a:latin typeface="Arial"/>
                <a:ea typeface="Arial"/>
                <a:cs typeface="Arial"/>
                <a:sym typeface="Arial"/>
              </a:defRPr>
            </a:lvl7pPr>
            <a:lvl8pPr marL="1371600" marR="0" lvl="7" indent="0" algn="l" rtl="0">
              <a:spcBef>
                <a:spcPts val="0"/>
              </a:spcBef>
              <a:spcAft>
                <a:spcPts val="0"/>
              </a:spcAft>
              <a:buClr>
                <a:schemeClr val="dk2"/>
              </a:buClr>
              <a:buFont typeface="Arial"/>
              <a:buNone/>
              <a:defRPr sz="2800" b="1" i="0" u="none" strike="noStrike" cap="none">
                <a:solidFill>
                  <a:schemeClr val="dk2"/>
                </a:solidFill>
                <a:latin typeface="Arial"/>
                <a:ea typeface="Arial"/>
                <a:cs typeface="Arial"/>
                <a:sym typeface="Arial"/>
              </a:defRPr>
            </a:lvl8pPr>
            <a:lvl9pPr marL="1828800" marR="0" lvl="8" indent="0" algn="l" rtl="0">
              <a:spcBef>
                <a:spcPts val="0"/>
              </a:spcBef>
              <a:spcAft>
                <a:spcPts val="0"/>
              </a:spcAft>
              <a:buClr>
                <a:schemeClr val="dk2"/>
              </a:buClr>
              <a:buFont typeface="Arial"/>
              <a:buNone/>
              <a:defRPr sz="2800" b="1" i="0" u="none" strike="noStrike" cap="none">
                <a:solidFill>
                  <a:schemeClr val="dk2"/>
                </a:solidFill>
                <a:latin typeface="Arial"/>
                <a:ea typeface="Arial"/>
                <a:cs typeface="Arial"/>
                <a:sym typeface="Arial"/>
              </a:defRPr>
            </a:lvl9pPr>
          </a:lstStyle>
          <a:p>
            <a:r>
              <a:rPr lang="en-US"/>
              <a:t>Click to edit Master title style</a:t>
            </a:r>
            <a:endParaRPr/>
          </a:p>
        </p:txBody>
      </p:sp>
      <p:sp>
        <p:nvSpPr>
          <p:cNvPr id="18" name="Shape 18"/>
          <p:cNvSpPr txBox="1">
            <a:spLocks noGrp="1"/>
          </p:cNvSpPr>
          <p:nvPr>
            <p:ph type="body" idx="1"/>
          </p:nvPr>
        </p:nvSpPr>
        <p:spPr>
          <a:xfrm>
            <a:off x="611187" y="1132395"/>
            <a:ext cx="10972799" cy="4990107"/>
          </a:xfrm>
          <a:prstGeom prst="rect">
            <a:avLst/>
          </a:prstGeom>
          <a:noFill/>
          <a:ln>
            <a:noFill/>
          </a:ln>
        </p:spPr>
        <p:txBody>
          <a:bodyPr lIns="91425" tIns="91425" rIns="91425" bIns="91425" anchor="t" anchorCtr="0"/>
          <a:lstStyle>
            <a:lvl1pPr marL="401638" marR="0" lvl="0" indent="-198438" algn="l" rtl="0">
              <a:lnSpc>
                <a:spcPct val="100000"/>
              </a:lnSpc>
              <a:spcBef>
                <a:spcPts val="600"/>
              </a:spcBef>
              <a:spcAft>
                <a:spcPts val="0"/>
              </a:spcAft>
              <a:buClrTx/>
              <a:buSzPct val="100000"/>
              <a:buFont typeface="Calibri"/>
              <a:buChar char="•"/>
              <a:defRPr sz="1200" b="0" i="0" u="none" strike="noStrike" cap="none">
                <a:solidFill>
                  <a:srgbClr val="000000"/>
                </a:solidFill>
                <a:latin typeface="Calibri"/>
                <a:ea typeface="Calibri"/>
                <a:cs typeface="Calibri"/>
                <a:sym typeface="Calibri"/>
              </a:defRPr>
            </a:lvl1pPr>
            <a:lvl2pPr marL="517525" marR="0" lvl="1" indent="-57785" algn="l" rtl="0">
              <a:lnSpc>
                <a:spcPct val="100000"/>
              </a:lnSpc>
              <a:spcBef>
                <a:spcPts val="0"/>
              </a:spcBef>
              <a:spcAft>
                <a:spcPts val="0"/>
              </a:spcAft>
              <a:buClr>
                <a:srgbClr val="4AAAF0"/>
              </a:buClr>
              <a:buSzPct val="119999"/>
              <a:buFont typeface="Calibri"/>
              <a:buChar char="◦"/>
              <a:defRPr sz="1200" b="0" i="0" u="none" strike="noStrike" cap="none">
                <a:solidFill>
                  <a:srgbClr val="000000"/>
                </a:solidFill>
                <a:latin typeface="Calibri"/>
                <a:ea typeface="Calibri"/>
                <a:cs typeface="Calibri"/>
                <a:sym typeface="Calibri"/>
              </a:defRPr>
            </a:lvl2pPr>
            <a:lvl3pPr marL="739775" marR="0" lvl="2" indent="-98425" algn="l" rtl="0">
              <a:lnSpc>
                <a:spcPct val="100000"/>
              </a:lnSpc>
              <a:spcBef>
                <a:spcPts val="0"/>
              </a:spcBef>
              <a:spcAft>
                <a:spcPts val="0"/>
              </a:spcAft>
              <a:buClr>
                <a:srgbClr val="4AAAF0"/>
              </a:buClr>
              <a:buSzPct val="100000"/>
              <a:buFont typeface="Noto Sans Symbols"/>
              <a:buChar char="▪"/>
              <a:defRPr sz="1100" b="0" i="0" u="none" strike="noStrike" cap="none">
                <a:solidFill>
                  <a:srgbClr val="000000"/>
                </a:solidFill>
                <a:latin typeface="Calibri"/>
                <a:ea typeface="Calibri"/>
                <a:cs typeface="Calibri"/>
                <a:sym typeface="Calibri"/>
              </a:defRPr>
            </a:lvl3pPr>
            <a:lvl4pPr marL="969963" marR="0" lvl="3" indent="-131647" algn="l" rtl="0">
              <a:lnSpc>
                <a:spcPct val="100000"/>
              </a:lnSpc>
              <a:spcBef>
                <a:spcPts val="0"/>
              </a:spcBef>
              <a:spcAft>
                <a:spcPts val="0"/>
              </a:spcAft>
              <a:buClr>
                <a:srgbClr val="4AAAF0"/>
              </a:buClr>
              <a:buSzPct val="72891"/>
              <a:buFont typeface="Calibri"/>
              <a:buChar char="–"/>
              <a:defRPr sz="1050" b="0" i="0" u="none" strike="noStrike" cap="none">
                <a:solidFill>
                  <a:srgbClr val="000000"/>
                </a:solidFill>
                <a:latin typeface="Calibri"/>
                <a:ea typeface="Calibri"/>
                <a:cs typeface="Calibri"/>
                <a:sym typeface="Calibri"/>
              </a:defRPr>
            </a:lvl4pPr>
            <a:lvl5pPr marL="1200150" marR="0" lvl="4" indent="-6350" algn="l" rtl="0">
              <a:lnSpc>
                <a:spcPct val="100000"/>
              </a:lnSpc>
              <a:spcBef>
                <a:spcPts val="0"/>
              </a:spcBef>
              <a:spcAft>
                <a:spcPts val="0"/>
              </a:spcAft>
              <a:buClr>
                <a:srgbClr val="000000"/>
              </a:buClr>
              <a:buFont typeface="Calibri"/>
              <a:buNone/>
              <a:defRPr sz="1050" b="0" i="1" u="none" strike="noStrike" cap="none">
                <a:solidFill>
                  <a:srgbClr val="000000"/>
                </a:solidFill>
                <a:latin typeface="Calibri"/>
                <a:ea typeface="Calibri"/>
                <a:cs typeface="Calibri"/>
                <a:sym typeface="Calibri"/>
              </a:defRPr>
            </a:lvl5pPr>
            <a:lvl6pPr marL="2286000" marR="0" lvl="5"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6pPr>
            <a:lvl7pPr marL="2743200" marR="0" lvl="6"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7pPr>
            <a:lvl8pPr marL="3200400" marR="0" lvl="7"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8pPr>
            <a:lvl9pPr marL="3657600" marR="0" lvl="8"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9pPr>
          </a:lstStyle>
          <a:p>
            <a:pPr lvl="0"/>
            <a:r>
              <a:rPr lang="en-US"/>
              <a:t>Click to edit Master text styles</a:t>
            </a:r>
          </a:p>
        </p:txBody>
      </p:sp>
    </p:spTree>
    <p:extLst>
      <p:ext uri="{BB962C8B-B14F-4D97-AF65-F5344CB8AC3E}">
        <p14:creationId xmlns:p14="http://schemas.microsoft.com/office/powerpoint/2010/main" val="1867415285"/>
      </p:ext>
    </p:extLst>
  </p:cSld>
  <p:clrMapOvr>
    <a:masterClrMapping/>
  </p:clrMapOvr>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Content Blank Slide">
    <p:spTree>
      <p:nvGrpSpPr>
        <p:cNvPr id="1" name=""/>
        <p:cNvGrpSpPr/>
        <p:nvPr/>
      </p:nvGrpSpPr>
      <p:grpSpPr>
        <a:xfrm>
          <a:off x="0" y="0"/>
          <a:ext cx="0" cy="0"/>
          <a:chOff x="0" y="0"/>
          <a:chExt cx="0" cy="0"/>
        </a:xfrm>
      </p:grpSpPr>
      <p:sp>
        <p:nvSpPr>
          <p:cNvPr id="11" name="Text Placeholder 2">
            <a:extLst>
              <a:ext uri="{FF2B5EF4-FFF2-40B4-BE49-F238E27FC236}">
                <a16:creationId xmlns:a16="http://schemas.microsoft.com/office/drawing/2014/main" id="{4D8F88C4-B6BE-814A-A531-CC35DEE7A718}"/>
              </a:ext>
            </a:extLst>
          </p:cNvPr>
          <p:cNvSpPr>
            <a:spLocks noGrp="1"/>
          </p:cNvSpPr>
          <p:nvPr>
            <p:ph type="body" sz="quarter" idx="25" hasCustomPrompt="1"/>
          </p:nvPr>
        </p:nvSpPr>
        <p:spPr>
          <a:xfrm>
            <a:off x="683286" y="255612"/>
            <a:ext cx="10822913" cy="201168"/>
          </a:xfrm>
          <a:prstGeom prst="rect">
            <a:avLst/>
          </a:prstGeom>
        </p:spPr>
        <p:txBody>
          <a:bodyPr lIns="0" tIns="0" rIns="0" bIns="0" anchor="ctr"/>
          <a:lstStyle>
            <a:lvl1pPr algn="l">
              <a:defRPr lang="en-US" sz="1000" b="1" cap="all" spc="200" baseline="0" dirty="0">
                <a:solidFill>
                  <a:schemeClr val="accent2"/>
                </a:solidFill>
                <a:latin typeface="Xfinity Brown"/>
                <a:ea typeface="Xfinity Brown"/>
                <a:cs typeface="Xfinity Brown"/>
              </a:defRPr>
            </a:lvl1pPr>
          </a:lstStyle>
          <a:p>
            <a:pPr lvl="0" algn="l"/>
            <a:r>
              <a:rPr lang="en-US"/>
              <a:t>OPTIONAL BREADCRUMB HERE</a:t>
            </a:r>
          </a:p>
        </p:txBody>
      </p:sp>
      <p:sp>
        <p:nvSpPr>
          <p:cNvPr id="15" name="Rectangle">
            <a:extLst>
              <a:ext uri="{FF2B5EF4-FFF2-40B4-BE49-F238E27FC236}">
                <a16:creationId xmlns:a16="http://schemas.microsoft.com/office/drawing/2014/main" id="{A624A1C5-9AA4-6C47-80CC-AEA9A4061280}"/>
              </a:ext>
            </a:extLst>
          </p:cNvPr>
          <p:cNvSpPr/>
          <p:nvPr userDrawn="1"/>
        </p:nvSpPr>
        <p:spPr>
          <a:xfrm>
            <a:off x="0" y="6800850"/>
            <a:ext cx="12192000" cy="57151"/>
          </a:xfrm>
          <a:prstGeom prst="rect">
            <a:avLst/>
          </a:prstGeom>
          <a:gradFill>
            <a:gsLst>
              <a:gs pos="0">
                <a:schemeClr val="accent2"/>
              </a:gs>
              <a:gs pos="100000">
                <a:srgbClr val="4E88FF"/>
              </a:gs>
            </a:gsLst>
            <a:lin ang="19200000"/>
          </a:gradFill>
          <a:ln w="12700">
            <a:miter lim="400000"/>
          </a:ln>
        </p:spPr>
        <p:txBody>
          <a:bodyPr lIns="0" tIns="0" rIns="0" bIns="0" anchor="ctr"/>
          <a:lstStyle/>
          <a:p>
            <a:pPr lvl="0"/>
            <a:endParaRPr sz="1600" b="0">
              <a:solidFill>
                <a:srgbClr val="FFFFFF"/>
              </a:solidFill>
              <a:latin typeface="Xfinity Brown" panose="02010504010101010104" pitchFamily="2" charset="77"/>
              <a:ea typeface="+mn-ea"/>
              <a:cs typeface="Xfinity Brown" panose="02010504010101010104" pitchFamily="2" charset="77"/>
            </a:endParaRPr>
          </a:p>
        </p:txBody>
      </p:sp>
      <p:sp>
        <p:nvSpPr>
          <p:cNvPr id="8" name="Title 1">
            <a:extLst>
              <a:ext uri="{FF2B5EF4-FFF2-40B4-BE49-F238E27FC236}">
                <a16:creationId xmlns:a16="http://schemas.microsoft.com/office/drawing/2014/main" id="{F16EFA87-57AC-4F4E-A771-C346718EA2FD}"/>
              </a:ext>
            </a:extLst>
          </p:cNvPr>
          <p:cNvSpPr>
            <a:spLocks noGrp="1"/>
          </p:cNvSpPr>
          <p:nvPr>
            <p:ph type="title" hasCustomPrompt="1"/>
          </p:nvPr>
        </p:nvSpPr>
        <p:spPr>
          <a:xfrm>
            <a:off x="683286" y="514928"/>
            <a:ext cx="10822913" cy="736356"/>
          </a:xfrm>
          <a:prstGeom prst="rect">
            <a:avLst/>
          </a:prstGeom>
        </p:spPr>
        <p:txBody>
          <a:bodyPr lIns="0" tIns="0" rIns="0" bIns="0" anchor="t"/>
          <a:lstStyle>
            <a:lvl1pPr marL="0" marR="0" indent="0" algn="l" defTabSz="412750" rtl="0" latinLnBrk="0">
              <a:lnSpc>
                <a:spcPct val="100000"/>
              </a:lnSpc>
              <a:spcBef>
                <a:spcPts val="0"/>
              </a:spcBef>
              <a:spcAft>
                <a:spcPts val="0"/>
              </a:spcAft>
              <a:buClrTx/>
              <a:buSzTx/>
              <a:buFontTx/>
              <a:buNone/>
              <a:tabLst/>
              <a:defRPr lang="en-US" sz="2200" b="1" i="0" u="none" strike="noStrike" cap="none" spc="0" baseline="0" dirty="0" smtClean="0">
                <a:solidFill>
                  <a:srgbClr val="000000"/>
                </a:solidFill>
                <a:uFillTx/>
                <a:latin typeface="Xfinity Brown"/>
                <a:ea typeface="Xfinity Brown"/>
                <a:cs typeface="Xfinity Brown"/>
                <a:sym typeface="Helvetica Neue"/>
              </a:defRPr>
            </a:lvl1pPr>
          </a:lstStyle>
          <a:p>
            <a:r>
              <a:rPr lang="en-US"/>
              <a:t>Click to edit </a:t>
            </a:r>
            <a:br>
              <a:rPr lang="en-US"/>
            </a:br>
            <a:r>
              <a:rPr lang="en-US"/>
              <a:t>Master title style</a:t>
            </a:r>
          </a:p>
        </p:txBody>
      </p:sp>
      <p:sp>
        <p:nvSpPr>
          <p:cNvPr id="9" name="Slide Number">
            <a:extLst>
              <a:ext uri="{FF2B5EF4-FFF2-40B4-BE49-F238E27FC236}">
                <a16:creationId xmlns:a16="http://schemas.microsoft.com/office/drawing/2014/main" id="{0E803BF9-8BD9-D244-BB63-B2DF0831B477}"/>
              </a:ext>
            </a:extLst>
          </p:cNvPr>
          <p:cNvSpPr txBox="1">
            <a:spLocks/>
          </p:cNvSpPr>
          <p:nvPr userDrawn="1"/>
        </p:nvSpPr>
        <p:spPr>
          <a:xfrm>
            <a:off x="11452508" y="6421112"/>
            <a:ext cx="241949" cy="128016"/>
          </a:xfrm>
          <a:prstGeom prst="rect">
            <a:avLst/>
          </a:prstGeom>
        </p:spPr>
        <p:txBody>
          <a:bodyPr lIns="0" tIns="0" rIns="0" bIns="0" anchor="ct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l" defTabSz="412750" rtl="0" fontAlgn="auto" latinLnBrk="0"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latin typeface="Xfinity Brown" panose="02010504010101010104" pitchFamily="2" charset="77"/>
                <a:ea typeface="Helvetica Neue"/>
                <a:cs typeface="Xfinity Brown" panose="02010504010101010104" pitchFamily="2" charset="77"/>
                <a:sym typeface="Helvetica Neue"/>
              </a:defRPr>
            </a:lvl1pPr>
            <a:lvl2pPr marL="0" marR="0" indent="1143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Neue"/>
                <a:ea typeface="Helvetica Neue"/>
                <a:cs typeface="Helvetica Neue"/>
                <a:sym typeface="Helvetica Neue"/>
              </a:defRPr>
            </a:lvl2pPr>
            <a:lvl3pPr marL="0" marR="0" indent="2286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Neue"/>
                <a:ea typeface="Helvetica Neue"/>
                <a:cs typeface="Helvetica Neue"/>
                <a:sym typeface="Helvetica Neue"/>
              </a:defRPr>
            </a:lvl3pPr>
            <a:lvl4pPr marL="0" marR="0" indent="3429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Neue"/>
                <a:ea typeface="Helvetica Neue"/>
                <a:cs typeface="Helvetica Neue"/>
                <a:sym typeface="Helvetica Neue"/>
              </a:defRPr>
            </a:lvl4pPr>
            <a:lvl5pPr marL="0" marR="0" indent="4572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Neue"/>
                <a:ea typeface="Helvetica Neue"/>
                <a:cs typeface="Helvetica Neue"/>
                <a:sym typeface="Helvetica Neue"/>
              </a:defRPr>
            </a:lvl5pPr>
            <a:lvl6pPr marL="0" marR="0" indent="5715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Neue"/>
                <a:ea typeface="Helvetica Neue"/>
                <a:cs typeface="Helvetica Neue"/>
                <a:sym typeface="Helvetica Neue"/>
              </a:defRPr>
            </a:lvl6pPr>
            <a:lvl7pPr marL="0" marR="0" indent="6858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Neue"/>
                <a:ea typeface="Helvetica Neue"/>
                <a:cs typeface="Helvetica Neue"/>
                <a:sym typeface="Helvetica Neue"/>
              </a:defRPr>
            </a:lvl7pPr>
            <a:lvl8pPr marL="0" marR="0" indent="8001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Neue"/>
                <a:ea typeface="Helvetica Neue"/>
                <a:cs typeface="Helvetica Neue"/>
                <a:sym typeface="Helvetica Neue"/>
              </a:defRPr>
            </a:lvl8pPr>
            <a:lvl9pPr marL="0" marR="0" indent="9144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Neue"/>
                <a:ea typeface="Helvetica Neue"/>
                <a:cs typeface="Helvetica Neue"/>
                <a:sym typeface="Helvetica Neue"/>
              </a:defRPr>
            </a:lvl9pPr>
          </a:lstStyle>
          <a:p>
            <a:fld id="{86CB4B4D-7CA3-9044-876B-883B54F8677D}" type="slidenum">
              <a:rPr lang="en-US" smtClean="0">
                <a:solidFill>
                  <a:schemeClr val="bg1">
                    <a:lumMod val="75000"/>
                  </a:schemeClr>
                </a:solidFill>
              </a:rPr>
              <a:pPr/>
              <a:t>‹#›</a:t>
            </a:fld>
            <a:endParaRPr lang="en-US">
              <a:solidFill>
                <a:schemeClr val="bg1">
                  <a:lumMod val="75000"/>
                </a:schemeClr>
              </a:solidFill>
            </a:endParaRPr>
          </a:p>
        </p:txBody>
      </p:sp>
      <p:cxnSp>
        <p:nvCxnSpPr>
          <p:cNvPr id="10" name="Straight Connector 9">
            <a:extLst>
              <a:ext uri="{FF2B5EF4-FFF2-40B4-BE49-F238E27FC236}">
                <a16:creationId xmlns:a16="http://schemas.microsoft.com/office/drawing/2014/main" id="{0265C518-6F6A-9E4F-A1A1-C504E71E2D1C}"/>
              </a:ext>
            </a:extLst>
          </p:cNvPr>
          <p:cNvCxnSpPr/>
          <p:nvPr userDrawn="1"/>
        </p:nvCxnSpPr>
        <p:spPr>
          <a:xfrm>
            <a:off x="11355074" y="6422285"/>
            <a:ext cx="0" cy="128016"/>
          </a:xfrm>
          <a:prstGeom prst="line">
            <a:avLst/>
          </a:prstGeom>
          <a:noFill/>
          <a:ln w="12700" cap="flat">
            <a:solidFill>
              <a:schemeClr val="bg1">
                <a:lumMod val="75000"/>
              </a:schemeClr>
            </a:solidFill>
            <a:prstDash val="solid"/>
            <a:miter lim="400000"/>
          </a:ln>
          <a:effectLst/>
          <a:sp3d/>
        </p:spPr>
        <p:style>
          <a:lnRef idx="0">
            <a:scrgbClr r="0" g="0" b="0"/>
          </a:lnRef>
          <a:fillRef idx="0">
            <a:scrgbClr r="0" g="0" b="0"/>
          </a:fillRef>
          <a:effectRef idx="0">
            <a:scrgbClr r="0" g="0" b="0"/>
          </a:effectRef>
          <a:fontRef idx="none"/>
        </p:style>
      </p:cxnSp>
      <p:sp>
        <p:nvSpPr>
          <p:cNvPr id="16" name="Graphic 15">
            <a:extLst>
              <a:ext uri="{FF2B5EF4-FFF2-40B4-BE49-F238E27FC236}">
                <a16:creationId xmlns:a16="http://schemas.microsoft.com/office/drawing/2014/main" id="{ACBA6F42-FAD7-A846-8389-96248F2277E8}"/>
              </a:ext>
            </a:extLst>
          </p:cNvPr>
          <p:cNvSpPr>
            <a:spLocks noChangeAspect="1"/>
          </p:cNvSpPr>
          <p:nvPr userDrawn="1"/>
        </p:nvSpPr>
        <p:spPr>
          <a:xfrm>
            <a:off x="10618007" y="6384961"/>
            <a:ext cx="647506" cy="218318"/>
          </a:xfrm>
          <a:custGeom>
            <a:avLst/>
            <a:gdLst>
              <a:gd name="connsiteX0" fmla="*/ 486875 w 4356100"/>
              <a:gd name="connsiteY0" fmla="*/ 741919 h 1468729"/>
              <a:gd name="connsiteX1" fmla="*/ 760891 w 4356100"/>
              <a:gd name="connsiteY1" fmla="*/ 375520 h 1468729"/>
              <a:gd name="connsiteX2" fmla="*/ 646757 w 4356100"/>
              <a:gd name="connsiteY2" fmla="*/ 375520 h 1468729"/>
              <a:gd name="connsiteX3" fmla="*/ 535572 w 4356100"/>
              <a:gd name="connsiteY3" fmla="*/ 429600 h 1468729"/>
              <a:gd name="connsiteX4" fmla="*/ 390717 w 4356100"/>
              <a:gd name="connsiteY4" fmla="*/ 623302 h 1468729"/>
              <a:gd name="connsiteX5" fmla="*/ 250999 w 4356100"/>
              <a:gd name="connsiteY5" fmla="*/ 429600 h 1468729"/>
              <a:gd name="connsiteX6" fmla="*/ 139719 w 4356100"/>
              <a:gd name="connsiteY6" fmla="*/ 375520 h 1468729"/>
              <a:gd name="connsiteX7" fmla="*/ 25585 w 4356100"/>
              <a:gd name="connsiteY7" fmla="*/ 375520 h 1468729"/>
              <a:gd name="connsiteX8" fmla="*/ 296082 w 4356100"/>
              <a:gd name="connsiteY8" fmla="*/ 741919 h 1468729"/>
              <a:gd name="connsiteX9" fmla="*/ 0 w 4356100"/>
              <a:gd name="connsiteY9" fmla="*/ 1141394 h 1468729"/>
              <a:gd name="connsiteX10" fmla="*/ 108237 w 4356100"/>
              <a:gd name="connsiteY10" fmla="*/ 1141394 h 1468729"/>
              <a:gd name="connsiteX11" fmla="*/ 219422 w 4356100"/>
              <a:gd name="connsiteY11" fmla="*/ 1087313 h 1468729"/>
              <a:gd name="connsiteX12" fmla="*/ 390622 w 4356100"/>
              <a:gd name="connsiteY12" fmla="*/ 860535 h 1468729"/>
              <a:gd name="connsiteX13" fmla="*/ 791897 w 4356100"/>
              <a:gd name="connsiteY13" fmla="*/ 1414743 h 1468729"/>
              <a:gd name="connsiteX14" fmla="*/ 903082 w 4356100"/>
              <a:gd name="connsiteY14" fmla="*/ 1468729 h 1468729"/>
              <a:gd name="connsiteX15" fmla="*/ 1020259 w 4356100"/>
              <a:gd name="connsiteY15" fmla="*/ 1468729 h 1468729"/>
              <a:gd name="connsiteX16" fmla="*/ 2676434 w 4356100"/>
              <a:gd name="connsiteY16" fmla="*/ 1141108 h 1468729"/>
              <a:gd name="connsiteX17" fmla="*/ 2831180 w 4356100"/>
              <a:gd name="connsiteY17" fmla="*/ 1141108 h 1468729"/>
              <a:gd name="connsiteX18" fmla="*/ 2831180 w 4356100"/>
              <a:gd name="connsiteY18" fmla="*/ 375520 h 1468729"/>
              <a:gd name="connsiteX19" fmla="*/ 2676434 w 4356100"/>
              <a:gd name="connsiteY19" fmla="*/ 375520 h 1468729"/>
              <a:gd name="connsiteX20" fmla="*/ 1448641 w 4356100"/>
              <a:gd name="connsiteY20" fmla="*/ 1141108 h 1468729"/>
              <a:gd name="connsiteX21" fmla="*/ 1603482 w 4356100"/>
              <a:gd name="connsiteY21" fmla="*/ 1141108 h 1468729"/>
              <a:gd name="connsiteX22" fmla="*/ 1603482 w 4356100"/>
              <a:gd name="connsiteY22" fmla="*/ 375520 h 1468729"/>
              <a:gd name="connsiteX23" fmla="*/ 1448641 w 4356100"/>
              <a:gd name="connsiteY23" fmla="*/ 375520 h 1468729"/>
              <a:gd name="connsiteX24" fmla="*/ 3795989 w 4356100"/>
              <a:gd name="connsiteY24" fmla="*/ 1411417 h 1468729"/>
              <a:gd name="connsiteX25" fmla="*/ 4356100 w 4356100"/>
              <a:gd name="connsiteY25" fmla="*/ 375520 h 1468729"/>
              <a:gd name="connsiteX26" fmla="*/ 4271927 w 4356100"/>
              <a:gd name="connsiteY26" fmla="*/ 375520 h 1468729"/>
              <a:gd name="connsiteX27" fmla="*/ 4160741 w 4356100"/>
              <a:gd name="connsiteY27" fmla="*/ 429600 h 1468729"/>
              <a:gd name="connsiteX28" fmla="*/ 3940273 w 4356100"/>
              <a:gd name="connsiteY28" fmla="*/ 839530 h 1468729"/>
              <a:gd name="connsiteX29" fmla="*/ 3749385 w 4356100"/>
              <a:gd name="connsiteY29" fmla="*/ 429600 h 1468729"/>
              <a:gd name="connsiteX30" fmla="*/ 3638200 w 4356100"/>
              <a:gd name="connsiteY30" fmla="*/ 375520 h 1468729"/>
              <a:gd name="connsiteX31" fmla="*/ 3557165 w 4356100"/>
              <a:gd name="connsiteY31" fmla="*/ 375520 h 1468729"/>
              <a:gd name="connsiteX32" fmla="*/ 3852010 w 4356100"/>
              <a:gd name="connsiteY32" fmla="*/ 1000252 h 1468729"/>
              <a:gd name="connsiteX33" fmla="*/ 3595209 w 4356100"/>
              <a:gd name="connsiteY33" fmla="*/ 1468729 h 1468729"/>
              <a:gd name="connsiteX34" fmla="*/ 3679288 w 4356100"/>
              <a:gd name="connsiteY34" fmla="*/ 1468729 h 1468729"/>
              <a:gd name="connsiteX35" fmla="*/ 3795989 w 4356100"/>
              <a:gd name="connsiteY35" fmla="*/ 1411702 h 1468729"/>
              <a:gd name="connsiteX36" fmla="*/ 1788094 w 4356100"/>
              <a:gd name="connsiteY36" fmla="*/ 375520 h 1468729"/>
              <a:gd name="connsiteX37" fmla="*/ 1788094 w 4356100"/>
              <a:gd name="connsiteY37" fmla="*/ 1141394 h 1468729"/>
              <a:gd name="connsiteX38" fmla="*/ 1942840 w 4356100"/>
              <a:gd name="connsiteY38" fmla="*/ 1141394 h 1468729"/>
              <a:gd name="connsiteX39" fmla="*/ 1942840 w 4356100"/>
              <a:gd name="connsiteY39" fmla="*/ 615794 h 1468729"/>
              <a:gd name="connsiteX40" fmla="*/ 2145712 w 4356100"/>
              <a:gd name="connsiteY40" fmla="*/ 506207 h 1468729"/>
              <a:gd name="connsiteX41" fmla="*/ 2338123 w 4356100"/>
              <a:gd name="connsiteY41" fmla="*/ 722434 h 1468729"/>
              <a:gd name="connsiteX42" fmla="*/ 2338123 w 4356100"/>
              <a:gd name="connsiteY42" fmla="*/ 1067829 h 1468729"/>
              <a:gd name="connsiteX43" fmla="*/ 2403983 w 4356100"/>
              <a:gd name="connsiteY43" fmla="*/ 1141328 h 1468729"/>
              <a:gd name="connsiteX44" fmla="*/ 2410217 w 4356100"/>
              <a:gd name="connsiteY44" fmla="*/ 1141394 h 1468729"/>
              <a:gd name="connsiteX45" fmla="*/ 2492869 w 4356100"/>
              <a:gd name="connsiteY45" fmla="*/ 1141394 h 1468729"/>
              <a:gd name="connsiteX46" fmla="*/ 2492869 w 4356100"/>
              <a:gd name="connsiteY46" fmla="*/ 695347 h 1468729"/>
              <a:gd name="connsiteX47" fmla="*/ 2183281 w 4356100"/>
              <a:gd name="connsiteY47" fmla="*/ 358982 h 1468729"/>
              <a:gd name="connsiteX48" fmla="*/ 1942840 w 4356100"/>
              <a:gd name="connsiteY48" fmla="*/ 450605 h 1468729"/>
              <a:gd name="connsiteX49" fmla="*/ 1942840 w 4356100"/>
              <a:gd name="connsiteY49" fmla="*/ 375520 h 1468729"/>
              <a:gd name="connsiteX50" fmla="*/ 3118036 w 4356100"/>
              <a:gd name="connsiteY50" fmla="*/ 869754 h 1468729"/>
              <a:gd name="connsiteX51" fmla="*/ 3403370 w 4356100"/>
              <a:gd name="connsiteY51" fmla="*/ 1154890 h 1468729"/>
              <a:gd name="connsiteX52" fmla="*/ 3516077 w 4356100"/>
              <a:gd name="connsiteY52" fmla="*/ 1139873 h 1468729"/>
              <a:gd name="connsiteX53" fmla="*/ 3484880 w 4356100"/>
              <a:gd name="connsiteY53" fmla="*/ 1004719 h 1468729"/>
              <a:gd name="connsiteX54" fmla="*/ 3414307 w 4356100"/>
              <a:gd name="connsiteY54" fmla="*/ 1012227 h 1468729"/>
              <a:gd name="connsiteX55" fmla="*/ 3272972 w 4356100"/>
              <a:gd name="connsiteY55" fmla="*/ 866618 h 1468729"/>
              <a:gd name="connsiteX56" fmla="*/ 3272972 w 4356100"/>
              <a:gd name="connsiteY56" fmla="*/ 513335 h 1468729"/>
              <a:gd name="connsiteX57" fmla="*/ 3489446 w 4356100"/>
              <a:gd name="connsiteY57" fmla="*/ 513335 h 1468729"/>
              <a:gd name="connsiteX58" fmla="*/ 3426291 w 4356100"/>
              <a:gd name="connsiteY58" fmla="*/ 375520 h 1468729"/>
              <a:gd name="connsiteX59" fmla="*/ 3272972 w 4356100"/>
              <a:gd name="connsiteY59" fmla="*/ 375520 h 1468729"/>
              <a:gd name="connsiteX60" fmla="*/ 3272972 w 4356100"/>
              <a:gd name="connsiteY60" fmla="*/ 67668 h 1468729"/>
              <a:gd name="connsiteX61" fmla="*/ 3118226 w 4356100"/>
              <a:gd name="connsiteY61" fmla="*/ 135245 h 1468729"/>
              <a:gd name="connsiteX62" fmla="*/ 3118226 w 4356100"/>
              <a:gd name="connsiteY62" fmla="*/ 375520 h 1468729"/>
              <a:gd name="connsiteX63" fmla="*/ 2954444 w 4356100"/>
              <a:gd name="connsiteY63" fmla="*/ 375520 h 1468729"/>
              <a:gd name="connsiteX64" fmla="*/ 2954444 w 4356100"/>
              <a:gd name="connsiteY64" fmla="*/ 513335 h 1468729"/>
              <a:gd name="connsiteX65" fmla="*/ 3118226 w 4356100"/>
              <a:gd name="connsiteY65" fmla="*/ 513335 h 1468729"/>
              <a:gd name="connsiteX66" fmla="*/ 972323 w 4356100"/>
              <a:gd name="connsiteY66" fmla="*/ 513335 h 1468729"/>
              <a:gd name="connsiteX67" fmla="*/ 972323 w 4356100"/>
              <a:gd name="connsiteY67" fmla="*/ 1140633 h 1468729"/>
              <a:gd name="connsiteX68" fmla="*/ 1127070 w 4356100"/>
              <a:gd name="connsiteY68" fmla="*/ 1140633 h 1468729"/>
              <a:gd name="connsiteX69" fmla="*/ 1127070 w 4356100"/>
              <a:gd name="connsiteY69" fmla="*/ 513335 h 1468729"/>
              <a:gd name="connsiteX70" fmla="*/ 1325472 w 4356100"/>
              <a:gd name="connsiteY70" fmla="*/ 513335 h 1468729"/>
              <a:gd name="connsiteX71" fmla="*/ 1325472 w 4356100"/>
              <a:gd name="connsiteY71" fmla="*/ 375520 h 1468729"/>
              <a:gd name="connsiteX72" fmla="*/ 1127070 w 4356100"/>
              <a:gd name="connsiteY72" fmla="*/ 375520 h 1468729"/>
              <a:gd name="connsiteX73" fmla="*/ 1127070 w 4356100"/>
              <a:gd name="connsiteY73" fmla="*/ 318493 h 1468729"/>
              <a:gd name="connsiteX74" fmla="*/ 1281816 w 4356100"/>
              <a:gd name="connsiteY74" fmla="*/ 144275 h 1468729"/>
              <a:gd name="connsiteX75" fmla="*/ 1334412 w 4356100"/>
              <a:gd name="connsiteY75" fmla="*/ 151783 h 1468729"/>
              <a:gd name="connsiteX76" fmla="*/ 1365989 w 4356100"/>
              <a:gd name="connsiteY76" fmla="*/ 15108 h 1468729"/>
              <a:gd name="connsiteX77" fmla="*/ 1269832 w 4356100"/>
              <a:gd name="connsiteY77" fmla="*/ 91 h 1468729"/>
              <a:gd name="connsiteX78" fmla="*/ 972323 w 4356100"/>
              <a:gd name="connsiteY78" fmla="*/ 315451 h 1468729"/>
              <a:gd name="connsiteX79" fmla="*/ 972323 w 4356100"/>
              <a:gd name="connsiteY79" fmla="*/ 375520 h 1468729"/>
              <a:gd name="connsiteX80" fmla="*/ 891098 w 4356100"/>
              <a:gd name="connsiteY80" fmla="*/ 375520 h 1468729"/>
              <a:gd name="connsiteX81" fmla="*/ 793419 w 4356100"/>
              <a:gd name="connsiteY81" fmla="*/ 513335 h 1468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4356100" h="1468729">
                <a:moveTo>
                  <a:pt x="486875" y="741919"/>
                </a:moveTo>
                <a:lnTo>
                  <a:pt x="760891" y="375520"/>
                </a:lnTo>
                <a:lnTo>
                  <a:pt x="646757" y="375520"/>
                </a:lnTo>
                <a:cubicBezTo>
                  <a:pt x="595682" y="375520"/>
                  <a:pt x="562584" y="393578"/>
                  <a:pt x="535572" y="429600"/>
                </a:cubicBezTo>
                <a:lnTo>
                  <a:pt x="390717" y="623302"/>
                </a:lnTo>
                <a:lnTo>
                  <a:pt x="250999" y="429600"/>
                </a:lnTo>
                <a:cubicBezTo>
                  <a:pt x="223892" y="393578"/>
                  <a:pt x="190888" y="375520"/>
                  <a:pt x="139719" y="375520"/>
                </a:cubicBezTo>
                <a:lnTo>
                  <a:pt x="25585" y="375520"/>
                </a:lnTo>
                <a:lnTo>
                  <a:pt x="296082" y="741919"/>
                </a:lnTo>
                <a:lnTo>
                  <a:pt x="0" y="1141394"/>
                </a:lnTo>
                <a:lnTo>
                  <a:pt x="108237" y="1141394"/>
                </a:lnTo>
                <a:cubicBezTo>
                  <a:pt x="159312" y="1141394"/>
                  <a:pt x="192315" y="1123335"/>
                  <a:pt x="219422" y="1087313"/>
                </a:cubicBezTo>
                <a:lnTo>
                  <a:pt x="390622" y="860535"/>
                </a:lnTo>
                <a:lnTo>
                  <a:pt x="791897" y="1414743"/>
                </a:lnTo>
                <a:cubicBezTo>
                  <a:pt x="817387" y="1450766"/>
                  <a:pt x="852008" y="1468729"/>
                  <a:pt x="903082" y="1468729"/>
                </a:cubicBezTo>
                <a:lnTo>
                  <a:pt x="1020259" y="1468729"/>
                </a:lnTo>
                <a:close/>
                <a:moveTo>
                  <a:pt x="2676434" y="1141108"/>
                </a:moveTo>
                <a:lnTo>
                  <a:pt x="2831180" y="1141108"/>
                </a:lnTo>
                <a:lnTo>
                  <a:pt x="2831180" y="375520"/>
                </a:lnTo>
                <a:lnTo>
                  <a:pt x="2676434" y="375520"/>
                </a:lnTo>
                <a:close/>
                <a:moveTo>
                  <a:pt x="1448641" y="1141108"/>
                </a:moveTo>
                <a:lnTo>
                  <a:pt x="1603482" y="1141108"/>
                </a:lnTo>
                <a:lnTo>
                  <a:pt x="1603482" y="375520"/>
                </a:lnTo>
                <a:lnTo>
                  <a:pt x="1448641" y="375520"/>
                </a:lnTo>
                <a:close/>
                <a:moveTo>
                  <a:pt x="3795989" y="1411417"/>
                </a:moveTo>
                <a:lnTo>
                  <a:pt x="4356100" y="375520"/>
                </a:lnTo>
                <a:lnTo>
                  <a:pt x="4271927" y="375520"/>
                </a:lnTo>
                <a:cubicBezTo>
                  <a:pt x="4220852" y="375520"/>
                  <a:pt x="4181761" y="390537"/>
                  <a:pt x="4160741" y="429600"/>
                </a:cubicBezTo>
                <a:lnTo>
                  <a:pt x="3940273" y="839530"/>
                </a:lnTo>
                <a:lnTo>
                  <a:pt x="3749385" y="429600"/>
                </a:lnTo>
                <a:cubicBezTo>
                  <a:pt x="3730362" y="389016"/>
                  <a:pt x="3689275" y="375520"/>
                  <a:pt x="3638200" y="375520"/>
                </a:cubicBezTo>
                <a:lnTo>
                  <a:pt x="3557165" y="375520"/>
                </a:lnTo>
                <a:lnTo>
                  <a:pt x="3852010" y="1000252"/>
                </a:lnTo>
                <a:lnTo>
                  <a:pt x="3595209" y="1468729"/>
                </a:lnTo>
                <a:lnTo>
                  <a:pt x="3679288" y="1468729"/>
                </a:lnTo>
                <a:cubicBezTo>
                  <a:pt x="3731314" y="1468729"/>
                  <a:pt x="3773448" y="1452286"/>
                  <a:pt x="3795989" y="1411702"/>
                </a:cubicBezTo>
                <a:close/>
                <a:moveTo>
                  <a:pt x="1788094" y="375520"/>
                </a:moveTo>
                <a:lnTo>
                  <a:pt x="1788094" y="1141394"/>
                </a:lnTo>
                <a:lnTo>
                  <a:pt x="1942840" y="1141394"/>
                </a:lnTo>
                <a:lnTo>
                  <a:pt x="1942840" y="615794"/>
                </a:lnTo>
                <a:cubicBezTo>
                  <a:pt x="1990966" y="548217"/>
                  <a:pt x="2060112" y="506207"/>
                  <a:pt x="2145712" y="506207"/>
                </a:cubicBezTo>
                <a:cubicBezTo>
                  <a:pt x="2259846" y="506207"/>
                  <a:pt x="2338123" y="578251"/>
                  <a:pt x="2338123" y="722434"/>
                </a:cubicBezTo>
                <a:lnTo>
                  <a:pt x="2338123" y="1067829"/>
                </a:lnTo>
                <a:cubicBezTo>
                  <a:pt x="2335999" y="1106299"/>
                  <a:pt x="2365485" y="1139206"/>
                  <a:pt x="2403983" y="1141328"/>
                </a:cubicBezTo>
                <a:cubicBezTo>
                  <a:pt x="2406059" y="1141443"/>
                  <a:pt x="2408139" y="1141465"/>
                  <a:pt x="2410217" y="1141394"/>
                </a:cubicBezTo>
                <a:lnTo>
                  <a:pt x="2492869" y="1141394"/>
                </a:lnTo>
                <a:lnTo>
                  <a:pt x="2492869" y="695347"/>
                </a:lnTo>
                <a:cubicBezTo>
                  <a:pt x="2492869" y="497177"/>
                  <a:pt x="2366656" y="358982"/>
                  <a:pt x="2183281" y="358982"/>
                </a:cubicBezTo>
                <a:cubicBezTo>
                  <a:pt x="2094319" y="357449"/>
                  <a:pt x="2008193" y="390268"/>
                  <a:pt x="1942840" y="450605"/>
                </a:cubicBezTo>
                <a:lnTo>
                  <a:pt x="1942840" y="375520"/>
                </a:lnTo>
                <a:close/>
                <a:moveTo>
                  <a:pt x="3118036" y="869754"/>
                </a:moveTo>
                <a:cubicBezTo>
                  <a:pt x="3118036" y="1036464"/>
                  <a:pt x="3220185" y="1154890"/>
                  <a:pt x="3403370" y="1154890"/>
                </a:cubicBezTo>
                <a:cubicBezTo>
                  <a:pt x="3441469" y="1155375"/>
                  <a:pt x="3479435" y="1150316"/>
                  <a:pt x="3516077" y="1139873"/>
                </a:cubicBezTo>
                <a:lnTo>
                  <a:pt x="3484880" y="1004719"/>
                </a:lnTo>
                <a:cubicBezTo>
                  <a:pt x="3461716" y="1009880"/>
                  <a:pt x="3438040" y="1012399"/>
                  <a:pt x="3414307" y="1012227"/>
                </a:cubicBezTo>
                <a:cubicBezTo>
                  <a:pt x="3339169" y="1012227"/>
                  <a:pt x="3272972" y="971738"/>
                  <a:pt x="3272972" y="866618"/>
                </a:cubicBezTo>
                <a:lnTo>
                  <a:pt x="3272972" y="513335"/>
                </a:lnTo>
                <a:lnTo>
                  <a:pt x="3489446" y="513335"/>
                </a:lnTo>
                <a:lnTo>
                  <a:pt x="3426291" y="375520"/>
                </a:lnTo>
                <a:lnTo>
                  <a:pt x="3272972" y="375520"/>
                </a:lnTo>
                <a:lnTo>
                  <a:pt x="3272972" y="67668"/>
                </a:lnTo>
                <a:lnTo>
                  <a:pt x="3118226" y="135245"/>
                </a:lnTo>
                <a:lnTo>
                  <a:pt x="3118226" y="375520"/>
                </a:lnTo>
                <a:lnTo>
                  <a:pt x="2954444" y="375520"/>
                </a:lnTo>
                <a:lnTo>
                  <a:pt x="2954444" y="513335"/>
                </a:lnTo>
                <a:lnTo>
                  <a:pt x="3118226" y="513335"/>
                </a:lnTo>
                <a:close/>
                <a:moveTo>
                  <a:pt x="972323" y="513335"/>
                </a:moveTo>
                <a:lnTo>
                  <a:pt x="972323" y="1140633"/>
                </a:lnTo>
                <a:lnTo>
                  <a:pt x="1127070" y="1140633"/>
                </a:lnTo>
                <a:lnTo>
                  <a:pt x="1127070" y="513335"/>
                </a:lnTo>
                <a:lnTo>
                  <a:pt x="1325472" y="513335"/>
                </a:lnTo>
                <a:lnTo>
                  <a:pt x="1325472" y="375520"/>
                </a:lnTo>
                <a:lnTo>
                  <a:pt x="1127070" y="375520"/>
                </a:lnTo>
                <a:lnTo>
                  <a:pt x="1127070" y="318493"/>
                </a:lnTo>
                <a:cubicBezTo>
                  <a:pt x="1127070" y="187805"/>
                  <a:pt x="1205251" y="144275"/>
                  <a:pt x="1281816" y="144275"/>
                </a:cubicBezTo>
                <a:cubicBezTo>
                  <a:pt x="1299621" y="144202"/>
                  <a:pt x="1317340" y="146732"/>
                  <a:pt x="1334412" y="151783"/>
                </a:cubicBezTo>
                <a:lnTo>
                  <a:pt x="1365989" y="15108"/>
                </a:lnTo>
                <a:cubicBezTo>
                  <a:pt x="1335110" y="4330"/>
                  <a:pt x="1302529" y="-758"/>
                  <a:pt x="1269832" y="91"/>
                </a:cubicBezTo>
                <a:cubicBezTo>
                  <a:pt x="1077517" y="91"/>
                  <a:pt x="972323" y="142659"/>
                  <a:pt x="972323" y="315451"/>
                </a:cubicBezTo>
                <a:lnTo>
                  <a:pt x="972323" y="375520"/>
                </a:lnTo>
                <a:lnTo>
                  <a:pt x="891098" y="375520"/>
                </a:lnTo>
                <a:lnTo>
                  <a:pt x="793419" y="513335"/>
                </a:lnTo>
                <a:close/>
              </a:path>
            </a:pathLst>
          </a:custGeom>
          <a:solidFill>
            <a:schemeClr val="bg1">
              <a:lumMod val="75000"/>
            </a:schemeClr>
          </a:solidFill>
          <a:ln w="9504" cap="flat">
            <a:noFill/>
            <a:prstDash val="solid"/>
            <a:miter/>
          </a:ln>
        </p:spPr>
        <p:txBody>
          <a:bodyPr rtlCol="0" anchor="ctr"/>
          <a:lstStyle/>
          <a:p>
            <a:endParaRPr lang="en-US"/>
          </a:p>
        </p:txBody>
      </p:sp>
    </p:spTree>
    <p:extLst>
      <p:ext uri="{BB962C8B-B14F-4D97-AF65-F5344CB8AC3E}">
        <p14:creationId xmlns:p14="http://schemas.microsoft.com/office/powerpoint/2010/main" val="1439130112"/>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432">
          <p15:clr>
            <a:srgbClr val="FBAE40"/>
          </p15:clr>
        </p15:guide>
        <p15:guide id="3" pos="7248">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1">
    <p:bg>
      <p:bgPr>
        <a:solidFill>
          <a:schemeClr val="bg2"/>
        </a:solidFill>
        <a:effectLst/>
      </p:bgPr>
    </p:bg>
    <p:spTree>
      <p:nvGrpSpPr>
        <p:cNvPr id="1" name=""/>
        <p:cNvGrpSpPr/>
        <p:nvPr/>
      </p:nvGrpSpPr>
      <p:grpSpPr>
        <a:xfrm>
          <a:off x="0" y="0"/>
          <a:ext cx="0" cy="0"/>
          <a:chOff x="0" y="0"/>
          <a:chExt cx="0" cy="0"/>
        </a:xfrm>
      </p:grpSpPr>
      <p:sp>
        <p:nvSpPr>
          <p:cNvPr id="60" name="Rectangle 59">
            <a:extLst>
              <a:ext uri="{FF2B5EF4-FFF2-40B4-BE49-F238E27FC236}">
                <a16:creationId xmlns:a16="http://schemas.microsoft.com/office/drawing/2014/main" id="{D2D2B093-F202-7B1C-0AC4-DF26CF46B1B5}"/>
              </a:ext>
            </a:extLst>
          </p:cNvPr>
          <p:cNvSpPr/>
          <p:nvPr userDrawn="1"/>
        </p:nvSpPr>
        <p:spPr>
          <a:xfrm>
            <a:off x="0" y="0"/>
            <a:ext cx="6258296"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Picture Placeholder 13">
            <a:extLst>
              <a:ext uri="{FF2B5EF4-FFF2-40B4-BE49-F238E27FC236}">
                <a16:creationId xmlns:a16="http://schemas.microsoft.com/office/drawing/2014/main" id="{5CF400B9-D5A9-D3EF-2FF5-F2291659B9C2}"/>
              </a:ext>
            </a:extLst>
          </p:cNvPr>
          <p:cNvSpPr>
            <a:spLocks noGrp="1"/>
          </p:cNvSpPr>
          <p:nvPr>
            <p:ph type="pic" sz="quarter" idx="11" hasCustomPrompt="1"/>
          </p:nvPr>
        </p:nvSpPr>
        <p:spPr>
          <a:xfrm>
            <a:off x="2829298" y="0"/>
            <a:ext cx="8614395" cy="6857998"/>
          </a:xfrm>
          <a:custGeom>
            <a:avLst/>
            <a:gdLst>
              <a:gd name="connsiteX0" fmla="*/ 0 w 8614395"/>
              <a:gd name="connsiteY0" fmla="*/ 0 h 6857998"/>
              <a:gd name="connsiteX1" fmla="*/ 5185395 w 8614395"/>
              <a:gd name="connsiteY1" fmla="*/ 0 h 6857998"/>
              <a:gd name="connsiteX2" fmla="*/ 8614395 w 8614395"/>
              <a:gd name="connsiteY2" fmla="*/ 3428999 h 6857998"/>
              <a:gd name="connsiteX3" fmla="*/ 8460234 w 8614395"/>
              <a:gd name="connsiteY3" fmla="*/ 4448679 h 6857998"/>
              <a:gd name="connsiteX4" fmla="*/ 8419485 w 8614395"/>
              <a:gd name="connsiteY4" fmla="*/ 4560012 h 6857998"/>
              <a:gd name="connsiteX5" fmla="*/ 7840460 w 8614395"/>
              <a:gd name="connsiteY5" fmla="*/ 4560012 h 6857998"/>
              <a:gd name="connsiteX6" fmla="*/ 6932828 w 8614395"/>
              <a:gd name="connsiteY6" fmla="*/ 5379072 h 6857998"/>
              <a:gd name="connsiteX7" fmla="*/ 6928118 w 8614395"/>
              <a:gd name="connsiteY7" fmla="*/ 5472354 h 6857998"/>
              <a:gd name="connsiteX8" fmla="*/ 6932828 w 8614395"/>
              <a:gd name="connsiteY8" fmla="*/ 5565635 h 6857998"/>
              <a:gd name="connsiteX9" fmla="*/ 7227021 w 8614395"/>
              <a:gd name="connsiteY9" fmla="*/ 6147685 h 6857998"/>
              <a:gd name="connsiteX10" fmla="*/ 7248047 w 8614395"/>
              <a:gd name="connsiteY10" fmla="*/ 6163602 h 6857998"/>
              <a:gd name="connsiteX11" fmla="*/ 7102581 w 8614395"/>
              <a:gd name="connsiteY11" fmla="*/ 6272379 h 6857998"/>
              <a:gd name="connsiteX12" fmla="*/ 5185395 w 8614395"/>
              <a:gd name="connsiteY12" fmla="*/ 6857998 h 6857998"/>
              <a:gd name="connsiteX13" fmla="*/ 80 w 8614395"/>
              <a:gd name="connsiteY13" fmla="*/ 6857998 h 6857998"/>
              <a:gd name="connsiteX14" fmla="*/ 176455 w 8614395"/>
              <a:gd name="connsiteY14" fmla="*/ 6853538 h 6857998"/>
              <a:gd name="connsiteX15" fmla="*/ 3428999 w 8614395"/>
              <a:gd name="connsiteY15" fmla="*/ 3429000 h 6857998"/>
              <a:gd name="connsiteX16" fmla="*/ 0 w 8614395"/>
              <a:gd name="connsiteY16" fmla="*/ 0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614395" h="6857998">
                <a:moveTo>
                  <a:pt x="0" y="0"/>
                </a:moveTo>
                <a:lnTo>
                  <a:pt x="5185395" y="0"/>
                </a:lnTo>
                <a:cubicBezTo>
                  <a:pt x="7079179" y="0"/>
                  <a:pt x="8614395" y="1535215"/>
                  <a:pt x="8614395" y="3428999"/>
                </a:cubicBezTo>
                <a:cubicBezTo>
                  <a:pt x="8614395" y="3784084"/>
                  <a:pt x="8560423" y="4126562"/>
                  <a:pt x="8460234" y="4448679"/>
                </a:cubicBezTo>
                <a:lnTo>
                  <a:pt x="8419485" y="4560012"/>
                </a:lnTo>
                <a:lnTo>
                  <a:pt x="7840460" y="4560012"/>
                </a:lnTo>
                <a:cubicBezTo>
                  <a:pt x="7368079" y="4560012"/>
                  <a:pt x="6979549" y="4919018"/>
                  <a:pt x="6932828" y="5379072"/>
                </a:cubicBezTo>
                <a:lnTo>
                  <a:pt x="6928118" y="5472354"/>
                </a:lnTo>
                <a:lnTo>
                  <a:pt x="6932828" y="5565635"/>
                </a:lnTo>
                <a:cubicBezTo>
                  <a:pt x="6956188" y="5795662"/>
                  <a:pt x="7065001" y="6000427"/>
                  <a:pt x="7227021" y="6147685"/>
                </a:cubicBezTo>
                <a:lnTo>
                  <a:pt x="7248047" y="6163602"/>
                </a:lnTo>
                <a:lnTo>
                  <a:pt x="7102581" y="6272379"/>
                </a:lnTo>
                <a:cubicBezTo>
                  <a:pt x="6555309" y="6642109"/>
                  <a:pt x="5895564" y="6857998"/>
                  <a:pt x="5185395" y="6857998"/>
                </a:cubicBezTo>
                <a:lnTo>
                  <a:pt x="80" y="6857998"/>
                </a:lnTo>
                <a:lnTo>
                  <a:pt x="176455" y="6853538"/>
                </a:lnTo>
                <a:cubicBezTo>
                  <a:pt x="1988235" y="6761699"/>
                  <a:pt x="3428999" y="5263603"/>
                  <a:pt x="3428999" y="3429000"/>
                </a:cubicBezTo>
                <a:cubicBezTo>
                  <a:pt x="3428999" y="1535216"/>
                  <a:pt x="1893784" y="0"/>
                  <a:pt x="0" y="0"/>
                </a:cubicBezTo>
                <a:close/>
              </a:path>
            </a:pathLst>
          </a:custGeom>
          <a:solidFill>
            <a:schemeClr val="bg1">
              <a:lumMod val="95000"/>
            </a:schemeClr>
          </a:solidFill>
        </p:spPr>
        <p:txBody>
          <a:bodyPr wrap="square" lIns="3108960" bIns="1371600" anchor="ctr">
            <a:noAutofit/>
          </a:bodyPr>
          <a:lstStyle>
            <a:lvl1pPr marL="0" marR="0" indent="0" algn="ctr" defTabSz="914400" rtl="0" eaLnBrk="1" fontAlgn="base" latinLnBrk="0" hangingPunct="1">
              <a:lnSpc>
                <a:spcPct val="95000"/>
              </a:lnSpc>
              <a:spcBef>
                <a:spcPts val="1000"/>
              </a:spcBef>
              <a:spcAft>
                <a:spcPct val="0"/>
              </a:spcAft>
              <a:buClrTx/>
              <a:buSzTx/>
              <a:buFont typeface="Arial" panose="020B0604020202020204" pitchFamily="34" charset="0"/>
              <a:buNone/>
              <a:tabLst/>
              <a:defRPr>
                <a:solidFill>
                  <a:schemeClr val="accent1"/>
                </a:solidFill>
              </a:defRPr>
            </a:lvl1pPr>
          </a:lstStyle>
          <a:p>
            <a:r>
              <a:rPr lang="en-US"/>
              <a:t>Drag picture to placeholder</a:t>
            </a:r>
            <a:br>
              <a:rPr lang="en-US"/>
            </a:br>
            <a:r>
              <a:rPr lang="en-US"/>
              <a:t>or click icon to add.</a:t>
            </a:r>
          </a:p>
        </p:txBody>
      </p:sp>
      <p:sp>
        <p:nvSpPr>
          <p:cNvPr id="12" name="Freeform 11">
            <a:extLst>
              <a:ext uri="{FF2B5EF4-FFF2-40B4-BE49-F238E27FC236}">
                <a16:creationId xmlns:a16="http://schemas.microsoft.com/office/drawing/2014/main" id="{0A0EA6BB-F6D4-3648-5AFF-D4F39A3C5357}"/>
              </a:ext>
            </a:extLst>
          </p:cNvPr>
          <p:cNvSpPr/>
          <p:nvPr userDrawn="1"/>
        </p:nvSpPr>
        <p:spPr>
          <a:xfrm>
            <a:off x="9757416" y="4560012"/>
            <a:ext cx="2434584" cy="1824684"/>
          </a:xfrm>
          <a:custGeom>
            <a:avLst/>
            <a:gdLst>
              <a:gd name="connsiteX0" fmla="*/ 912342 w 2434584"/>
              <a:gd name="connsiteY0" fmla="*/ 0 h 1824684"/>
              <a:gd name="connsiteX1" fmla="*/ 2434584 w 2434584"/>
              <a:gd name="connsiteY1" fmla="*/ 0 h 1824684"/>
              <a:gd name="connsiteX2" fmla="*/ 2434584 w 2434584"/>
              <a:gd name="connsiteY2" fmla="*/ 1824684 h 1824684"/>
              <a:gd name="connsiteX3" fmla="*/ 912342 w 2434584"/>
              <a:gd name="connsiteY3" fmla="*/ 1824683 h 1824684"/>
              <a:gd name="connsiteX4" fmla="*/ 4710 w 2434584"/>
              <a:gd name="connsiteY4" fmla="*/ 1005623 h 1824684"/>
              <a:gd name="connsiteX5" fmla="*/ 0 w 2434584"/>
              <a:gd name="connsiteY5" fmla="*/ 912342 h 1824684"/>
              <a:gd name="connsiteX6" fmla="*/ 4710 w 2434584"/>
              <a:gd name="connsiteY6" fmla="*/ 819060 h 1824684"/>
              <a:gd name="connsiteX7" fmla="*/ 912342 w 2434584"/>
              <a:gd name="connsiteY7" fmla="*/ 0 h 1824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4584" h="1824684">
                <a:moveTo>
                  <a:pt x="912342" y="0"/>
                </a:moveTo>
                <a:lnTo>
                  <a:pt x="2434584" y="0"/>
                </a:lnTo>
                <a:lnTo>
                  <a:pt x="2434584" y="1824684"/>
                </a:lnTo>
                <a:lnTo>
                  <a:pt x="912342" y="1824683"/>
                </a:lnTo>
                <a:cubicBezTo>
                  <a:pt x="439961" y="1824683"/>
                  <a:pt x="51431" y="1465677"/>
                  <a:pt x="4710" y="1005623"/>
                </a:cubicBezTo>
                <a:lnTo>
                  <a:pt x="0" y="912342"/>
                </a:lnTo>
                <a:lnTo>
                  <a:pt x="4710" y="819060"/>
                </a:lnTo>
                <a:cubicBezTo>
                  <a:pt x="51431" y="359006"/>
                  <a:pt x="439961" y="0"/>
                  <a:pt x="912342" y="0"/>
                </a:cubicBezTo>
                <a:close/>
              </a:path>
            </a:pathLst>
          </a:custGeom>
          <a:solidFill>
            <a:srgbClr val="A89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p:cNvSpPr>
            <a:spLocks noGrp="1"/>
          </p:cNvSpPr>
          <p:nvPr userDrawn="1">
            <p:ph type="ctrTitle"/>
          </p:nvPr>
        </p:nvSpPr>
        <p:spPr>
          <a:xfrm>
            <a:off x="374092" y="1439868"/>
            <a:ext cx="5029181" cy="2880360"/>
          </a:xfrm>
          <a:prstGeom prst="rect">
            <a:avLst/>
          </a:prstGeom>
        </p:spPr>
        <p:txBody>
          <a:bodyPr anchor="b">
            <a:noAutofit/>
          </a:bodyPr>
          <a:lstStyle>
            <a:lvl1pPr algn="l">
              <a:defRPr sz="5400" b="1" i="0">
                <a:solidFill>
                  <a:schemeClr val="bg2"/>
                </a:solidFill>
                <a:latin typeface="Montserrat" pitchFamily="2" charset="77"/>
              </a:defRPr>
            </a:lvl1pPr>
          </a:lstStyle>
          <a:p>
            <a:r>
              <a:rPr lang="en-US"/>
              <a:t>Click to edit Master title style</a:t>
            </a:r>
            <a:endParaRPr lang="en-GB"/>
          </a:p>
        </p:txBody>
      </p:sp>
      <p:sp>
        <p:nvSpPr>
          <p:cNvPr id="3" name="Subtitle 2"/>
          <p:cNvSpPr>
            <a:spLocks noGrp="1"/>
          </p:cNvSpPr>
          <p:nvPr userDrawn="1">
            <p:ph type="subTitle" idx="1"/>
          </p:nvPr>
        </p:nvSpPr>
        <p:spPr>
          <a:xfrm>
            <a:off x="374092" y="4568825"/>
            <a:ext cx="5264886" cy="641350"/>
          </a:xfrm>
          <a:prstGeom prst="rect">
            <a:avLst/>
          </a:prstGeom>
        </p:spPr>
        <p:txBody>
          <a:bodyPr>
            <a:noAutofit/>
          </a:bodyPr>
          <a:lstStyle>
            <a:lvl1pPr marL="0" indent="0" algn="l">
              <a:buNone/>
              <a:defRPr sz="2400">
                <a:solidFill>
                  <a:schemeClr val="accent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5" name="Date Placeholder 3">
            <a:extLst>
              <a:ext uri="{FF2B5EF4-FFF2-40B4-BE49-F238E27FC236}">
                <a16:creationId xmlns:a16="http://schemas.microsoft.com/office/drawing/2014/main" id="{FD78CF55-0C25-4C23-2C35-E1A9DABADB84}"/>
              </a:ext>
            </a:extLst>
          </p:cNvPr>
          <p:cNvSpPr>
            <a:spLocks noGrp="1"/>
          </p:cNvSpPr>
          <p:nvPr userDrawn="1">
            <p:ph type="dt" sz="half" idx="10"/>
          </p:nvPr>
        </p:nvSpPr>
        <p:spPr>
          <a:xfrm>
            <a:off x="457200" y="6108700"/>
            <a:ext cx="4114800" cy="274638"/>
          </a:xfrm>
          <a:prstGeom prst="rect">
            <a:avLst/>
          </a:prstGeom>
        </p:spPr>
        <p:txBody>
          <a:bodyPr/>
          <a:lstStyle>
            <a:lvl1pPr>
              <a:defRPr sz="1400">
                <a:solidFill>
                  <a:schemeClr val="accent2"/>
                </a:solidFill>
              </a:defRPr>
            </a:lvl1pPr>
          </a:lstStyle>
          <a:p>
            <a:pPr>
              <a:defRPr/>
            </a:pPr>
            <a:endParaRPr lang="en-US"/>
          </a:p>
        </p:txBody>
      </p:sp>
      <p:pic>
        <p:nvPicPr>
          <p:cNvPr id="4" name="Content Placeholder 13">
            <a:extLst>
              <a:ext uri="{FF2B5EF4-FFF2-40B4-BE49-F238E27FC236}">
                <a16:creationId xmlns:a16="http://schemas.microsoft.com/office/drawing/2014/main" id="{205693FC-DAC5-88EE-D25E-73AC2C050FBE}"/>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auto">
          <a:xfrm>
            <a:off x="9974092" y="4464969"/>
            <a:ext cx="2144112" cy="2144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028725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Slide - Blue">
    <p:bg>
      <p:bgPr>
        <a:solidFill>
          <a:schemeClr val="accent1"/>
        </a:solidFill>
        <a:effectLst/>
      </p:bgPr>
    </p:bg>
    <p:spTree>
      <p:nvGrpSpPr>
        <p:cNvPr id="1" name=""/>
        <p:cNvGrpSpPr/>
        <p:nvPr/>
      </p:nvGrpSpPr>
      <p:grpSpPr>
        <a:xfrm>
          <a:off x="0" y="0"/>
          <a:ext cx="0" cy="0"/>
          <a:chOff x="0" y="0"/>
          <a:chExt cx="0" cy="0"/>
        </a:xfrm>
      </p:grpSpPr>
      <p:sp>
        <p:nvSpPr>
          <p:cNvPr id="19" name="Text Placeholder 5">
            <a:extLst>
              <a:ext uri="{FF2B5EF4-FFF2-40B4-BE49-F238E27FC236}">
                <a16:creationId xmlns:a16="http://schemas.microsoft.com/office/drawing/2014/main" id="{3F686C8C-E081-5242-90B9-38796068D595}"/>
              </a:ext>
            </a:extLst>
          </p:cNvPr>
          <p:cNvSpPr>
            <a:spLocks noGrp="1"/>
          </p:cNvSpPr>
          <p:nvPr>
            <p:ph type="body" sz="quarter" idx="26"/>
          </p:nvPr>
        </p:nvSpPr>
        <p:spPr>
          <a:xfrm>
            <a:off x="463550" y="1097280"/>
            <a:ext cx="11271250" cy="4872162"/>
          </a:xfrm>
          <a:prstGeom prst="rect">
            <a:avLst/>
          </a:prstGeom>
        </p:spPr>
        <p:txBody>
          <a:bodyPr lIns="0" tIns="0" rIns="0" bIns="0"/>
          <a:lstStyle>
            <a:lvl1pPr marL="0" indent="0" algn="l">
              <a:buNone/>
              <a:defRPr sz="1800" b="0" i="0">
                <a:solidFill>
                  <a:schemeClr val="bg2"/>
                </a:solidFill>
                <a:latin typeface="Montserrat Light" pitchFamily="2" charset="77"/>
                <a:cs typeface="Montserrat Light" pitchFamily="2" charset="77"/>
              </a:defRPr>
            </a:lvl1pPr>
            <a:lvl2pPr marL="174625" indent="-174625" algn="l">
              <a:spcBef>
                <a:spcPts val="1200"/>
              </a:spcBef>
              <a:buFont typeface="Arial" panose="020B0604020202020204" pitchFamily="34" charset="0"/>
              <a:buChar char="•"/>
              <a:tabLst/>
              <a:defRPr sz="1800" b="0" i="0">
                <a:solidFill>
                  <a:schemeClr val="bg2"/>
                </a:solidFill>
                <a:latin typeface="Montserrat Light" pitchFamily="2" charset="77"/>
                <a:cs typeface="Montserrat Light" pitchFamily="2" charset="77"/>
              </a:defRPr>
            </a:lvl2pPr>
            <a:lvl3pPr marL="560070" indent="-285750" algn="l">
              <a:spcBef>
                <a:spcPts val="1200"/>
              </a:spcBef>
              <a:buFont typeface="Montserrat" panose="00000500000000000000" pitchFamily="2" charset="0"/>
              <a:buChar char="–"/>
              <a:defRPr sz="1800" b="0" i="0">
                <a:solidFill>
                  <a:schemeClr val="bg2"/>
                </a:solidFill>
                <a:latin typeface="Montserrat Light" pitchFamily="2" charset="77"/>
                <a:cs typeface="Montserrat Light" pitchFamily="2" charset="77"/>
              </a:defRPr>
            </a:lvl3pPr>
            <a:lvl4pPr marL="834390" indent="-285750" algn="l">
              <a:spcBef>
                <a:spcPts val="1200"/>
              </a:spcBef>
              <a:buFont typeface="Courier New" panose="02070309020205020404" pitchFamily="49" charset="0"/>
              <a:buChar char="o"/>
              <a:defRPr sz="1600" b="0" i="0">
                <a:solidFill>
                  <a:schemeClr val="bg2"/>
                </a:solidFill>
                <a:latin typeface="Montserrat Light" pitchFamily="2" charset="77"/>
                <a:cs typeface="Montserrat Light" pitchFamily="2" charset="77"/>
              </a:defRPr>
            </a:lvl4pPr>
            <a:lvl5pPr marL="1108710" indent="-285750" algn="l">
              <a:defRPr lang="en-US" sz="1400" b="0" i="0" u="none" strike="noStrike" cap="none" spc="0" baseline="0" dirty="0">
                <a:solidFill>
                  <a:schemeClr val="bg2"/>
                </a:solidFill>
                <a:uFillTx/>
                <a:latin typeface="Montserrat Light" pitchFamily="2" charset="77"/>
                <a:ea typeface="Montserrat" panose="00000500000000000000" pitchFamily="2" charset="0"/>
                <a:cs typeface="Montserrat Light" pitchFamily="2" charset="77"/>
                <a:sym typeface="Montserrat"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a:extLst>
              <a:ext uri="{FF2B5EF4-FFF2-40B4-BE49-F238E27FC236}">
                <a16:creationId xmlns:a16="http://schemas.microsoft.com/office/drawing/2014/main" id="{F21AE09E-697C-FC45-9E96-2E45E76886AB}"/>
              </a:ext>
            </a:extLst>
          </p:cNvPr>
          <p:cNvSpPr>
            <a:spLocks noGrp="1"/>
          </p:cNvSpPr>
          <p:nvPr>
            <p:ph type="title"/>
          </p:nvPr>
        </p:nvSpPr>
        <p:spPr>
          <a:xfrm>
            <a:off x="463548" y="514928"/>
            <a:ext cx="11271251" cy="365760"/>
          </a:xfrm>
          <a:prstGeom prst="rect">
            <a:avLst/>
          </a:prstGeom>
        </p:spPr>
        <p:txBody>
          <a:bodyPr lIns="0" tIns="0" rIns="0" bIns="0" anchor="t"/>
          <a:lstStyle>
            <a:lvl1pPr marL="0" marR="0" indent="0" algn="l" defTabSz="412750" rtl="0" latinLnBrk="0">
              <a:lnSpc>
                <a:spcPct val="100000"/>
              </a:lnSpc>
              <a:spcBef>
                <a:spcPts val="0"/>
              </a:spcBef>
              <a:spcAft>
                <a:spcPts val="0"/>
              </a:spcAft>
              <a:buClrTx/>
              <a:buSzTx/>
              <a:buFontTx/>
              <a:buNone/>
              <a:tabLst/>
              <a:defRPr lang="en-US" sz="2200" b="1" i="0" u="none" strike="noStrike" cap="none" spc="0" baseline="0" dirty="0" smtClean="0">
                <a:solidFill>
                  <a:schemeClr val="bg2"/>
                </a:solidFill>
                <a:uFillTx/>
                <a:latin typeface="Montserrat" panose="00000500000000000000" pitchFamily="2" charset="0"/>
                <a:ea typeface="Montserrat" panose="00000500000000000000" pitchFamily="2" charset="0"/>
                <a:cs typeface="Montserrat" panose="00000500000000000000" pitchFamily="2" charset="0"/>
                <a:sym typeface="Montserrat" panose="00000500000000000000" pitchFamily="2" charset="0"/>
              </a:defRPr>
            </a:lvl1pPr>
          </a:lstStyle>
          <a:p>
            <a:r>
              <a:rPr lang="en-US"/>
              <a:t>Click to edit Master title style</a:t>
            </a:r>
          </a:p>
        </p:txBody>
      </p:sp>
      <p:sp>
        <p:nvSpPr>
          <p:cNvPr id="10" name="Text Placeholder 2">
            <a:extLst>
              <a:ext uri="{FF2B5EF4-FFF2-40B4-BE49-F238E27FC236}">
                <a16:creationId xmlns:a16="http://schemas.microsoft.com/office/drawing/2014/main" id="{E4AEF971-9BCB-1E42-9E22-F8D1F1044C95}"/>
              </a:ext>
            </a:extLst>
          </p:cNvPr>
          <p:cNvSpPr>
            <a:spLocks noGrp="1"/>
          </p:cNvSpPr>
          <p:nvPr>
            <p:ph type="body" sz="quarter" idx="25" hasCustomPrompt="1"/>
          </p:nvPr>
        </p:nvSpPr>
        <p:spPr>
          <a:xfrm>
            <a:off x="463548" y="255612"/>
            <a:ext cx="11271251" cy="201168"/>
          </a:xfrm>
          <a:prstGeom prst="rect">
            <a:avLst/>
          </a:prstGeom>
        </p:spPr>
        <p:txBody>
          <a:bodyPr lIns="0" tIns="0" rIns="0" bIns="0" anchor="ctr"/>
          <a:lstStyle>
            <a:lvl1pPr marL="0" indent="0" algn="l">
              <a:buNone/>
              <a:defRPr lang="en-US" sz="1000" b="0" i="0" cap="all" spc="200" baseline="0" dirty="0">
                <a:solidFill>
                  <a:schemeClr val="bg2"/>
                </a:solidFill>
                <a:latin typeface="Montserrat" panose="00000500000000000000" pitchFamily="2" charset="0"/>
                <a:ea typeface="Montserrat" panose="00000500000000000000" pitchFamily="2" charset="0"/>
                <a:cs typeface="Montserrat" panose="00000500000000000000" pitchFamily="2" charset="0"/>
              </a:defRPr>
            </a:lvl1pPr>
          </a:lstStyle>
          <a:p>
            <a:pPr lvl="0" algn="l"/>
            <a:r>
              <a:rPr lang="en-US"/>
              <a:t>OPTIONAL BREADCRUMB HERE</a:t>
            </a:r>
          </a:p>
        </p:txBody>
      </p:sp>
      <p:sp>
        <p:nvSpPr>
          <p:cNvPr id="8" name="Slide Number Placeholder 5">
            <a:extLst>
              <a:ext uri="{FF2B5EF4-FFF2-40B4-BE49-F238E27FC236}">
                <a16:creationId xmlns:a16="http://schemas.microsoft.com/office/drawing/2014/main" id="{3DB84E04-7731-345F-77EA-3F29E135A0BC}"/>
              </a:ext>
            </a:extLst>
          </p:cNvPr>
          <p:cNvSpPr txBox="1">
            <a:spLocks/>
          </p:cNvSpPr>
          <p:nvPr userDrawn="1"/>
        </p:nvSpPr>
        <p:spPr>
          <a:xfrm>
            <a:off x="11341100" y="6424613"/>
            <a:ext cx="393700" cy="200025"/>
          </a:xfrm>
          <a:prstGeom prst="rect">
            <a:avLst/>
          </a:prstGeom>
        </p:spPr>
        <p:txBody>
          <a:bodyPr vert="horz" lIns="0" tIns="0" rIns="0" bIns="0" rtlCol="0" anchor="ctr">
            <a:noAutofit/>
          </a:bodyPr>
          <a:lstStyle>
            <a:defPPr>
              <a:defRPr lang="en-US"/>
            </a:defPPr>
            <a:lvl1pPr algn="r" rtl="0" eaLnBrk="1" fontAlgn="auto" hangingPunct="1">
              <a:spcBef>
                <a:spcPts val="0"/>
              </a:spcBef>
              <a:spcAft>
                <a:spcPts val="0"/>
              </a:spcAft>
              <a:defRPr sz="800" kern="1200">
                <a:solidFill>
                  <a:schemeClr val="tx2"/>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fld id="{5F05AE8C-CF5F-4A4E-B69B-C9D8FA4EC18A}" type="slidenum">
              <a:rPr lang="en-US" smtClean="0">
                <a:solidFill>
                  <a:schemeClr val="bg2"/>
                </a:solidFill>
                <a:latin typeface="Montserrat" panose="00000500000000000000" pitchFamily="2" charset="0"/>
              </a:rPr>
              <a:pPr>
                <a:defRPr/>
              </a:pPr>
              <a:t>‹#›</a:t>
            </a:fld>
            <a:endParaRPr lang="en-US">
              <a:solidFill>
                <a:schemeClr val="bg2"/>
              </a:solidFill>
              <a:latin typeface="Montserrat" panose="00000500000000000000" pitchFamily="2" charset="0"/>
            </a:endParaRPr>
          </a:p>
        </p:txBody>
      </p:sp>
      <p:sp>
        <p:nvSpPr>
          <p:cNvPr id="11" name="Footer Placeholder 4">
            <a:extLst>
              <a:ext uri="{FF2B5EF4-FFF2-40B4-BE49-F238E27FC236}">
                <a16:creationId xmlns:a16="http://schemas.microsoft.com/office/drawing/2014/main" id="{75064991-9187-8694-627F-2FECE8244915}"/>
              </a:ext>
            </a:extLst>
          </p:cNvPr>
          <p:cNvSpPr txBox="1">
            <a:spLocks/>
          </p:cNvSpPr>
          <p:nvPr userDrawn="1"/>
        </p:nvSpPr>
        <p:spPr>
          <a:xfrm>
            <a:off x="463550" y="6427788"/>
            <a:ext cx="4114800" cy="198437"/>
          </a:xfrm>
          <a:prstGeom prst="rect">
            <a:avLst/>
          </a:prstGeom>
        </p:spPr>
        <p:txBody>
          <a:bodyPr vert="horz" lIns="0" tIns="0" rIns="0" bIns="0" rtlCol="0" anchor="ctr">
            <a:noAutofit/>
          </a:bodyPr>
          <a:lstStyle>
            <a:defPPr>
              <a:defRPr lang="en-US"/>
            </a:defPPr>
            <a:lvl1pPr algn="l" rtl="0" eaLnBrk="1" fontAlgn="auto" hangingPunct="1">
              <a:spcBef>
                <a:spcPts val="0"/>
              </a:spcBef>
              <a:spcAft>
                <a:spcPts val="0"/>
              </a:spcAft>
              <a:defRPr sz="800" kern="1200">
                <a:solidFill>
                  <a:schemeClr val="tx1"/>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r>
              <a:rPr lang="en-US">
                <a:solidFill>
                  <a:schemeClr val="bg2"/>
                </a:solidFill>
                <a:latin typeface="Montserrat" panose="00000500000000000000" pitchFamily="2" charset="0"/>
              </a:rPr>
              <a:t>© 2024 Comcast. All rights reserved.</a:t>
            </a:r>
          </a:p>
        </p:txBody>
      </p:sp>
      <p:pic>
        <p:nvPicPr>
          <p:cNvPr id="2" name="Picture 9">
            <a:extLst>
              <a:ext uri="{FF2B5EF4-FFF2-40B4-BE49-F238E27FC236}">
                <a16:creationId xmlns:a16="http://schemas.microsoft.com/office/drawing/2014/main" id="{0B1B1189-E823-5385-F684-791E87ABCFE1}"/>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8677275" y="6438900"/>
            <a:ext cx="2525713" cy="180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04769639"/>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432">
          <p15:clr>
            <a:srgbClr val="FBAE40"/>
          </p15:clr>
        </p15:guide>
        <p15:guide id="3" pos="7248">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userDrawn="1">
  <p:cSld name="Title Slide with Image 2">
    <p:bg>
      <p:bgPr>
        <a:solidFill>
          <a:schemeClr val="accent1"/>
        </a:solidFill>
        <a:effectLst/>
      </p:bgPr>
    </p:bg>
    <p:spTree>
      <p:nvGrpSpPr>
        <p:cNvPr id="1" name=""/>
        <p:cNvGrpSpPr/>
        <p:nvPr/>
      </p:nvGrpSpPr>
      <p:grpSpPr>
        <a:xfrm>
          <a:off x="0" y="0"/>
          <a:ext cx="0" cy="0"/>
          <a:chOff x="0" y="0"/>
          <a:chExt cx="0" cy="0"/>
        </a:xfrm>
      </p:grpSpPr>
      <p:sp>
        <p:nvSpPr>
          <p:cNvPr id="23" name="Freeform 22">
            <a:extLst>
              <a:ext uri="{FF2B5EF4-FFF2-40B4-BE49-F238E27FC236}">
                <a16:creationId xmlns:a16="http://schemas.microsoft.com/office/drawing/2014/main" id="{E0E59BF4-9AD4-3FCE-50AD-1B50108A4CEB}"/>
              </a:ext>
            </a:extLst>
          </p:cNvPr>
          <p:cNvSpPr/>
          <p:nvPr userDrawn="1"/>
        </p:nvSpPr>
        <p:spPr>
          <a:xfrm rot="16200000">
            <a:off x="4599083" y="1089215"/>
            <a:ext cx="6867144" cy="4670424"/>
          </a:xfrm>
          <a:custGeom>
            <a:avLst/>
            <a:gdLst>
              <a:gd name="connsiteX0" fmla="*/ 6867144 w 6867144"/>
              <a:gd name="connsiteY0" fmla="*/ 3433572 h 4670424"/>
              <a:gd name="connsiteX1" fmla="*/ 6867144 w 6867144"/>
              <a:gd name="connsiteY1" fmla="*/ 4670424 h 4670424"/>
              <a:gd name="connsiteX2" fmla="*/ 0 w 6867144"/>
              <a:gd name="connsiteY2" fmla="*/ 4670423 h 4670424"/>
              <a:gd name="connsiteX3" fmla="*/ 0 w 6867144"/>
              <a:gd name="connsiteY3" fmla="*/ 3433571 h 4670424"/>
              <a:gd name="connsiteX4" fmla="*/ 3433572 w 6867144"/>
              <a:gd name="connsiteY4" fmla="*/ 0 h 4670424"/>
              <a:gd name="connsiteX5" fmla="*/ 6867144 w 6867144"/>
              <a:gd name="connsiteY5" fmla="*/ 3433572 h 4670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7144" h="4670424">
                <a:moveTo>
                  <a:pt x="6867144" y="3433572"/>
                </a:moveTo>
                <a:lnTo>
                  <a:pt x="6867144" y="4670424"/>
                </a:lnTo>
                <a:lnTo>
                  <a:pt x="0" y="4670423"/>
                </a:lnTo>
                <a:lnTo>
                  <a:pt x="0" y="3433571"/>
                </a:lnTo>
                <a:cubicBezTo>
                  <a:pt x="0" y="1537263"/>
                  <a:pt x="1537263" y="0"/>
                  <a:pt x="3433572" y="0"/>
                </a:cubicBezTo>
                <a:cubicBezTo>
                  <a:pt x="5329881" y="0"/>
                  <a:pt x="6867144" y="1537263"/>
                  <a:pt x="6867144" y="3433572"/>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2" name="Freeform 21">
            <a:extLst>
              <a:ext uri="{FF2B5EF4-FFF2-40B4-BE49-F238E27FC236}">
                <a16:creationId xmlns:a16="http://schemas.microsoft.com/office/drawing/2014/main" id="{D057547C-9861-3930-F47B-D08A23233196}"/>
              </a:ext>
            </a:extLst>
          </p:cNvPr>
          <p:cNvSpPr/>
          <p:nvPr userDrawn="1"/>
        </p:nvSpPr>
        <p:spPr>
          <a:xfrm rot="16200000">
            <a:off x="4743541" y="1207583"/>
            <a:ext cx="6867144" cy="4433689"/>
          </a:xfrm>
          <a:custGeom>
            <a:avLst/>
            <a:gdLst>
              <a:gd name="connsiteX0" fmla="*/ 6867144 w 6867144"/>
              <a:gd name="connsiteY0" fmla="*/ 3433572 h 4433689"/>
              <a:gd name="connsiteX1" fmla="*/ 6867144 w 6867144"/>
              <a:gd name="connsiteY1" fmla="*/ 4433689 h 4433689"/>
              <a:gd name="connsiteX2" fmla="*/ 0 w 6867144"/>
              <a:gd name="connsiteY2" fmla="*/ 4433689 h 4433689"/>
              <a:gd name="connsiteX3" fmla="*/ 0 w 6867144"/>
              <a:gd name="connsiteY3" fmla="*/ 3433571 h 4433689"/>
              <a:gd name="connsiteX4" fmla="*/ 3433572 w 6867144"/>
              <a:gd name="connsiteY4" fmla="*/ 0 h 4433689"/>
              <a:gd name="connsiteX5" fmla="*/ 6867144 w 6867144"/>
              <a:gd name="connsiteY5" fmla="*/ 3433572 h 4433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7144" h="4433689">
                <a:moveTo>
                  <a:pt x="6867144" y="3433572"/>
                </a:moveTo>
                <a:lnTo>
                  <a:pt x="6867144" y="4433689"/>
                </a:lnTo>
                <a:lnTo>
                  <a:pt x="0" y="4433689"/>
                </a:lnTo>
                <a:lnTo>
                  <a:pt x="0" y="3433571"/>
                </a:lnTo>
                <a:cubicBezTo>
                  <a:pt x="0" y="1537263"/>
                  <a:pt x="1537263" y="0"/>
                  <a:pt x="3433572" y="0"/>
                </a:cubicBezTo>
                <a:cubicBezTo>
                  <a:pt x="5329881" y="0"/>
                  <a:pt x="6867144" y="1537263"/>
                  <a:pt x="6867144" y="3433572"/>
                </a:cubicBezTo>
                <a:close/>
              </a:path>
            </a:pathLst>
          </a:custGeom>
          <a:solidFill>
            <a:srgbClr val="A89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C201715D-BBCC-4185-A6D8-5FD229113338}"/>
              </a:ext>
            </a:extLst>
          </p:cNvPr>
          <p:cNvSpPr>
            <a:spLocks noGrp="1"/>
          </p:cNvSpPr>
          <p:nvPr>
            <p:ph type="ctrTitle" hasCustomPrompt="1"/>
          </p:nvPr>
        </p:nvSpPr>
        <p:spPr>
          <a:xfrm>
            <a:off x="374094" y="1746250"/>
            <a:ext cx="5227980" cy="2688589"/>
          </a:xfrm>
          <a:prstGeom prst="rect">
            <a:avLst/>
          </a:prstGeom>
        </p:spPr>
        <p:txBody>
          <a:bodyPr lIns="0" tIns="0" rIns="0" bIns="0" anchor="b">
            <a:noAutofit/>
          </a:bodyPr>
          <a:lstStyle>
            <a:lvl1pPr algn="l">
              <a:defRPr sz="5400" b="1" i="0">
                <a:solidFill>
                  <a:schemeClr val="bg2"/>
                </a:solidFill>
                <a:latin typeface="Montserrat" pitchFamily="2" charset="77"/>
              </a:defRPr>
            </a:lvl1pPr>
          </a:lstStyle>
          <a:p>
            <a:r>
              <a:rPr lang="en-GB"/>
              <a:t>Presentation title, Bold 54pt, max 3 lines</a:t>
            </a:r>
          </a:p>
        </p:txBody>
      </p:sp>
      <p:sp>
        <p:nvSpPr>
          <p:cNvPr id="3" name="Subtitle 2">
            <a:extLst>
              <a:ext uri="{FF2B5EF4-FFF2-40B4-BE49-F238E27FC236}">
                <a16:creationId xmlns:a16="http://schemas.microsoft.com/office/drawing/2014/main" id="{9ED5964E-2594-47EA-A0C0-745BE90F64D3}"/>
              </a:ext>
            </a:extLst>
          </p:cNvPr>
          <p:cNvSpPr>
            <a:spLocks noGrp="1"/>
          </p:cNvSpPr>
          <p:nvPr>
            <p:ph type="subTitle" idx="1" hasCustomPrompt="1"/>
          </p:nvPr>
        </p:nvSpPr>
        <p:spPr>
          <a:xfrm>
            <a:off x="429333" y="4663440"/>
            <a:ext cx="5429596" cy="641350"/>
          </a:xfrm>
          <a:prstGeom prst="rect">
            <a:avLst/>
          </a:prstGeom>
        </p:spPr>
        <p:txBody>
          <a:bodyPr lIns="0" tIns="0" rIns="0" bIns="0">
            <a:noAutofit/>
          </a:bodyPr>
          <a:lstStyle>
            <a:lvl1pPr marL="0" indent="0" algn="l">
              <a:buNone/>
              <a:defRPr sz="2400">
                <a:solidFill>
                  <a:schemeClr val="accent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Place subtitle here, Light 24pt</a:t>
            </a:r>
          </a:p>
        </p:txBody>
      </p:sp>
      <p:sp>
        <p:nvSpPr>
          <p:cNvPr id="4" name="Date Placeholder 3">
            <a:extLst>
              <a:ext uri="{FF2B5EF4-FFF2-40B4-BE49-F238E27FC236}">
                <a16:creationId xmlns:a16="http://schemas.microsoft.com/office/drawing/2014/main" id="{C7CCBB25-72E7-413F-B042-04DB03FC404C}"/>
              </a:ext>
            </a:extLst>
          </p:cNvPr>
          <p:cNvSpPr>
            <a:spLocks noGrp="1"/>
          </p:cNvSpPr>
          <p:nvPr>
            <p:ph type="dt" sz="half" idx="10"/>
          </p:nvPr>
        </p:nvSpPr>
        <p:spPr>
          <a:xfrm>
            <a:off x="457200" y="6107578"/>
            <a:ext cx="4114799" cy="274320"/>
          </a:xfrm>
          <a:prstGeom prst="rect">
            <a:avLst/>
          </a:prstGeom>
        </p:spPr>
        <p:txBody>
          <a:bodyPr lIns="0" tIns="0" rIns="0" bIns="0">
            <a:noAutofit/>
          </a:bodyPr>
          <a:lstStyle>
            <a:lvl1pPr>
              <a:defRPr sz="1400">
                <a:solidFill>
                  <a:schemeClr val="accent2"/>
                </a:solidFill>
              </a:defRPr>
            </a:lvl1pPr>
          </a:lstStyle>
          <a:p>
            <a:endParaRPr lang="en-US"/>
          </a:p>
        </p:txBody>
      </p:sp>
      <p:sp>
        <p:nvSpPr>
          <p:cNvPr id="13" name="Picture Placeholder 12">
            <a:extLst>
              <a:ext uri="{FF2B5EF4-FFF2-40B4-BE49-F238E27FC236}">
                <a16:creationId xmlns:a16="http://schemas.microsoft.com/office/drawing/2014/main" id="{5CBBC6C7-08E3-66CE-5760-7070750DD5BE}"/>
              </a:ext>
            </a:extLst>
          </p:cNvPr>
          <p:cNvSpPr>
            <a:spLocks noGrp="1" noChangeAspect="1"/>
          </p:cNvSpPr>
          <p:nvPr>
            <p:ph type="pic" sz="quarter" idx="15" hasCustomPrompt="1"/>
          </p:nvPr>
        </p:nvSpPr>
        <p:spPr bwMode="auto">
          <a:xfrm>
            <a:off x="6275636" y="-15450"/>
            <a:ext cx="5920103" cy="6888901"/>
          </a:xfrm>
          <a:custGeom>
            <a:avLst/>
            <a:gdLst>
              <a:gd name="connsiteX0" fmla="*/ 3429267 w 5920103"/>
              <a:gd name="connsiteY0" fmla="*/ 0 h 6886328"/>
              <a:gd name="connsiteX1" fmla="*/ 4040840 w 5920103"/>
              <a:gd name="connsiteY1" fmla="*/ 0 h 6886328"/>
              <a:gd name="connsiteX2" fmla="*/ 4040840 w 5920103"/>
              <a:gd name="connsiteY2" fmla="*/ 9142 h 6886328"/>
              <a:gd name="connsiteX3" fmla="*/ 4277575 w 5920103"/>
              <a:gd name="connsiteY3" fmla="*/ 9142 h 6886328"/>
              <a:gd name="connsiteX4" fmla="*/ 4277575 w 5920103"/>
              <a:gd name="connsiteY4" fmla="*/ 9141 h 6886328"/>
              <a:gd name="connsiteX5" fmla="*/ 5920103 w 5920103"/>
              <a:gd name="connsiteY5" fmla="*/ 9141 h 6886328"/>
              <a:gd name="connsiteX6" fmla="*/ 5920103 w 5920103"/>
              <a:gd name="connsiteY6" fmla="*/ 6886328 h 6886328"/>
              <a:gd name="connsiteX7" fmla="*/ 5135878 w 5920103"/>
              <a:gd name="connsiteY7" fmla="*/ 6886328 h 6886328"/>
              <a:gd name="connsiteX8" fmla="*/ 4277575 w 5920103"/>
              <a:gd name="connsiteY8" fmla="*/ 6886328 h 6886328"/>
              <a:gd name="connsiteX9" fmla="*/ 4040840 w 5920103"/>
              <a:gd name="connsiteY9" fmla="*/ 6886328 h 6886328"/>
              <a:gd name="connsiteX10" fmla="*/ 4040840 w 5920103"/>
              <a:gd name="connsiteY10" fmla="*/ 6877187 h 6886328"/>
              <a:gd name="connsiteX11" fmla="*/ 3854807 w 5920103"/>
              <a:gd name="connsiteY11" fmla="*/ 6876289 h 6886328"/>
              <a:gd name="connsiteX12" fmla="*/ 3854807 w 5920103"/>
              <a:gd name="connsiteY12" fmla="*/ 6876288 h 6886328"/>
              <a:gd name="connsiteX13" fmla="*/ 3429267 w 5920103"/>
              <a:gd name="connsiteY13" fmla="*/ 6876288 h 6886328"/>
              <a:gd name="connsiteX14" fmla="*/ 3429267 w 5920103"/>
              <a:gd name="connsiteY14" fmla="*/ 6875680 h 6886328"/>
              <a:gd name="connsiteX15" fmla="*/ 3219512 w 5920103"/>
              <a:gd name="connsiteY15" fmla="*/ 6869354 h 6886328"/>
              <a:gd name="connsiteX16" fmla="*/ 464211 w 5920103"/>
              <a:gd name="connsiteY16" fmla="*/ 5163415 h 6886328"/>
              <a:gd name="connsiteX17" fmla="*/ 458834 w 5920103"/>
              <a:gd name="connsiteY17" fmla="*/ 1722175 h 6886328"/>
              <a:gd name="connsiteX18" fmla="*/ 3208791 w 5920103"/>
              <a:gd name="connsiteY18" fmla="*/ 7637 h 6886328"/>
              <a:gd name="connsiteX19" fmla="*/ 3429267 w 5920103"/>
              <a:gd name="connsiteY19" fmla="*/ 298 h 6886328"/>
              <a:gd name="connsiteX0" fmla="*/ 3429267 w 5920103"/>
              <a:gd name="connsiteY0" fmla="*/ 0 h 6886328"/>
              <a:gd name="connsiteX1" fmla="*/ 4040840 w 5920103"/>
              <a:gd name="connsiteY1" fmla="*/ 0 h 6886328"/>
              <a:gd name="connsiteX2" fmla="*/ 4040840 w 5920103"/>
              <a:gd name="connsiteY2" fmla="*/ 9142 h 6886328"/>
              <a:gd name="connsiteX3" fmla="*/ 4277575 w 5920103"/>
              <a:gd name="connsiteY3" fmla="*/ 9142 h 6886328"/>
              <a:gd name="connsiteX4" fmla="*/ 4277575 w 5920103"/>
              <a:gd name="connsiteY4" fmla="*/ 9141 h 6886328"/>
              <a:gd name="connsiteX5" fmla="*/ 5920103 w 5920103"/>
              <a:gd name="connsiteY5" fmla="*/ 9141 h 6886328"/>
              <a:gd name="connsiteX6" fmla="*/ 5920103 w 5920103"/>
              <a:gd name="connsiteY6" fmla="*/ 6886328 h 6886328"/>
              <a:gd name="connsiteX7" fmla="*/ 5135878 w 5920103"/>
              <a:gd name="connsiteY7" fmla="*/ 6886328 h 6886328"/>
              <a:gd name="connsiteX8" fmla="*/ 4040840 w 5920103"/>
              <a:gd name="connsiteY8" fmla="*/ 6886328 h 6886328"/>
              <a:gd name="connsiteX9" fmla="*/ 4040840 w 5920103"/>
              <a:gd name="connsiteY9" fmla="*/ 6877187 h 6886328"/>
              <a:gd name="connsiteX10" fmla="*/ 3854807 w 5920103"/>
              <a:gd name="connsiteY10" fmla="*/ 6876289 h 6886328"/>
              <a:gd name="connsiteX11" fmla="*/ 3854807 w 5920103"/>
              <a:gd name="connsiteY11" fmla="*/ 6876288 h 6886328"/>
              <a:gd name="connsiteX12" fmla="*/ 3429267 w 5920103"/>
              <a:gd name="connsiteY12" fmla="*/ 6876288 h 6886328"/>
              <a:gd name="connsiteX13" fmla="*/ 3429267 w 5920103"/>
              <a:gd name="connsiteY13" fmla="*/ 6875680 h 6886328"/>
              <a:gd name="connsiteX14" fmla="*/ 3219512 w 5920103"/>
              <a:gd name="connsiteY14" fmla="*/ 6869354 h 6886328"/>
              <a:gd name="connsiteX15" fmla="*/ 464211 w 5920103"/>
              <a:gd name="connsiteY15" fmla="*/ 5163415 h 6886328"/>
              <a:gd name="connsiteX16" fmla="*/ 458834 w 5920103"/>
              <a:gd name="connsiteY16" fmla="*/ 1722175 h 6886328"/>
              <a:gd name="connsiteX17" fmla="*/ 3208791 w 5920103"/>
              <a:gd name="connsiteY17" fmla="*/ 7637 h 6886328"/>
              <a:gd name="connsiteX18" fmla="*/ 3429267 w 5920103"/>
              <a:gd name="connsiteY18" fmla="*/ 298 h 6886328"/>
              <a:gd name="connsiteX19" fmla="*/ 3429267 w 5920103"/>
              <a:gd name="connsiteY19" fmla="*/ 0 h 6886328"/>
              <a:gd name="connsiteX0" fmla="*/ 3429267 w 5920103"/>
              <a:gd name="connsiteY0" fmla="*/ 0 h 6886328"/>
              <a:gd name="connsiteX1" fmla="*/ 4040840 w 5920103"/>
              <a:gd name="connsiteY1" fmla="*/ 0 h 6886328"/>
              <a:gd name="connsiteX2" fmla="*/ 4040840 w 5920103"/>
              <a:gd name="connsiteY2" fmla="*/ 9142 h 6886328"/>
              <a:gd name="connsiteX3" fmla="*/ 4277575 w 5920103"/>
              <a:gd name="connsiteY3" fmla="*/ 9142 h 6886328"/>
              <a:gd name="connsiteX4" fmla="*/ 4277575 w 5920103"/>
              <a:gd name="connsiteY4" fmla="*/ 9141 h 6886328"/>
              <a:gd name="connsiteX5" fmla="*/ 5920103 w 5920103"/>
              <a:gd name="connsiteY5" fmla="*/ 9141 h 6886328"/>
              <a:gd name="connsiteX6" fmla="*/ 5920103 w 5920103"/>
              <a:gd name="connsiteY6" fmla="*/ 6886328 h 6886328"/>
              <a:gd name="connsiteX7" fmla="*/ 4040840 w 5920103"/>
              <a:gd name="connsiteY7" fmla="*/ 6886328 h 6886328"/>
              <a:gd name="connsiteX8" fmla="*/ 4040840 w 5920103"/>
              <a:gd name="connsiteY8" fmla="*/ 6877187 h 6886328"/>
              <a:gd name="connsiteX9" fmla="*/ 3854807 w 5920103"/>
              <a:gd name="connsiteY9" fmla="*/ 6876289 h 6886328"/>
              <a:gd name="connsiteX10" fmla="*/ 3854807 w 5920103"/>
              <a:gd name="connsiteY10" fmla="*/ 6876288 h 6886328"/>
              <a:gd name="connsiteX11" fmla="*/ 3429267 w 5920103"/>
              <a:gd name="connsiteY11" fmla="*/ 6876288 h 6886328"/>
              <a:gd name="connsiteX12" fmla="*/ 3429267 w 5920103"/>
              <a:gd name="connsiteY12" fmla="*/ 6875680 h 6886328"/>
              <a:gd name="connsiteX13" fmla="*/ 3219512 w 5920103"/>
              <a:gd name="connsiteY13" fmla="*/ 6869354 h 6886328"/>
              <a:gd name="connsiteX14" fmla="*/ 464211 w 5920103"/>
              <a:gd name="connsiteY14" fmla="*/ 5163415 h 6886328"/>
              <a:gd name="connsiteX15" fmla="*/ 458834 w 5920103"/>
              <a:gd name="connsiteY15" fmla="*/ 1722175 h 6886328"/>
              <a:gd name="connsiteX16" fmla="*/ 3208791 w 5920103"/>
              <a:gd name="connsiteY16" fmla="*/ 7637 h 6886328"/>
              <a:gd name="connsiteX17" fmla="*/ 3429267 w 5920103"/>
              <a:gd name="connsiteY17" fmla="*/ 298 h 6886328"/>
              <a:gd name="connsiteX18" fmla="*/ 3429267 w 5920103"/>
              <a:gd name="connsiteY18" fmla="*/ 0 h 6886328"/>
              <a:gd name="connsiteX0" fmla="*/ 3429267 w 5920103"/>
              <a:gd name="connsiteY0" fmla="*/ 0 h 6886328"/>
              <a:gd name="connsiteX1" fmla="*/ 4040840 w 5920103"/>
              <a:gd name="connsiteY1" fmla="*/ 0 h 6886328"/>
              <a:gd name="connsiteX2" fmla="*/ 4040840 w 5920103"/>
              <a:gd name="connsiteY2" fmla="*/ 9142 h 6886328"/>
              <a:gd name="connsiteX3" fmla="*/ 4277575 w 5920103"/>
              <a:gd name="connsiteY3" fmla="*/ 9142 h 6886328"/>
              <a:gd name="connsiteX4" fmla="*/ 4277575 w 5920103"/>
              <a:gd name="connsiteY4" fmla="*/ 9141 h 6886328"/>
              <a:gd name="connsiteX5" fmla="*/ 5920103 w 5920103"/>
              <a:gd name="connsiteY5" fmla="*/ 9141 h 6886328"/>
              <a:gd name="connsiteX6" fmla="*/ 5920103 w 5920103"/>
              <a:gd name="connsiteY6" fmla="*/ 6886328 h 6886328"/>
              <a:gd name="connsiteX7" fmla="*/ 4040840 w 5920103"/>
              <a:gd name="connsiteY7" fmla="*/ 6886328 h 6886328"/>
              <a:gd name="connsiteX8" fmla="*/ 3854807 w 5920103"/>
              <a:gd name="connsiteY8" fmla="*/ 6876289 h 6886328"/>
              <a:gd name="connsiteX9" fmla="*/ 3854807 w 5920103"/>
              <a:gd name="connsiteY9" fmla="*/ 6876288 h 6886328"/>
              <a:gd name="connsiteX10" fmla="*/ 3429267 w 5920103"/>
              <a:gd name="connsiteY10" fmla="*/ 6876288 h 6886328"/>
              <a:gd name="connsiteX11" fmla="*/ 3429267 w 5920103"/>
              <a:gd name="connsiteY11" fmla="*/ 6875680 h 6886328"/>
              <a:gd name="connsiteX12" fmla="*/ 3219512 w 5920103"/>
              <a:gd name="connsiteY12" fmla="*/ 6869354 h 6886328"/>
              <a:gd name="connsiteX13" fmla="*/ 464211 w 5920103"/>
              <a:gd name="connsiteY13" fmla="*/ 5163415 h 6886328"/>
              <a:gd name="connsiteX14" fmla="*/ 458834 w 5920103"/>
              <a:gd name="connsiteY14" fmla="*/ 1722175 h 6886328"/>
              <a:gd name="connsiteX15" fmla="*/ 3208791 w 5920103"/>
              <a:gd name="connsiteY15" fmla="*/ 7637 h 6886328"/>
              <a:gd name="connsiteX16" fmla="*/ 3429267 w 5920103"/>
              <a:gd name="connsiteY16" fmla="*/ 298 h 6886328"/>
              <a:gd name="connsiteX17" fmla="*/ 3429267 w 5920103"/>
              <a:gd name="connsiteY17" fmla="*/ 0 h 6886328"/>
              <a:gd name="connsiteX0" fmla="*/ 3429267 w 5920103"/>
              <a:gd name="connsiteY0" fmla="*/ 0 h 6886328"/>
              <a:gd name="connsiteX1" fmla="*/ 4040840 w 5920103"/>
              <a:gd name="connsiteY1" fmla="*/ 0 h 6886328"/>
              <a:gd name="connsiteX2" fmla="*/ 4040840 w 5920103"/>
              <a:gd name="connsiteY2" fmla="*/ 9142 h 6886328"/>
              <a:gd name="connsiteX3" fmla="*/ 4277575 w 5920103"/>
              <a:gd name="connsiteY3" fmla="*/ 9142 h 6886328"/>
              <a:gd name="connsiteX4" fmla="*/ 4277575 w 5920103"/>
              <a:gd name="connsiteY4" fmla="*/ 9141 h 6886328"/>
              <a:gd name="connsiteX5" fmla="*/ 5920103 w 5920103"/>
              <a:gd name="connsiteY5" fmla="*/ 9141 h 6886328"/>
              <a:gd name="connsiteX6" fmla="*/ 5920103 w 5920103"/>
              <a:gd name="connsiteY6" fmla="*/ 6886328 h 6886328"/>
              <a:gd name="connsiteX7" fmla="*/ 3854807 w 5920103"/>
              <a:gd name="connsiteY7" fmla="*/ 6876289 h 6886328"/>
              <a:gd name="connsiteX8" fmla="*/ 3854807 w 5920103"/>
              <a:gd name="connsiteY8" fmla="*/ 6876288 h 6886328"/>
              <a:gd name="connsiteX9" fmla="*/ 3429267 w 5920103"/>
              <a:gd name="connsiteY9" fmla="*/ 6876288 h 6886328"/>
              <a:gd name="connsiteX10" fmla="*/ 3429267 w 5920103"/>
              <a:gd name="connsiteY10" fmla="*/ 6875680 h 6886328"/>
              <a:gd name="connsiteX11" fmla="*/ 3219512 w 5920103"/>
              <a:gd name="connsiteY11" fmla="*/ 6869354 h 6886328"/>
              <a:gd name="connsiteX12" fmla="*/ 464211 w 5920103"/>
              <a:gd name="connsiteY12" fmla="*/ 5163415 h 6886328"/>
              <a:gd name="connsiteX13" fmla="*/ 458834 w 5920103"/>
              <a:gd name="connsiteY13" fmla="*/ 1722175 h 6886328"/>
              <a:gd name="connsiteX14" fmla="*/ 3208791 w 5920103"/>
              <a:gd name="connsiteY14" fmla="*/ 7637 h 6886328"/>
              <a:gd name="connsiteX15" fmla="*/ 3429267 w 5920103"/>
              <a:gd name="connsiteY15" fmla="*/ 298 h 6886328"/>
              <a:gd name="connsiteX16" fmla="*/ 3429267 w 5920103"/>
              <a:gd name="connsiteY16" fmla="*/ 0 h 6886328"/>
              <a:gd name="connsiteX0" fmla="*/ 3429267 w 5920103"/>
              <a:gd name="connsiteY0" fmla="*/ 0 h 6886328"/>
              <a:gd name="connsiteX1" fmla="*/ 4040840 w 5920103"/>
              <a:gd name="connsiteY1" fmla="*/ 0 h 6886328"/>
              <a:gd name="connsiteX2" fmla="*/ 4040840 w 5920103"/>
              <a:gd name="connsiteY2" fmla="*/ 9142 h 6886328"/>
              <a:gd name="connsiteX3" fmla="*/ 4277575 w 5920103"/>
              <a:gd name="connsiteY3" fmla="*/ 9142 h 6886328"/>
              <a:gd name="connsiteX4" fmla="*/ 4277575 w 5920103"/>
              <a:gd name="connsiteY4" fmla="*/ 9141 h 6886328"/>
              <a:gd name="connsiteX5" fmla="*/ 5920103 w 5920103"/>
              <a:gd name="connsiteY5" fmla="*/ 9141 h 6886328"/>
              <a:gd name="connsiteX6" fmla="*/ 5920103 w 5920103"/>
              <a:gd name="connsiteY6" fmla="*/ 6886328 h 6886328"/>
              <a:gd name="connsiteX7" fmla="*/ 3854807 w 5920103"/>
              <a:gd name="connsiteY7" fmla="*/ 6876289 h 6886328"/>
              <a:gd name="connsiteX8" fmla="*/ 3429267 w 5920103"/>
              <a:gd name="connsiteY8" fmla="*/ 6876288 h 6886328"/>
              <a:gd name="connsiteX9" fmla="*/ 3429267 w 5920103"/>
              <a:gd name="connsiteY9" fmla="*/ 6875680 h 6886328"/>
              <a:gd name="connsiteX10" fmla="*/ 3219512 w 5920103"/>
              <a:gd name="connsiteY10" fmla="*/ 6869354 h 6886328"/>
              <a:gd name="connsiteX11" fmla="*/ 464211 w 5920103"/>
              <a:gd name="connsiteY11" fmla="*/ 5163415 h 6886328"/>
              <a:gd name="connsiteX12" fmla="*/ 458834 w 5920103"/>
              <a:gd name="connsiteY12" fmla="*/ 1722175 h 6886328"/>
              <a:gd name="connsiteX13" fmla="*/ 3208791 w 5920103"/>
              <a:gd name="connsiteY13" fmla="*/ 7637 h 6886328"/>
              <a:gd name="connsiteX14" fmla="*/ 3429267 w 5920103"/>
              <a:gd name="connsiteY14" fmla="*/ 298 h 6886328"/>
              <a:gd name="connsiteX15" fmla="*/ 3429267 w 5920103"/>
              <a:gd name="connsiteY15" fmla="*/ 0 h 6886328"/>
              <a:gd name="connsiteX0" fmla="*/ 3429267 w 5920103"/>
              <a:gd name="connsiteY0" fmla="*/ 0 h 6888901"/>
              <a:gd name="connsiteX1" fmla="*/ 4040840 w 5920103"/>
              <a:gd name="connsiteY1" fmla="*/ 0 h 6888901"/>
              <a:gd name="connsiteX2" fmla="*/ 4040840 w 5920103"/>
              <a:gd name="connsiteY2" fmla="*/ 9142 h 6888901"/>
              <a:gd name="connsiteX3" fmla="*/ 4277575 w 5920103"/>
              <a:gd name="connsiteY3" fmla="*/ 9142 h 6888901"/>
              <a:gd name="connsiteX4" fmla="*/ 4277575 w 5920103"/>
              <a:gd name="connsiteY4" fmla="*/ 9141 h 6888901"/>
              <a:gd name="connsiteX5" fmla="*/ 5920103 w 5920103"/>
              <a:gd name="connsiteY5" fmla="*/ 9141 h 6888901"/>
              <a:gd name="connsiteX6" fmla="*/ 5920103 w 5920103"/>
              <a:gd name="connsiteY6" fmla="*/ 6886328 h 6888901"/>
              <a:gd name="connsiteX7" fmla="*/ 3880032 w 5920103"/>
              <a:gd name="connsiteY7" fmla="*/ 6888901 h 6888901"/>
              <a:gd name="connsiteX8" fmla="*/ 3429267 w 5920103"/>
              <a:gd name="connsiteY8" fmla="*/ 6876288 h 6888901"/>
              <a:gd name="connsiteX9" fmla="*/ 3429267 w 5920103"/>
              <a:gd name="connsiteY9" fmla="*/ 6875680 h 6888901"/>
              <a:gd name="connsiteX10" fmla="*/ 3219512 w 5920103"/>
              <a:gd name="connsiteY10" fmla="*/ 6869354 h 6888901"/>
              <a:gd name="connsiteX11" fmla="*/ 464211 w 5920103"/>
              <a:gd name="connsiteY11" fmla="*/ 5163415 h 6888901"/>
              <a:gd name="connsiteX12" fmla="*/ 458834 w 5920103"/>
              <a:gd name="connsiteY12" fmla="*/ 1722175 h 6888901"/>
              <a:gd name="connsiteX13" fmla="*/ 3208791 w 5920103"/>
              <a:gd name="connsiteY13" fmla="*/ 7637 h 6888901"/>
              <a:gd name="connsiteX14" fmla="*/ 3429267 w 5920103"/>
              <a:gd name="connsiteY14" fmla="*/ 298 h 6888901"/>
              <a:gd name="connsiteX15" fmla="*/ 3429267 w 5920103"/>
              <a:gd name="connsiteY15" fmla="*/ 0 h 6888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920103" h="6888901">
                <a:moveTo>
                  <a:pt x="3429267" y="0"/>
                </a:moveTo>
                <a:lnTo>
                  <a:pt x="4040840" y="0"/>
                </a:lnTo>
                <a:lnTo>
                  <a:pt x="4040840" y="9142"/>
                </a:lnTo>
                <a:lnTo>
                  <a:pt x="4277575" y="9142"/>
                </a:lnTo>
                <a:lnTo>
                  <a:pt x="4277575" y="9141"/>
                </a:lnTo>
                <a:lnTo>
                  <a:pt x="5920103" y="9141"/>
                </a:lnTo>
                <a:lnTo>
                  <a:pt x="5920103" y="6886328"/>
                </a:lnTo>
                <a:lnTo>
                  <a:pt x="3880032" y="6888901"/>
                </a:lnTo>
                <a:lnTo>
                  <a:pt x="3429267" y="6876288"/>
                </a:lnTo>
                <a:lnTo>
                  <a:pt x="3429267" y="6875680"/>
                </a:lnTo>
                <a:lnTo>
                  <a:pt x="3219512" y="6869354"/>
                </a:lnTo>
                <a:cubicBezTo>
                  <a:pt x="2079060" y="6796873"/>
                  <a:pt x="1042669" y="6160531"/>
                  <a:pt x="464211" y="5163415"/>
                </a:cubicBezTo>
                <a:cubicBezTo>
                  <a:pt x="-152812" y="4099825"/>
                  <a:pt x="-154861" y="2787689"/>
                  <a:pt x="458834" y="1722175"/>
                </a:cubicBezTo>
                <a:cubicBezTo>
                  <a:pt x="1034173" y="723258"/>
                  <a:pt x="2068572" y="83682"/>
                  <a:pt x="3208791" y="7637"/>
                </a:cubicBezTo>
                <a:lnTo>
                  <a:pt x="3429267" y="298"/>
                </a:lnTo>
                <a:lnTo>
                  <a:pt x="3429267"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1554480" tIns="2194560" rIns="1188720">
            <a:noAutofit/>
          </a:bodyPr>
          <a:lstStyle>
            <a:lvl1pPr marL="0" indent="0" algn="ctr">
              <a:buNone/>
              <a:defRPr sz="1800">
                <a:solidFill>
                  <a:schemeClr val="accent1"/>
                </a:solidFill>
              </a:defRPr>
            </a:lvl1pPr>
          </a:lstStyle>
          <a:p>
            <a:r>
              <a:rPr lang="en-GB"/>
              <a:t>Drag picture to placeholder or click icon to add.</a:t>
            </a:r>
            <a:endParaRPr lang="en-US"/>
          </a:p>
        </p:txBody>
      </p:sp>
      <p:pic>
        <p:nvPicPr>
          <p:cNvPr id="8" name="Content Placeholder 13">
            <a:extLst>
              <a:ext uri="{FF2B5EF4-FFF2-40B4-BE49-F238E27FC236}">
                <a16:creationId xmlns:a16="http://schemas.microsoft.com/office/drawing/2014/main" id="{037329A3-5BA8-2A62-1D53-B5A586F5724B}"/>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auto">
          <a:xfrm>
            <a:off x="128634" y="-166174"/>
            <a:ext cx="2144112" cy="214411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33202256"/>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Title Slide No Imag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2788" y="685800"/>
            <a:ext cx="8411651" cy="2971800"/>
          </a:xfrm>
          <a:prstGeom prst="rect">
            <a:avLst/>
          </a:prstGeom>
        </p:spPr>
        <p:txBody>
          <a:bodyPr anchor="b"/>
          <a:lstStyle>
            <a:lvl1pPr>
              <a:defRPr sz="5400" b="1" i="0">
                <a:solidFill>
                  <a:schemeClr val="bg2"/>
                </a:solidFill>
                <a:latin typeface="Montserrat SemiBold" pitchFamily="2" charset="77"/>
              </a:defRPr>
            </a:lvl1pPr>
          </a:lstStyle>
          <a:p>
            <a:r>
              <a:rPr lang="en-US"/>
              <a:t>Click to edit Master title style</a:t>
            </a:r>
          </a:p>
        </p:txBody>
      </p:sp>
      <p:sp>
        <p:nvSpPr>
          <p:cNvPr id="3" name="Text Placeholder 2"/>
          <p:cNvSpPr>
            <a:spLocks noGrp="1"/>
          </p:cNvSpPr>
          <p:nvPr>
            <p:ph type="body" idx="1"/>
          </p:nvPr>
        </p:nvSpPr>
        <p:spPr>
          <a:xfrm>
            <a:off x="432618" y="4101321"/>
            <a:ext cx="8401818" cy="641350"/>
          </a:xfrm>
          <a:prstGeom prst="rect">
            <a:avLst/>
          </a:prstGeom>
        </p:spPr>
        <p:txBody>
          <a:bodyPr/>
          <a:lstStyle>
            <a:lvl1pPr marL="0" indent="0">
              <a:buNone/>
              <a:defRPr sz="2400">
                <a:solidFill>
                  <a:schemeClr val="accent2"/>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5" name="Slide Number Placeholder 5">
            <a:extLst>
              <a:ext uri="{FF2B5EF4-FFF2-40B4-BE49-F238E27FC236}">
                <a16:creationId xmlns:a16="http://schemas.microsoft.com/office/drawing/2014/main" id="{577A0D8B-1D3E-F6EA-5B2E-C53771D309BA}"/>
              </a:ext>
            </a:extLst>
          </p:cNvPr>
          <p:cNvSpPr>
            <a:spLocks noGrp="1"/>
          </p:cNvSpPr>
          <p:nvPr>
            <p:ph type="sldNum" sz="quarter" idx="10"/>
          </p:nvPr>
        </p:nvSpPr>
        <p:spPr/>
        <p:txBody>
          <a:bodyPr/>
          <a:lstStyle>
            <a:lvl1pPr>
              <a:defRPr>
                <a:solidFill>
                  <a:schemeClr val="accent2"/>
                </a:solidFill>
              </a:defRPr>
            </a:lvl1pPr>
          </a:lstStyle>
          <a:p>
            <a:pPr>
              <a:defRPr/>
            </a:pPr>
            <a:fld id="{E147F4B0-95A8-43DB-BFB5-8B095617379B}" type="slidenum">
              <a:rPr lang="en-US"/>
              <a:pPr>
                <a:defRPr/>
              </a:pPr>
              <a:t>‹#›</a:t>
            </a:fld>
            <a:endParaRPr lang="en-US"/>
          </a:p>
        </p:txBody>
      </p:sp>
      <p:sp>
        <p:nvSpPr>
          <p:cNvPr id="6" name="Footer Placeholder 4">
            <a:extLst>
              <a:ext uri="{FF2B5EF4-FFF2-40B4-BE49-F238E27FC236}">
                <a16:creationId xmlns:a16="http://schemas.microsoft.com/office/drawing/2014/main" id="{F59C2888-9FE2-8C71-954F-1E30CF83D8E4}"/>
              </a:ext>
            </a:extLst>
          </p:cNvPr>
          <p:cNvSpPr>
            <a:spLocks noGrp="1"/>
          </p:cNvSpPr>
          <p:nvPr>
            <p:ph type="ftr" sz="quarter" idx="11"/>
          </p:nvPr>
        </p:nvSpPr>
        <p:spPr/>
        <p:txBody>
          <a:bodyPr/>
          <a:lstStyle>
            <a:lvl1pPr algn="l" eaLnBrk="1" fontAlgn="auto" hangingPunct="1">
              <a:spcBef>
                <a:spcPts val="0"/>
              </a:spcBef>
              <a:spcAft>
                <a:spcPts val="0"/>
              </a:spcAft>
              <a:defRPr sz="800">
                <a:solidFill>
                  <a:schemeClr val="bg2"/>
                </a:solidFill>
                <a:latin typeface="+mn-lt"/>
              </a:defRPr>
            </a:lvl1pPr>
          </a:lstStyle>
          <a:p>
            <a:pPr>
              <a:defRPr/>
            </a:pPr>
            <a:r>
              <a:rPr lang="en-US"/>
              <a:t>© 2023 Comcast. All rights reserved.</a:t>
            </a:r>
          </a:p>
        </p:txBody>
      </p:sp>
      <p:sp>
        <p:nvSpPr>
          <p:cNvPr id="9" name="Freeform 8">
            <a:extLst>
              <a:ext uri="{FF2B5EF4-FFF2-40B4-BE49-F238E27FC236}">
                <a16:creationId xmlns:a16="http://schemas.microsoft.com/office/drawing/2014/main" id="{ACB0759A-FE16-52B0-954C-A43DA66BC1DD}"/>
              </a:ext>
            </a:extLst>
          </p:cNvPr>
          <p:cNvSpPr/>
          <p:nvPr userDrawn="1"/>
        </p:nvSpPr>
        <p:spPr>
          <a:xfrm>
            <a:off x="9983595" y="5254908"/>
            <a:ext cx="1982224" cy="1603093"/>
          </a:xfrm>
          <a:custGeom>
            <a:avLst/>
            <a:gdLst>
              <a:gd name="connsiteX0" fmla="*/ 991112 w 1982224"/>
              <a:gd name="connsiteY0" fmla="*/ 0 h 1603093"/>
              <a:gd name="connsiteX1" fmla="*/ 1982224 w 1982224"/>
              <a:gd name="connsiteY1" fmla="*/ 991112 h 1603093"/>
              <a:gd name="connsiteX2" fmla="*/ 1812958 w 1982224"/>
              <a:gd name="connsiteY2" fmla="*/ 1545252 h 1603093"/>
              <a:gd name="connsiteX3" fmla="*/ 1765235 w 1982224"/>
              <a:gd name="connsiteY3" fmla="*/ 1603093 h 1603093"/>
              <a:gd name="connsiteX4" fmla="*/ 216990 w 1982224"/>
              <a:gd name="connsiteY4" fmla="*/ 1603093 h 1603093"/>
              <a:gd name="connsiteX5" fmla="*/ 169267 w 1982224"/>
              <a:gd name="connsiteY5" fmla="*/ 1545252 h 1603093"/>
              <a:gd name="connsiteX6" fmla="*/ 0 w 1982224"/>
              <a:gd name="connsiteY6" fmla="*/ 991112 h 1603093"/>
              <a:gd name="connsiteX7" fmla="*/ 991112 w 1982224"/>
              <a:gd name="connsiteY7" fmla="*/ 0 h 1603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82224" h="1603093">
                <a:moveTo>
                  <a:pt x="991112" y="0"/>
                </a:moveTo>
                <a:cubicBezTo>
                  <a:pt x="1538488" y="0"/>
                  <a:pt x="1982224" y="443736"/>
                  <a:pt x="1982224" y="991112"/>
                </a:cubicBezTo>
                <a:cubicBezTo>
                  <a:pt x="1982224" y="1196378"/>
                  <a:pt x="1919824" y="1387070"/>
                  <a:pt x="1812958" y="1545252"/>
                </a:cubicBezTo>
                <a:lnTo>
                  <a:pt x="1765235" y="1603093"/>
                </a:lnTo>
                <a:lnTo>
                  <a:pt x="216990" y="1603093"/>
                </a:lnTo>
                <a:lnTo>
                  <a:pt x="169267" y="1545252"/>
                </a:lnTo>
                <a:cubicBezTo>
                  <a:pt x="62401" y="1387070"/>
                  <a:pt x="0" y="1196378"/>
                  <a:pt x="0" y="991112"/>
                </a:cubicBezTo>
                <a:cubicBezTo>
                  <a:pt x="0" y="443736"/>
                  <a:pt x="443736" y="0"/>
                  <a:pt x="991112"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Date Placeholder 3">
            <a:extLst>
              <a:ext uri="{FF2B5EF4-FFF2-40B4-BE49-F238E27FC236}">
                <a16:creationId xmlns:a16="http://schemas.microsoft.com/office/drawing/2014/main" id="{7151E7D3-9793-A945-DBB8-41C6192B349A}"/>
              </a:ext>
            </a:extLst>
          </p:cNvPr>
          <p:cNvSpPr>
            <a:spLocks noGrp="1"/>
          </p:cNvSpPr>
          <p:nvPr>
            <p:ph type="dt" sz="half" idx="12"/>
          </p:nvPr>
        </p:nvSpPr>
        <p:spPr>
          <a:xfrm>
            <a:off x="457200" y="6107578"/>
            <a:ext cx="4114799" cy="274320"/>
          </a:xfrm>
          <a:prstGeom prst="rect">
            <a:avLst/>
          </a:prstGeom>
        </p:spPr>
        <p:txBody>
          <a:bodyPr lIns="0" tIns="0" rIns="0" bIns="0">
            <a:noAutofit/>
          </a:bodyPr>
          <a:lstStyle>
            <a:lvl1pPr>
              <a:defRPr sz="1400">
                <a:solidFill>
                  <a:schemeClr val="accent2"/>
                </a:solidFill>
              </a:defRPr>
            </a:lvl1pPr>
          </a:lstStyle>
          <a:p>
            <a:endParaRPr lang="en-US"/>
          </a:p>
        </p:txBody>
      </p:sp>
      <p:pic>
        <p:nvPicPr>
          <p:cNvPr id="7" name="Content Placeholder 13">
            <a:extLst>
              <a:ext uri="{FF2B5EF4-FFF2-40B4-BE49-F238E27FC236}">
                <a16:creationId xmlns:a16="http://schemas.microsoft.com/office/drawing/2014/main" id="{884C0D7E-BB11-6FB3-894B-7390B29BFFB1}"/>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auto">
          <a:xfrm>
            <a:off x="10074909" y="5345725"/>
            <a:ext cx="1771994" cy="1771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367716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userDrawn="1">
  <p:cSld name="10_Title Slide 2">
    <p:bg>
      <p:bgPr>
        <a:solidFill>
          <a:schemeClr val="accent3"/>
        </a:solidFill>
        <a:effectLst/>
      </p:bgPr>
    </p:bg>
    <p:spTree>
      <p:nvGrpSpPr>
        <p:cNvPr id="1" name=""/>
        <p:cNvGrpSpPr/>
        <p:nvPr/>
      </p:nvGrpSpPr>
      <p:grpSpPr>
        <a:xfrm>
          <a:off x="0" y="0"/>
          <a:ext cx="0" cy="0"/>
          <a:chOff x="0" y="0"/>
          <a:chExt cx="0" cy="0"/>
        </a:xfrm>
      </p:grpSpPr>
      <p:sp>
        <p:nvSpPr>
          <p:cNvPr id="17" name="Freeform 16">
            <a:extLst>
              <a:ext uri="{FF2B5EF4-FFF2-40B4-BE49-F238E27FC236}">
                <a16:creationId xmlns:a16="http://schemas.microsoft.com/office/drawing/2014/main" id="{1246520B-AE11-113E-2C7D-05E324FE73EF}"/>
              </a:ext>
            </a:extLst>
          </p:cNvPr>
          <p:cNvSpPr/>
          <p:nvPr userDrawn="1"/>
        </p:nvSpPr>
        <p:spPr>
          <a:xfrm rot="5400000">
            <a:off x="2667000" y="-2667000"/>
            <a:ext cx="6858000" cy="12192000"/>
          </a:xfrm>
          <a:custGeom>
            <a:avLst/>
            <a:gdLst>
              <a:gd name="connsiteX0" fmla="*/ 0 w 6858000"/>
              <a:gd name="connsiteY0" fmla="*/ 12192000 h 12192000"/>
              <a:gd name="connsiteX1" fmla="*/ 0 w 6858000"/>
              <a:gd name="connsiteY1" fmla="*/ 0 h 12192000"/>
              <a:gd name="connsiteX2" fmla="*/ 2374132 w 6858000"/>
              <a:gd name="connsiteY2" fmla="*/ 0 h 12192000"/>
              <a:gd name="connsiteX3" fmla="*/ 2487876 w 6858000"/>
              <a:gd name="connsiteY3" fmla="*/ 32300 h 12192000"/>
              <a:gd name="connsiteX4" fmla="*/ 6858000 w 6858000"/>
              <a:gd name="connsiteY4" fmla="*/ 5972338 h 12192000"/>
              <a:gd name="connsiteX5" fmla="*/ 6858000 w 6858000"/>
              <a:gd name="connsiteY5" fmla="*/ 12192000 h 121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58000" h="12192000">
                <a:moveTo>
                  <a:pt x="0" y="12192000"/>
                </a:moveTo>
                <a:lnTo>
                  <a:pt x="0" y="0"/>
                </a:lnTo>
                <a:lnTo>
                  <a:pt x="2374132" y="0"/>
                </a:lnTo>
                <a:lnTo>
                  <a:pt x="2487876" y="32300"/>
                </a:lnTo>
                <a:cubicBezTo>
                  <a:pt x="5019704" y="819780"/>
                  <a:pt x="6858000" y="3181381"/>
                  <a:pt x="6858000" y="5972338"/>
                </a:cubicBezTo>
                <a:lnTo>
                  <a:pt x="6858000" y="1219200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 name="Slide Number Placeholder 5">
            <a:extLst>
              <a:ext uri="{FF2B5EF4-FFF2-40B4-BE49-F238E27FC236}">
                <a16:creationId xmlns:a16="http://schemas.microsoft.com/office/drawing/2014/main" id="{8B3ADEC0-A32E-6893-2E3F-FB07C4CC3B2E}"/>
              </a:ext>
            </a:extLst>
          </p:cNvPr>
          <p:cNvSpPr>
            <a:spLocks noGrp="1"/>
          </p:cNvSpPr>
          <p:nvPr>
            <p:ph type="sldNum" sz="quarter" idx="10"/>
          </p:nvPr>
        </p:nvSpPr>
        <p:spPr>
          <a:xfrm>
            <a:off x="11341100" y="6424613"/>
            <a:ext cx="393700" cy="200025"/>
          </a:xfrm>
        </p:spPr>
        <p:txBody>
          <a:bodyPr/>
          <a:lstStyle>
            <a:lvl1pPr>
              <a:defRPr baseline="0">
                <a:solidFill>
                  <a:schemeClr val="tx2"/>
                </a:solidFill>
              </a:defRPr>
            </a:lvl1pPr>
          </a:lstStyle>
          <a:p>
            <a:pPr>
              <a:defRPr/>
            </a:pPr>
            <a:fld id="{5F05AE8C-CF5F-4A4E-B69B-C9D8FA4EC18A}" type="slidenum">
              <a:rPr lang="en-US" smtClean="0"/>
              <a:pPr>
                <a:defRPr/>
              </a:pPr>
              <a:t>‹#›</a:t>
            </a:fld>
            <a:endParaRPr lang="en-US"/>
          </a:p>
        </p:txBody>
      </p:sp>
      <p:sp>
        <p:nvSpPr>
          <p:cNvPr id="4" name="Footer Placeholder 4">
            <a:extLst>
              <a:ext uri="{FF2B5EF4-FFF2-40B4-BE49-F238E27FC236}">
                <a16:creationId xmlns:a16="http://schemas.microsoft.com/office/drawing/2014/main" id="{53679675-1C7E-31F5-9D31-B7EECD6AD1A2}"/>
              </a:ext>
            </a:extLst>
          </p:cNvPr>
          <p:cNvSpPr>
            <a:spLocks noGrp="1"/>
          </p:cNvSpPr>
          <p:nvPr>
            <p:ph type="ftr" sz="quarter" idx="11"/>
          </p:nvPr>
        </p:nvSpPr>
        <p:spPr>
          <a:xfrm>
            <a:off x="463550" y="6427788"/>
            <a:ext cx="4114800" cy="198437"/>
          </a:xfrm>
        </p:spPr>
        <p:txBody>
          <a:bodyPr/>
          <a:lstStyle>
            <a:lvl1pPr algn="l" eaLnBrk="1" fontAlgn="auto" hangingPunct="1">
              <a:spcBef>
                <a:spcPts val="0"/>
              </a:spcBef>
              <a:spcAft>
                <a:spcPts val="0"/>
              </a:spcAft>
              <a:defRPr sz="800" baseline="0">
                <a:solidFill>
                  <a:schemeClr val="bg2"/>
                </a:solidFill>
                <a:latin typeface="+mn-lt"/>
              </a:defRPr>
            </a:lvl1pPr>
          </a:lstStyle>
          <a:p>
            <a:pPr>
              <a:defRPr/>
            </a:pPr>
            <a:r>
              <a:rPr lang="en-US"/>
              <a:t>© 2023 Comcast. All rights reserved.</a:t>
            </a:r>
          </a:p>
        </p:txBody>
      </p:sp>
      <p:grpSp>
        <p:nvGrpSpPr>
          <p:cNvPr id="7" name="Group 12">
            <a:extLst>
              <a:ext uri="{FF2B5EF4-FFF2-40B4-BE49-F238E27FC236}">
                <a16:creationId xmlns:a16="http://schemas.microsoft.com/office/drawing/2014/main" id="{7A531492-E8D3-0527-D96B-F4F28EC4EE37}"/>
              </a:ext>
            </a:extLst>
          </p:cNvPr>
          <p:cNvGrpSpPr>
            <a:grpSpLocks noChangeAspect="1"/>
          </p:cNvGrpSpPr>
          <p:nvPr userDrawn="1"/>
        </p:nvGrpSpPr>
        <p:grpSpPr bwMode="auto">
          <a:xfrm>
            <a:off x="8680450" y="6437313"/>
            <a:ext cx="2522538" cy="184150"/>
            <a:chOff x="288" y="4035"/>
            <a:chExt cx="1589" cy="116"/>
          </a:xfrm>
          <a:solidFill>
            <a:schemeClr val="tx2"/>
          </a:solidFill>
        </p:grpSpPr>
        <p:sp>
          <p:nvSpPr>
            <p:cNvPr id="8" name="Freeform 5">
              <a:extLst>
                <a:ext uri="{FF2B5EF4-FFF2-40B4-BE49-F238E27FC236}">
                  <a16:creationId xmlns:a16="http://schemas.microsoft.com/office/drawing/2014/main" id="{F9058507-FD99-E598-FBD5-570057E1CC7C}"/>
                </a:ext>
              </a:extLst>
            </p:cNvPr>
            <p:cNvSpPr>
              <a:spLocks noEditPoints="1"/>
            </p:cNvSpPr>
            <p:nvPr/>
          </p:nvSpPr>
          <p:spPr bwMode="auto">
            <a:xfrm>
              <a:off x="288" y="4035"/>
              <a:ext cx="769" cy="116"/>
            </a:xfrm>
            <a:custGeom>
              <a:avLst/>
              <a:gdLst>
                <a:gd name="T0" fmla="*/ 30 w 3874"/>
                <a:gd name="T1" fmla="*/ 0 h 573"/>
                <a:gd name="T2" fmla="*/ 28 w 3874"/>
                <a:gd name="T3" fmla="*/ 0 h 573"/>
                <a:gd name="T4" fmla="*/ 28 w 3874"/>
                <a:gd name="T5" fmla="*/ 0 h 573"/>
                <a:gd name="T6" fmla="*/ 29 w 3874"/>
                <a:gd name="T7" fmla="*/ 5 h 573"/>
                <a:gd name="T8" fmla="*/ 29 w 3874"/>
                <a:gd name="T9" fmla="*/ 0 h 573"/>
                <a:gd name="T10" fmla="*/ 30 w 3874"/>
                <a:gd name="T11" fmla="*/ 0 h 573"/>
                <a:gd name="T12" fmla="*/ 22 w 3874"/>
                <a:gd name="T13" fmla="*/ 0 h 573"/>
                <a:gd name="T14" fmla="*/ 20 w 3874"/>
                <a:gd name="T15" fmla="*/ 4 h 573"/>
                <a:gd name="T16" fmla="*/ 20 w 3874"/>
                <a:gd name="T17" fmla="*/ 5 h 573"/>
                <a:gd name="T18" fmla="*/ 21 w 3874"/>
                <a:gd name="T19" fmla="*/ 3 h 573"/>
                <a:gd name="T20" fmla="*/ 23 w 3874"/>
                <a:gd name="T21" fmla="*/ 5 h 573"/>
                <a:gd name="T22" fmla="*/ 22 w 3874"/>
                <a:gd name="T23" fmla="*/ 0 h 573"/>
                <a:gd name="T24" fmla="*/ 21 w 3874"/>
                <a:gd name="T25" fmla="*/ 2 h 573"/>
                <a:gd name="T26" fmla="*/ 22 w 3874"/>
                <a:gd name="T27" fmla="*/ 1 h 573"/>
                <a:gd name="T28" fmla="*/ 21 w 3874"/>
                <a:gd name="T29" fmla="*/ 2 h 573"/>
                <a:gd name="T30" fmla="*/ 14 w 3874"/>
                <a:gd name="T31" fmla="*/ 0 h 573"/>
                <a:gd name="T32" fmla="*/ 12 w 3874"/>
                <a:gd name="T33" fmla="*/ 4 h 573"/>
                <a:gd name="T34" fmla="*/ 11 w 3874"/>
                <a:gd name="T35" fmla="*/ 0 h 573"/>
                <a:gd name="T36" fmla="*/ 10 w 3874"/>
                <a:gd name="T37" fmla="*/ 4 h 573"/>
                <a:gd name="T38" fmla="*/ 10 w 3874"/>
                <a:gd name="T39" fmla="*/ 5 h 573"/>
                <a:gd name="T40" fmla="*/ 11 w 3874"/>
                <a:gd name="T41" fmla="*/ 1 h 573"/>
                <a:gd name="T42" fmla="*/ 12 w 3874"/>
                <a:gd name="T43" fmla="*/ 4 h 573"/>
                <a:gd name="T44" fmla="*/ 13 w 3874"/>
                <a:gd name="T45" fmla="*/ 1 h 573"/>
                <a:gd name="T46" fmla="*/ 15 w 3874"/>
                <a:gd name="T47" fmla="*/ 5 h 573"/>
                <a:gd name="T48" fmla="*/ 14 w 3874"/>
                <a:gd name="T49" fmla="*/ 0 h 573"/>
                <a:gd name="T50" fmla="*/ 17 w 3874"/>
                <a:gd name="T51" fmla="*/ 0 h 573"/>
                <a:gd name="T52" fmla="*/ 19 w 3874"/>
                <a:gd name="T53" fmla="*/ 1 h 573"/>
                <a:gd name="T54" fmla="*/ 19 w 3874"/>
                <a:gd name="T55" fmla="*/ 1 h 573"/>
                <a:gd name="T56" fmla="*/ 17 w 3874"/>
                <a:gd name="T57" fmla="*/ 0 h 573"/>
                <a:gd name="T58" fmla="*/ 17 w 3874"/>
                <a:gd name="T59" fmla="*/ 5 h 573"/>
                <a:gd name="T60" fmla="*/ 19 w 3874"/>
                <a:gd name="T61" fmla="*/ 4 h 573"/>
                <a:gd name="T62" fmla="*/ 16 w 3874"/>
                <a:gd name="T63" fmla="*/ 2 h 573"/>
                <a:gd name="T64" fmla="*/ 2 w 3874"/>
                <a:gd name="T65" fmla="*/ 0 h 573"/>
                <a:gd name="T66" fmla="*/ 4 w 3874"/>
                <a:gd name="T67" fmla="*/ 1 h 573"/>
                <a:gd name="T68" fmla="*/ 4 w 3874"/>
                <a:gd name="T69" fmla="*/ 1 h 573"/>
                <a:gd name="T70" fmla="*/ 4 w 3874"/>
                <a:gd name="T71" fmla="*/ 1 h 573"/>
                <a:gd name="T72" fmla="*/ 0 w 3874"/>
                <a:gd name="T73" fmla="*/ 2 h 573"/>
                <a:gd name="T74" fmla="*/ 4 w 3874"/>
                <a:gd name="T75" fmla="*/ 4 h 573"/>
                <a:gd name="T76" fmla="*/ 2 w 3874"/>
                <a:gd name="T77" fmla="*/ 4 h 573"/>
                <a:gd name="T78" fmla="*/ 2 w 3874"/>
                <a:gd name="T79" fmla="*/ 0 h 573"/>
                <a:gd name="T80" fmla="*/ 26 w 3874"/>
                <a:gd name="T81" fmla="*/ 2 h 573"/>
                <a:gd name="T82" fmla="*/ 25 w 3874"/>
                <a:gd name="T83" fmla="*/ 1 h 573"/>
                <a:gd name="T84" fmla="*/ 26 w 3874"/>
                <a:gd name="T85" fmla="*/ 1 h 573"/>
                <a:gd name="T86" fmla="*/ 27 w 3874"/>
                <a:gd name="T87" fmla="*/ 0 h 573"/>
                <a:gd name="T88" fmla="*/ 26 w 3874"/>
                <a:gd name="T89" fmla="*/ 0 h 573"/>
                <a:gd name="T90" fmla="*/ 25 w 3874"/>
                <a:gd name="T91" fmla="*/ 2 h 573"/>
                <a:gd name="T92" fmla="*/ 26 w 3874"/>
                <a:gd name="T93" fmla="*/ 3 h 573"/>
                <a:gd name="T94" fmla="*/ 24 w 3874"/>
                <a:gd name="T95" fmla="*/ 4 h 573"/>
                <a:gd name="T96" fmla="*/ 24 w 3874"/>
                <a:gd name="T97" fmla="*/ 4 h 573"/>
                <a:gd name="T98" fmla="*/ 26 w 3874"/>
                <a:gd name="T99" fmla="*/ 5 h 573"/>
                <a:gd name="T100" fmla="*/ 26 w 3874"/>
                <a:gd name="T101" fmla="*/ 2 h 573"/>
                <a:gd name="T102" fmla="*/ 7 w 3874"/>
                <a:gd name="T103" fmla="*/ 0 h 573"/>
                <a:gd name="T104" fmla="*/ 7 w 3874"/>
                <a:gd name="T105" fmla="*/ 5 h 573"/>
                <a:gd name="T106" fmla="*/ 7 w 3874"/>
                <a:gd name="T107" fmla="*/ 0 h 573"/>
                <a:gd name="T108" fmla="*/ 7 w 3874"/>
                <a:gd name="T109" fmla="*/ 4 h 573"/>
                <a:gd name="T110" fmla="*/ 7 w 3874"/>
                <a:gd name="T111" fmla="*/ 0 h 573"/>
                <a:gd name="T112" fmla="*/ 7 w 3874"/>
                <a:gd name="T113" fmla="*/ 4 h 57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874" h="573">
                  <a:moveTo>
                    <a:pt x="3874" y="31"/>
                  </a:moveTo>
                  <a:lnTo>
                    <a:pt x="3874" y="31"/>
                  </a:lnTo>
                  <a:cubicBezTo>
                    <a:pt x="3874" y="16"/>
                    <a:pt x="3861" y="3"/>
                    <a:pt x="3846" y="3"/>
                  </a:cubicBezTo>
                  <a:lnTo>
                    <a:pt x="3527" y="3"/>
                  </a:lnTo>
                  <a:cubicBezTo>
                    <a:pt x="3512" y="3"/>
                    <a:pt x="3499" y="15"/>
                    <a:pt x="3499" y="31"/>
                  </a:cubicBezTo>
                  <a:cubicBezTo>
                    <a:pt x="3499" y="47"/>
                    <a:pt x="3511" y="59"/>
                    <a:pt x="3527" y="59"/>
                  </a:cubicBezTo>
                  <a:lnTo>
                    <a:pt x="3661" y="59"/>
                  </a:lnTo>
                  <a:lnTo>
                    <a:pt x="3661" y="569"/>
                  </a:lnTo>
                  <a:lnTo>
                    <a:pt x="3713" y="569"/>
                  </a:lnTo>
                  <a:lnTo>
                    <a:pt x="3713" y="59"/>
                  </a:lnTo>
                  <a:lnTo>
                    <a:pt x="3846" y="59"/>
                  </a:lnTo>
                  <a:cubicBezTo>
                    <a:pt x="3862" y="60"/>
                    <a:pt x="3874" y="47"/>
                    <a:pt x="3874" y="31"/>
                  </a:cubicBezTo>
                  <a:close/>
                  <a:moveTo>
                    <a:pt x="2759" y="0"/>
                  </a:moveTo>
                  <a:lnTo>
                    <a:pt x="2759" y="0"/>
                  </a:lnTo>
                  <a:cubicBezTo>
                    <a:pt x="2748" y="0"/>
                    <a:pt x="2741" y="7"/>
                    <a:pt x="2735" y="16"/>
                  </a:cubicBezTo>
                  <a:cubicBezTo>
                    <a:pt x="2731" y="26"/>
                    <a:pt x="2523" y="538"/>
                    <a:pt x="2523" y="538"/>
                  </a:cubicBezTo>
                  <a:cubicBezTo>
                    <a:pt x="2522" y="541"/>
                    <a:pt x="2521" y="544"/>
                    <a:pt x="2521" y="547"/>
                  </a:cubicBezTo>
                  <a:cubicBezTo>
                    <a:pt x="2521" y="562"/>
                    <a:pt x="2532" y="573"/>
                    <a:pt x="2547" y="573"/>
                  </a:cubicBezTo>
                  <a:cubicBezTo>
                    <a:pt x="2558" y="573"/>
                    <a:pt x="2567" y="566"/>
                    <a:pt x="2570" y="556"/>
                  </a:cubicBezTo>
                  <a:lnTo>
                    <a:pt x="2651" y="359"/>
                  </a:lnTo>
                  <a:lnTo>
                    <a:pt x="2868" y="359"/>
                  </a:lnTo>
                  <a:lnTo>
                    <a:pt x="2954" y="569"/>
                  </a:lnTo>
                  <a:lnTo>
                    <a:pt x="3009" y="569"/>
                  </a:lnTo>
                  <a:cubicBezTo>
                    <a:pt x="3009" y="569"/>
                    <a:pt x="2788" y="25"/>
                    <a:pt x="2784" y="16"/>
                  </a:cubicBezTo>
                  <a:cubicBezTo>
                    <a:pt x="2779" y="7"/>
                    <a:pt x="2770" y="0"/>
                    <a:pt x="2759" y="0"/>
                  </a:cubicBezTo>
                  <a:close/>
                  <a:moveTo>
                    <a:pt x="2675" y="302"/>
                  </a:moveTo>
                  <a:lnTo>
                    <a:pt x="2675" y="302"/>
                  </a:lnTo>
                  <a:lnTo>
                    <a:pt x="2760" y="93"/>
                  </a:lnTo>
                  <a:lnTo>
                    <a:pt x="2845" y="302"/>
                  </a:lnTo>
                  <a:lnTo>
                    <a:pt x="2675" y="302"/>
                  </a:lnTo>
                  <a:close/>
                  <a:moveTo>
                    <a:pt x="1742" y="0"/>
                  </a:moveTo>
                  <a:lnTo>
                    <a:pt x="1742" y="0"/>
                  </a:lnTo>
                  <a:cubicBezTo>
                    <a:pt x="1731" y="0"/>
                    <a:pt x="1723" y="7"/>
                    <a:pt x="1718" y="16"/>
                  </a:cubicBezTo>
                  <a:cubicBezTo>
                    <a:pt x="1714" y="25"/>
                    <a:pt x="1549" y="430"/>
                    <a:pt x="1549" y="430"/>
                  </a:cubicBezTo>
                  <a:cubicBezTo>
                    <a:pt x="1549" y="430"/>
                    <a:pt x="1385" y="24"/>
                    <a:pt x="1381" y="16"/>
                  </a:cubicBezTo>
                  <a:cubicBezTo>
                    <a:pt x="1376" y="7"/>
                    <a:pt x="1368" y="0"/>
                    <a:pt x="1357" y="0"/>
                  </a:cubicBezTo>
                  <a:cubicBezTo>
                    <a:pt x="1345" y="0"/>
                    <a:pt x="1335" y="9"/>
                    <a:pt x="1332" y="21"/>
                  </a:cubicBezTo>
                  <a:cubicBezTo>
                    <a:pt x="1329" y="33"/>
                    <a:pt x="1237" y="543"/>
                    <a:pt x="1237" y="543"/>
                  </a:cubicBezTo>
                  <a:cubicBezTo>
                    <a:pt x="1237" y="545"/>
                    <a:pt x="1236" y="546"/>
                    <a:pt x="1236" y="548"/>
                  </a:cubicBezTo>
                  <a:cubicBezTo>
                    <a:pt x="1236" y="562"/>
                    <a:pt x="1247" y="573"/>
                    <a:pt x="1261" y="573"/>
                  </a:cubicBezTo>
                  <a:cubicBezTo>
                    <a:pt x="1273" y="573"/>
                    <a:pt x="1284" y="564"/>
                    <a:pt x="1286" y="553"/>
                  </a:cubicBezTo>
                  <a:lnTo>
                    <a:pt x="1366" y="116"/>
                  </a:lnTo>
                  <a:cubicBezTo>
                    <a:pt x="1366" y="116"/>
                    <a:pt x="1521" y="498"/>
                    <a:pt x="1526" y="507"/>
                  </a:cubicBezTo>
                  <a:cubicBezTo>
                    <a:pt x="1530" y="516"/>
                    <a:pt x="1538" y="523"/>
                    <a:pt x="1549" y="523"/>
                  </a:cubicBezTo>
                  <a:cubicBezTo>
                    <a:pt x="1560" y="523"/>
                    <a:pt x="1569" y="516"/>
                    <a:pt x="1573" y="507"/>
                  </a:cubicBezTo>
                  <a:cubicBezTo>
                    <a:pt x="1578" y="498"/>
                    <a:pt x="1732" y="116"/>
                    <a:pt x="1732" y="116"/>
                  </a:cubicBezTo>
                  <a:lnTo>
                    <a:pt x="1816" y="570"/>
                  </a:lnTo>
                  <a:lnTo>
                    <a:pt x="1868" y="570"/>
                  </a:lnTo>
                  <a:cubicBezTo>
                    <a:pt x="1868" y="570"/>
                    <a:pt x="1770" y="33"/>
                    <a:pt x="1767" y="21"/>
                  </a:cubicBezTo>
                  <a:cubicBezTo>
                    <a:pt x="1763" y="9"/>
                    <a:pt x="1754" y="0"/>
                    <a:pt x="1742" y="0"/>
                  </a:cubicBezTo>
                  <a:close/>
                  <a:moveTo>
                    <a:pt x="2226" y="57"/>
                  </a:moveTo>
                  <a:lnTo>
                    <a:pt x="2226" y="57"/>
                  </a:lnTo>
                  <a:cubicBezTo>
                    <a:pt x="2288" y="57"/>
                    <a:pt x="2345" y="80"/>
                    <a:pt x="2389" y="124"/>
                  </a:cubicBezTo>
                  <a:cubicBezTo>
                    <a:pt x="2399" y="134"/>
                    <a:pt x="2419" y="134"/>
                    <a:pt x="2429" y="124"/>
                  </a:cubicBezTo>
                  <a:cubicBezTo>
                    <a:pt x="2434" y="119"/>
                    <a:pt x="2437" y="112"/>
                    <a:pt x="2437" y="104"/>
                  </a:cubicBezTo>
                  <a:cubicBezTo>
                    <a:pt x="2437" y="96"/>
                    <a:pt x="2434" y="89"/>
                    <a:pt x="2429" y="84"/>
                  </a:cubicBezTo>
                  <a:lnTo>
                    <a:pt x="2426" y="80"/>
                  </a:lnTo>
                  <a:cubicBezTo>
                    <a:pt x="2372" y="29"/>
                    <a:pt x="2301" y="0"/>
                    <a:pt x="2226" y="0"/>
                  </a:cubicBezTo>
                  <a:cubicBezTo>
                    <a:pt x="2069" y="0"/>
                    <a:pt x="1940" y="129"/>
                    <a:pt x="1940" y="287"/>
                  </a:cubicBezTo>
                  <a:cubicBezTo>
                    <a:pt x="1940" y="445"/>
                    <a:pt x="2069" y="573"/>
                    <a:pt x="2226" y="573"/>
                  </a:cubicBezTo>
                  <a:cubicBezTo>
                    <a:pt x="2310" y="573"/>
                    <a:pt x="2385" y="538"/>
                    <a:pt x="2437" y="480"/>
                  </a:cubicBezTo>
                  <a:lnTo>
                    <a:pt x="2397" y="440"/>
                  </a:lnTo>
                  <a:cubicBezTo>
                    <a:pt x="2355" y="487"/>
                    <a:pt x="2294" y="516"/>
                    <a:pt x="2226" y="516"/>
                  </a:cubicBezTo>
                  <a:cubicBezTo>
                    <a:pt x="2100" y="516"/>
                    <a:pt x="1996" y="413"/>
                    <a:pt x="1996" y="286"/>
                  </a:cubicBezTo>
                  <a:cubicBezTo>
                    <a:pt x="1996" y="160"/>
                    <a:pt x="2100" y="57"/>
                    <a:pt x="2226" y="57"/>
                  </a:cubicBezTo>
                  <a:close/>
                  <a:moveTo>
                    <a:pt x="285" y="57"/>
                  </a:moveTo>
                  <a:lnTo>
                    <a:pt x="285" y="57"/>
                  </a:lnTo>
                  <a:cubicBezTo>
                    <a:pt x="347" y="57"/>
                    <a:pt x="404" y="80"/>
                    <a:pt x="448" y="124"/>
                  </a:cubicBezTo>
                  <a:cubicBezTo>
                    <a:pt x="459" y="134"/>
                    <a:pt x="478" y="134"/>
                    <a:pt x="488" y="124"/>
                  </a:cubicBezTo>
                  <a:cubicBezTo>
                    <a:pt x="494" y="119"/>
                    <a:pt x="497" y="112"/>
                    <a:pt x="497" y="104"/>
                  </a:cubicBezTo>
                  <a:cubicBezTo>
                    <a:pt x="497" y="96"/>
                    <a:pt x="494" y="89"/>
                    <a:pt x="488" y="84"/>
                  </a:cubicBezTo>
                  <a:lnTo>
                    <a:pt x="485" y="80"/>
                  </a:lnTo>
                  <a:cubicBezTo>
                    <a:pt x="431" y="29"/>
                    <a:pt x="361" y="0"/>
                    <a:pt x="286" y="0"/>
                  </a:cubicBezTo>
                  <a:cubicBezTo>
                    <a:pt x="128" y="0"/>
                    <a:pt x="0" y="129"/>
                    <a:pt x="0" y="287"/>
                  </a:cubicBezTo>
                  <a:cubicBezTo>
                    <a:pt x="0" y="445"/>
                    <a:pt x="128" y="573"/>
                    <a:pt x="286" y="573"/>
                  </a:cubicBezTo>
                  <a:cubicBezTo>
                    <a:pt x="369" y="573"/>
                    <a:pt x="444" y="538"/>
                    <a:pt x="497" y="480"/>
                  </a:cubicBezTo>
                  <a:lnTo>
                    <a:pt x="457" y="440"/>
                  </a:lnTo>
                  <a:cubicBezTo>
                    <a:pt x="415" y="487"/>
                    <a:pt x="353" y="516"/>
                    <a:pt x="286" y="516"/>
                  </a:cubicBezTo>
                  <a:cubicBezTo>
                    <a:pt x="159" y="516"/>
                    <a:pt x="56" y="413"/>
                    <a:pt x="56" y="286"/>
                  </a:cubicBezTo>
                  <a:cubicBezTo>
                    <a:pt x="55" y="160"/>
                    <a:pt x="159" y="57"/>
                    <a:pt x="285" y="57"/>
                  </a:cubicBezTo>
                  <a:close/>
                  <a:moveTo>
                    <a:pt x="3341" y="290"/>
                  </a:moveTo>
                  <a:lnTo>
                    <a:pt x="3341" y="290"/>
                  </a:lnTo>
                  <a:cubicBezTo>
                    <a:pt x="3326" y="282"/>
                    <a:pt x="3233" y="234"/>
                    <a:pt x="3219" y="227"/>
                  </a:cubicBezTo>
                  <a:cubicBezTo>
                    <a:pt x="3170" y="201"/>
                    <a:pt x="3152" y="179"/>
                    <a:pt x="3152" y="142"/>
                  </a:cubicBezTo>
                  <a:cubicBezTo>
                    <a:pt x="3152" y="90"/>
                    <a:pt x="3195" y="56"/>
                    <a:pt x="3262" y="56"/>
                  </a:cubicBezTo>
                  <a:cubicBezTo>
                    <a:pt x="3301" y="56"/>
                    <a:pt x="3339" y="73"/>
                    <a:pt x="3361" y="86"/>
                  </a:cubicBezTo>
                  <a:cubicBezTo>
                    <a:pt x="3365" y="88"/>
                    <a:pt x="3370" y="89"/>
                    <a:pt x="3374" y="89"/>
                  </a:cubicBezTo>
                  <a:cubicBezTo>
                    <a:pt x="3390" y="89"/>
                    <a:pt x="3403" y="77"/>
                    <a:pt x="3403" y="61"/>
                  </a:cubicBezTo>
                  <a:cubicBezTo>
                    <a:pt x="3403" y="51"/>
                    <a:pt x="3397" y="42"/>
                    <a:pt x="3388" y="37"/>
                  </a:cubicBezTo>
                  <a:cubicBezTo>
                    <a:pt x="3361" y="21"/>
                    <a:pt x="3313" y="0"/>
                    <a:pt x="3262" y="0"/>
                  </a:cubicBezTo>
                  <a:cubicBezTo>
                    <a:pt x="3165" y="0"/>
                    <a:pt x="3097" y="58"/>
                    <a:pt x="3097" y="142"/>
                  </a:cubicBezTo>
                  <a:cubicBezTo>
                    <a:pt x="3097" y="217"/>
                    <a:pt x="3146" y="252"/>
                    <a:pt x="3194" y="277"/>
                  </a:cubicBezTo>
                  <a:cubicBezTo>
                    <a:pt x="3208" y="284"/>
                    <a:pt x="3302" y="333"/>
                    <a:pt x="3317" y="340"/>
                  </a:cubicBezTo>
                  <a:cubicBezTo>
                    <a:pt x="3354" y="360"/>
                    <a:pt x="3375" y="390"/>
                    <a:pt x="3375" y="423"/>
                  </a:cubicBezTo>
                  <a:cubicBezTo>
                    <a:pt x="3375" y="468"/>
                    <a:pt x="3337" y="516"/>
                    <a:pt x="3266" y="516"/>
                  </a:cubicBezTo>
                  <a:cubicBezTo>
                    <a:pt x="3196" y="516"/>
                    <a:pt x="3143" y="470"/>
                    <a:pt x="3129" y="456"/>
                  </a:cubicBezTo>
                  <a:lnTo>
                    <a:pt x="3124" y="451"/>
                  </a:lnTo>
                  <a:lnTo>
                    <a:pt x="3082" y="489"/>
                  </a:lnTo>
                  <a:lnTo>
                    <a:pt x="3087" y="494"/>
                  </a:lnTo>
                  <a:cubicBezTo>
                    <a:pt x="3106" y="512"/>
                    <a:pt x="3173" y="572"/>
                    <a:pt x="3266" y="572"/>
                  </a:cubicBezTo>
                  <a:cubicBezTo>
                    <a:pt x="3369" y="572"/>
                    <a:pt x="3431" y="496"/>
                    <a:pt x="3431" y="422"/>
                  </a:cubicBezTo>
                  <a:cubicBezTo>
                    <a:pt x="3431" y="368"/>
                    <a:pt x="3398" y="320"/>
                    <a:pt x="3341" y="290"/>
                  </a:cubicBezTo>
                  <a:close/>
                  <a:moveTo>
                    <a:pt x="872" y="0"/>
                  </a:moveTo>
                  <a:lnTo>
                    <a:pt x="872" y="0"/>
                  </a:lnTo>
                  <a:cubicBezTo>
                    <a:pt x="715" y="0"/>
                    <a:pt x="586" y="129"/>
                    <a:pt x="586" y="287"/>
                  </a:cubicBezTo>
                  <a:cubicBezTo>
                    <a:pt x="586" y="445"/>
                    <a:pt x="715" y="573"/>
                    <a:pt x="872" y="573"/>
                  </a:cubicBezTo>
                  <a:cubicBezTo>
                    <a:pt x="1030" y="573"/>
                    <a:pt x="1159" y="445"/>
                    <a:pt x="1159" y="287"/>
                  </a:cubicBezTo>
                  <a:cubicBezTo>
                    <a:pt x="1159" y="129"/>
                    <a:pt x="1030" y="0"/>
                    <a:pt x="872" y="0"/>
                  </a:cubicBezTo>
                  <a:close/>
                  <a:moveTo>
                    <a:pt x="872" y="516"/>
                  </a:moveTo>
                  <a:lnTo>
                    <a:pt x="872" y="516"/>
                  </a:lnTo>
                  <a:cubicBezTo>
                    <a:pt x="746" y="516"/>
                    <a:pt x="642" y="413"/>
                    <a:pt x="642" y="286"/>
                  </a:cubicBezTo>
                  <a:cubicBezTo>
                    <a:pt x="642" y="159"/>
                    <a:pt x="746" y="56"/>
                    <a:pt x="872" y="56"/>
                  </a:cubicBezTo>
                  <a:cubicBezTo>
                    <a:pt x="999" y="56"/>
                    <a:pt x="1103" y="159"/>
                    <a:pt x="1103" y="286"/>
                  </a:cubicBezTo>
                  <a:cubicBezTo>
                    <a:pt x="1102" y="413"/>
                    <a:pt x="999" y="516"/>
                    <a:pt x="872" y="516"/>
                  </a:cubicBezTo>
                  <a:close/>
                </a:path>
              </a:pathLst>
            </a:custGeom>
            <a:grp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n-US"/>
            </a:p>
          </p:txBody>
        </p:sp>
        <p:sp>
          <p:nvSpPr>
            <p:cNvPr id="9" name="Freeform 6">
              <a:extLst>
                <a:ext uri="{FF2B5EF4-FFF2-40B4-BE49-F238E27FC236}">
                  <a16:creationId xmlns:a16="http://schemas.microsoft.com/office/drawing/2014/main" id="{95AE842E-F7ED-9E65-E0C7-950397EE7F95}"/>
                </a:ext>
              </a:extLst>
            </p:cNvPr>
            <p:cNvSpPr>
              <a:spLocks noEditPoints="1"/>
            </p:cNvSpPr>
            <p:nvPr/>
          </p:nvSpPr>
          <p:spPr bwMode="auto">
            <a:xfrm>
              <a:off x="1114" y="4035"/>
              <a:ext cx="763" cy="116"/>
            </a:xfrm>
            <a:custGeom>
              <a:avLst/>
              <a:gdLst>
                <a:gd name="T0" fmla="*/ 29 w 3842"/>
                <a:gd name="T1" fmla="*/ 5 h 576"/>
                <a:gd name="T2" fmla="*/ 28 w 3842"/>
                <a:gd name="T3" fmla="*/ 2 h 576"/>
                <a:gd name="T4" fmla="*/ 29 w 3842"/>
                <a:gd name="T5" fmla="*/ 1 h 576"/>
                <a:gd name="T6" fmla="*/ 30 w 3842"/>
                <a:gd name="T7" fmla="*/ 0 h 576"/>
                <a:gd name="T8" fmla="*/ 28 w 3842"/>
                <a:gd name="T9" fmla="*/ 2 h 576"/>
                <a:gd name="T10" fmla="*/ 29 w 3842"/>
                <a:gd name="T11" fmla="*/ 4 h 576"/>
                <a:gd name="T12" fmla="*/ 23 w 3842"/>
                <a:gd name="T13" fmla="*/ 4 h 576"/>
                <a:gd name="T14" fmla="*/ 26 w 3842"/>
                <a:gd name="T15" fmla="*/ 3 h 576"/>
                <a:gd name="T16" fmla="*/ 24 w 3842"/>
                <a:gd name="T17" fmla="*/ 1 h 576"/>
                <a:gd name="T18" fmla="*/ 26 w 3842"/>
                <a:gd name="T19" fmla="*/ 1 h 576"/>
                <a:gd name="T20" fmla="*/ 25 w 3842"/>
                <a:gd name="T21" fmla="*/ 0 h 576"/>
                <a:gd name="T22" fmla="*/ 25 w 3842"/>
                <a:gd name="T23" fmla="*/ 3 h 576"/>
                <a:gd name="T24" fmla="*/ 24 w 3842"/>
                <a:gd name="T25" fmla="*/ 3 h 576"/>
                <a:gd name="T26" fmla="*/ 9 w 3842"/>
                <a:gd name="T27" fmla="*/ 4 h 576"/>
                <a:gd name="T28" fmla="*/ 11 w 3842"/>
                <a:gd name="T29" fmla="*/ 2 h 576"/>
                <a:gd name="T30" fmla="*/ 10 w 3842"/>
                <a:gd name="T31" fmla="*/ 1 h 576"/>
                <a:gd name="T32" fmla="*/ 12 w 3842"/>
                <a:gd name="T33" fmla="*/ 1 h 576"/>
                <a:gd name="T34" fmla="*/ 9 w 3842"/>
                <a:gd name="T35" fmla="*/ 1 h 576"/>
                <a:gd name="T36" fmla="*/ 11 w 3842"/>
                <a:gd name="T37" fmla="*/ 3 h 576"/>
                <a:gd name="T38" fmla="*/ 9 w 3842"/>
                <a:gd name="T39" fmla="*/ 4 h 576"/>
                <a:gd name="T40" fmla="*/ 15 w 3842"/>
                <a:gd name="T41" fmla="*/ 0 h 576"/>
                <a:gd name="T42" fmla="*/ 16 w 3842"/>
                <a:gd name="T43" fmla="*/ 4 h 576"/>
                <a:gd name="T44" fmla="*/ 18 w 3842"/>
                <a:gd name="T45" fmla="*/ 5 h 576"/>
                <a:gd name="T46" fmla="*/ 18 w 3842"/>
                <a:gd name="T47" fmla="*/ 0 h 576"/>
                <a:gd name="T48" fmla="*/ 15 w 3842"/>
                <a:gd name="T49" fmla="*/ 0 h 576"/>
                <a:gd name="T50" fmla="*/ 3 w 3842"/>
                <a:gd name="T51" fmla="*/ 3 h 576"/>
                <a:gd name="T52" fmla="*/ 0 w 3842"/>
                <a:gd name="T53" fmla="*/ 0 h 576"/>
                <a:gd name="T54" fmla="*/ 3 w 3842"/>
                <a:gd name="T55" fmla="*/ 1 h 576"/>
                <a:gd name="T56" fmla="*/ 1 w 3842"/>
                <a:gd name="T57" fmla="*/ 2 h 576"/>
                <a:gd name="T58" fmla="*/ 2 w 3842"/>
                <a:gd name="T59" fmla="*/ 1 h 576"/>
                <a:gd name="T60" fmla="*/ 2 w 3842"/>
                <a:gd name="T61" fmla="*/ 4 h 576"/>
                <a:gd name="T62" fmla="*/ 2 w 3842"/>
                <a:gd name="T63" fmla="*/ 3 h 576"/>
                <a:gd name="T64" fmla="*/ 2 w 3842"/>
                <a:gd name="T65" fmla="*/ 4 h 576"/>
                <a:gd name="T66" fmla="*/ 23 w 3842"/>
                <a:gd name="T67" fmla="*/ 0 h 576"/>
                <a:gd name="T68" fmla="*/ 20 w 3842"/>
                <a:gd name="T69" fmla="*/ 0 h 576"/>
                <a:gd name="T70" fmla="*/ 23 w 3842"/>
                <a:gd name="T71" fmla="*/ 5 h 576"/>
                <a:gd name="T72" fmla="*/ 20 w 3842"/>
                <a:gd name="T73" fmla="*/ 3 h 576"/>
                <a:gd name="T74" fmla="*/ 22 w 3842"/>
                <a:gd name="T75" fmla="*/ 2 h 576"/>
                <a:gd name="T76" fmla="*/ 22 w 3842"/>
                <a:gd name="T77" fmla="*/ 1 h 576"/>
                <a:gd name="T78" fmla="*/ 5 w 3842"/>
                <a:gd name="T79" fmla="*/ 0 h 576"/>
                <a:gd name="T80" fmla="*/ 4 w 3842"/>
                <a:gd name="T81" fmla="*/ 3 h 576"/>
                <a:gd name="T82" fmla="*/ 8 w 3842"/>
                <a:gd name="T83" fmla="*/ 0 h 576"/>
                <a:gd name="T84" fmla="*/ 6 w 3842"/>
                <a:gd name="T85" fmla="*/ 4 h 576"/>
                <a:gd name="T86" fmla="*/ 13 w 3842"/>
                <a:gd name="T87" fmla="*/ 0 h 576"/>
                <a:gd name="T88" fmla="*/ 13 w 3842"/>
                <a:gd name="T89" fmla="*/ 5 h 57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3842" h="576">
                  <a:moveTo>
                    <a:pt x="3464" y="491"/>
                  </a:moveTo>
                  <a:lnTo>
                    <a:pt x="3464" y="491"/>
                  </a:lnTo>
                  <a:cubicBezTo>
                    <a:pt x="3475" y="506"/>
                    <a:pt x="3529" y="576"/>
                    <a:pt x="3647" y="576"/>
                  </a:cubicBezTo>
                  <a:cubicBezTo>
                    <a:pt x="3763" y="576"/>
                    <a:pt x="3842" y="509"/>
                    <a:pt x="3842" y="415"/>
                  </a:cubicBezTo>
                  <a:cubicBezTo>
                    <a:pt x="3842" y="354"/>
                    <a:pt x="3818" y="305"/>
                    <a:pt x="3727" y="261"/>
                  </a:cubicBezTo>
                  <a:cubicBezTo>
                    <a:pt x="3703" y="249"/>
                    <a:pt x="3634" y="216"/>
                    <a:pt x="3634" y="216"/>
                  </a:cubicBezTo>
                  <a:cubicBezTo>
                    <a:pt x="3599" y="199"/>
                    <a:pt x="3583" y="178"/>
                    <a:pt x="3583" y="149"/>
                  </a:cubicBezTo>
                  <a:cubicBezTo>
                    <a:pt x="3583" y="120"/>
                    <a:pt x="3607" y="87"/>
                    <a:pt x="3667" y="87"/>
                  </a:cubicBezTo>
                  <a:cubicBezTo>
                    <a:pt x="3701" y="87"/>
                    <a:pt x="3727" y="98"/>
                    <a:pt x="3742" y="105"/>
                  </a:cubicBezTo>
                  <a:cubicBezTo>
                    <a:pt x="3748" y="108"/>
                    <a:pt x="3764" y="116"/>
                    <a:pt x="3780" y="116"/>
                  </a:cubicBezTo>
                  <a:cubicBezTo>
                    <a:pt x="3800" y="116"/>
                    <a:pt x="3822" y="102"/>
                    <a:pt x="3822" y="72"/>
                  </a:cubicBezTo>
                  <a:cubicBezTo>
                    <a:pt x="3822" y="48"/>
                    <a:pt x="3804" y="35"/>
                    <a:pt x="3789" y="28"/>
                  </a:cubicBezTo>
                  <a:cubicBezTo>
                    <a:pt x="3764" y="16"/>
                    <a:pt x="3726" y="0"/>
                    <a:pt x="3662" y="0"/>
                  </a:cubicBezTo>
                  <a:cubicBezTo>
                    <a:pt x="3561" y="0"/>
                    <a:pt x="3486" y="63"/>
                    <a:pt x="3486" y="153"/>
                  </a:cubicBezTo>
                  <a:cubicBezTo>
                    <a:pt x="3486" y="234"/>
                    <a:pt x="3540" y="275"/>
                    <a:pt x="3606" y="307"/>
                  </a:cubicBezTo>
                  <a:cubicBezTo>
                    <a:pt x="3619" y="312"/>
                    <a:pt x="3668" y="336"/>
                    <a:pt x="3681" y="343"/>
                  </a:cubicBezTo>
                  <a:cubicBezTo>
                    <a:pt x="3724" y="363"/>
                    <a:pt x="3746" y="382"/>
                    <a:pt x="3746" y="417"/>
                  </a:cubicBezTo>
                  <a:cubicBezTo>
                    <a:pt x="3746" y="455"/>
                    <a:pt x="3710" y="487"/>
                    <a:pt x="3656" y="487"/>
                  </a:cubicBezTo>
                  <a:cubicBezTo>
                    <a:pt x="3579" y="487"/>
                    <a:pt x="3538" y="436"/>
                    <a:pt x="3531" y="428"/>
                  </a:cubicBezTo>
                  <a:lnTo>
                    <a:pt x="3464" y="491"/>
                  </a:lnTo>
                  <a:close/>
                  <a:moveTo>
                    <a:pt x="2997" y="491"/>
                  </a:moveTo>
                  <a:lnTo>
                    <a:pt x="2997" y="491"/>
                  </a:lnTo>
                  <a:cubicBezTo>
                    <a:pt x="3009" y="506"/>
                    <a:pt x="3063" y="576"/>
                    <a:pt x="3182" y="576"/>
                  </a:cubicBezTo>
                  <a:cubicBezTo>
                    <a:pt x="3297" y="576"/>
                    <a:pt x="3376" y="509"/>
                    <a:pt x="3376" y="415"/>
                  </a:cubicBezTo>
                  <a:cubicBezTo>
                    <a:pt x="3376" y="354"/>
                    <a:pt x="3352" y="305"/>
                    <a:pt x="3261" y="261"/>
                  </a:cubicBezTo>
                  <a:cubicBezTo>
                    <a:pt x="3237" y="249"/>
                    <a:pt x="3169" y="216"/>
                    <a:pt x="3169" y="216"/>
                  </a:cubicBezTo>
                  <a:cubicBezTo>
                    <a:pt x="3133" y="199"/>
                    <a:pt x="3116" y="178"/>
                    <a:pt x="3116" y="149"/>
                  </a:cubicBezTo>
                  <a:cubicBezTo>
                    <a:pt x="3116" y="120"/>
                    <a:pt x="3141" y="87"/>
                    <a:pt x="3201" y="87"/>
                  </a:cubicBezTo>
                  <a:cubicBezTo>
                    <a:pt x="3235" y="87"/>
                    <a:pt x="3261" y="98"/>
                    <a:pt x="3275" y="105"/>
                  </a:cubicBezTo>
                  <a:cubicBezTo>
                    <a:pt x="3283" y="108"/>
                    <a:pt x="3299" y="116"/>
                    <a:pt x="3314" y="116"/>
                  </a:cubicBezTo>
                  <a:cubicBezTo>
                    <a:pt x="3334" y="116"/>
                    <a:pt x="3356" y="102"/>
                    <a:pt x="3356" y="72"/>
                  </a:cubicBezTo>
                  <a:cubicBezTo>
                    <a:pt x="3356" y="48"/>
                    <a:pt x="3339" y="35"/>
                    <a:pt x="3323" y="28"/>
                  </a:cubicBezTo>
                  <a:cubicBezTo>
                    <a:pt x="3299" y="16"/>
                    <a:pt x="3260" y="0"/>
                    <a:pt x="3197" y="0"/>
                  </a:cubicBezTo>
                  <a:cubicBezTo>
                    <a:pt x="3095" y="0"/>
                    <a:pt x="3020" y="63"/>
                    <a:pt x="3020" y="153"/>
                  </a:cubicBezTo>
                  <a:cubicBezTo>
                    <a:pt x="3020" y="234"/>
                    <a:pt x="3075" y="275"/>
                    <a:pt x="3141" y="307"/>
                  </a:cubicBezTo>
                  <a:cubicBezTo>
                    <a:pt x="3154" y="312"/>
                    <a:pt x="3203" y="336"/>
                    <a:pt x="3217" y="343"/>
                  </a:cubicBezTo>
                  <a:cubicBezTo>
                    <a:pt x="3258" y="363"/>
                    <a:pt x="3280" y="382"/>
                    <a:pt x="3280" y="417"/>
                  </a:cubicBezTo>
                  <a:cubicBezTo>
                    <a:pt x="3280" y="455"/>
                    <a:pt x="3244" y="487"/>
                    <a:pt x="3191" y="487"/>
                  </a:cubicBezTo>
                  <a:cubicBezTo>
                    <a:pt x="3113" y="487"/>
                    <a:pt x="3072" y="436"/>
                    <a:pt x="3065" y="428"/>
                  </a:cubicBezTo>
                  <a:lnTo>
                    <a:pt x="2997" y="491"/>
                  </a:lnTo>
                  <a:close/>
                  <a:moveTo>
                    <a:pt x="1117" y="491"/>
                  </a:moveTo>
                  <a:lnTo>
                    <a:pt x="1117" y="491"/>
                  </a:lnTo>
                  <a:cubicBezTo>
                    <a:pt x="1129" y="506"/>
                    <a:pt x="1182" y="576"/>
                    <a:pt x="1301" y="576"/>
                  </a:cubicBezTo>
                  <a:cubicBezTo>
                    <a:pt x="1417" y="576"/>
                    <a:pt x="1496" y="509"/>
                    <a:pt x="1496" y="415"/>
                  </a:cubicBezTo>
                  <a:cubicBezTo>
                    <a:pt x="1496" y="354"/>
                    <a:pt x="1472" y="305"/>
                    <a:pt x="1381" y="261"/>
                  </a:cubicBezTo>
                  <a:cubicBezTo>
                    <a:pt x="1356" y="249"/>
                    <a:pt x="1288" y="216"/>
                    <a:pt x="1288" y="216"/>
                  </a:cubicBezTo>
                  <a:cubicBezTo>
                    <a:pt x="1252" y="199"/>
                    <a:pt x="1236" y="178"/>
                    <a:pt x="1236" y="149"/>
                  </a:cubicBezTo>
                  <a:cubicBezTo>
                    <a:pt x="1236" y="120"/>
                    <a:pt x="1261" y="87"/>
                    <a:pt x="1321" y="87"/>
                  </a:cubicBezTo>
                  <a:cubicBezTo>
                    <a:pt x="1355" y="87"/>
                    <a:pt x="1381" y="98"/>
                    <a:pt x="1395" y="105"/>
                  </a:cubicBezTo>
                  <a:cubicBezTo>
                    <a:pt x="1402" y="108"/>
                    <a:pt x="1418" y="116"/>
                    <a:pt x="1434" y="116"/>
                  </a:cubicBezTo>
                  <a:cubicBezTo>
                    <a:pt x="1454" y="116"/>
                    <a:pt x="1476" y="102"/>
                    <a:pt x="1476" y="72"/>
                  </a:cubicBezTo>
                  <a:cubicBezTo>
                    <a:pt x="1476" y="48"/>
                    <a:pt x="1458" y="35"/>
                    <a:pt x="1443" y="28"/>
                  </a:cubicBezTo>
                  <a:cubicBezTo>
                    <a:pt x="1418" y="16"/>
                    <a:pt x="1380" y="0"/>
                    <a:pt x="1316" y="0"/>
                  </a:cubicBezTo>
                  <a:cubicBezTo>
                    <a:pt x="1215" y="0"/>
                    <a:pt x="1140" y="63"/>
                    <a:pt x="1140" y="153"/>
                  </a:cubicBezTo>
                  <a:cubicBezTo>
                    <a:pt x="1140" y="234"/>
                    <a:pt x="1195" y="275"/>
                    <a:pt x="1261" y="307"/>
                  </a:cubicBezTo>
                  <a:cubicBezTo>
                    <a:pt x="1273" y="312"/>
                    <a:pt x="1322" y="336"/>
                    <a:pt x="1336" y="343"/>
                  </a:cubicBezTo>
                  <a:cubicBezTo>
                    <a:pt x="1378" y="363"/>
                    <a:pt x="1400" y="382"/>
                    <a:pt x="1400" y="417"/>
                  </a:cubicBezTo>
                  <a:cubicBezTo>
                    <a:pt x="1400" y="455"/>
                    <a:pt x="1364" y="487"/>
                    <a:pt x="1310" y="487"/>
                  </a:cubicBezTo>
                  <a:cubicBezTo>
                    <a:pt x="1233" y="487"/>
                    <a:pt x="1192" y="436"/>
                    <a:pt x="1185" y="428"/>
                  </a:cubicBezTo>
                  <a:lnTo>
                    <a:pt x="1117" y="491"/>
                  </a:lnTo>
                  <a:close/>
                  <a:moveTo>
                    <a:pt x="1949" y="0"/>
                  </a:moveTo>
                  <a:lnTo>
                    <a:pt x="1949" y="0"/>
                  </a:lnTo>
                  <a:cubicBezTo>
                    <a:pt x="1921" y="0"/>
                    <a:pt x="1903" y="19"/>
                    <a:pt x="1903" y="43"/>
                  </a:cubicBezTo>
                  <a:lnTo>
                    <a:pt x="1903" y="531"/>
                  </a:lnTo>
                  <a:cubicBezTo>
                    <a:pt x="1903" y="555"/>
                    <a:pt x="1924" y="575"/>
                    <a:pt x="1949" y="575"/>
                  </a:cubicBezTo>
                  <a:cubicBezTo>
                    <a:pt x="1972" y="575"/>
                    <a:pt x="1994" y="555"/>
                    <a:pt x="1994" y="531"/>
                  </a:cubicBezTo>
                  <a:lnTo>
                    <a:pt x="1994" y="179"/>
                  </a:lnTo>
                  <a:cubicBezTo>
                    <a:pt x="1994" y="179"/>
                    <a:pt x="2218" y="465"/>
                    <a:pt x="2276" y="541"/>
                  </a:cubicBezTo>
                  <a:cubicBezTo>
                    <a:pt x="2291" y="559"/>
                    <a:pt x="2302" y="576"/>
                    <a:pt x="2328" y="576"/>
                  </a:cubicBezTo>
                  <a:cubicBezTo>
                    <a:pt x="2355" y="576"/>
                    <a:pt x="2373" y="556"/>
                    <a:pt x="2373" y="532"/>
                  </a:cubicBezTo>
                  <a:lnTo>
                    <a:pt x="2373" y="3"/>
                  </a:lnTo>
                  <a:lnTo>
                    <a:pt x="2282" y="3"/>
                  </a:lnTo>
                  <a:lnTo>
                    <a:pt x="2282" y="398"/>
                  </a:lnTo>
                  <a:cubicBezTo>
                    <a:pt x="2282" y="398"/>
                    <a:pt x="2033" y="78"/>
                    <a:pt x="1998" y="34"/>
                  </a:cubicBezTo>
                  <a:cubicBezTo>
                    <a:pt x="1982" y="13"/>
                    <a:pt x="1970" y="0"/>
                    <a:pt x="1949" y="0"/>
                  </a:cubicBezTo>
                  <a:close/>
                  <a:moveTo>
                    <a:pt x="342" y="264"/>
                  </a:moveTo>
                  <a:lnTo>
                    <a:pt x="342" y="264"/>
                  </a:lnTo>
                  <a:cubicBezTo>
                    <a:pt x="358" y="272"/>
                    <a:pt x="426" y="301"/>
                    <a:pt x="426" y="402"/>
                  </a:cubicBezTo>
                  <a:cubicBezTo>
                    <a:pt x="426" y="497"/>
                    <a:pt x="355" y="572"/>
                    <a:pt x="252" y="572"/>
                  </a:cubicBezTo>
                  <a:lnTo>
                    <a:pt x="0" y="572"/>
                  </a:lnTo>
                  <a:lnTo>
                    <a:pt x="0" y="47"/>
                  </a:lnTo>
                  <a:cubicBezTo>
                    <a:pt x="0" y="20"/>
                    <a:pt x="18" y="2"/>
                    <a:pt x="44" y="2"/>
                  </a:cubicBezTo>
                  <a:lnTo>
                    <a:pt x="241" y="2"/>
                  </a:lnTo>
                  <a:cubicBezTo>
                    <a:pt x="336" y="2"/>
                    <a:pt x="399" y="59"/>
                    <a:pt x="399" y="147"/>
                  </a:cubicBezTo>
                  <a:cubicBezTo>
                    <a:pt x="399" y="221"/>
                    <a:pt x="357" y="254"/>
                    <a:pt x="342" y="264"/>
                  </a:cubicBezTo>
                  <a:close/>
                  <a:moveTo>
                    <a:pt x="91" y="230"/>
                  </a:moveTo>
                  <a:lnTo>
                    <a:pt x="91" y="230"/>
                  </a:lnTo>
                  <a:lnTo>
                    <a:pt x="229" y="230"/>
                  </a:lnTo>
                  <a:cubicBezTo>
                    <a:pt x="278" y="230"/>
                    <a:pt x="306" y="199"/>
                    <a:pt x="306" y="161"/>
                  </a:cubicBezTo>
                  <a:cubicBezTo>
                    <a:pt x="306" y="123"/>
                    <a:pt x="281" y="92"/>
                    <a:pt x="229" y="92"/>
                  </a:cubicBezTo>
                  <a:lnTo>
                    <a:pt x="91" y="92"/>
                  </a:lnTo>
                  <a:lnTo>
                    <a:pt x="91" y="230"/>
                  </a:lnTo>
                  <a:close/>
                  <a:moveTo>
                    <a:pt x="235" y="484"/>
                  </a:moveTo>
                  <a:lnTo>
                    <a:pt x="235" y="484"/>
                  </a:lnTo>
                  <a:cubicBezTo>
                    <a:pt x="300" y="484"/>
                    <a:pt x="333" y="446"/>
                    <a:pt x="333" y="400"/>
                  </a:cubicBezTo>
                  <a:cubicBezTo>
                    <a:pt x="333" y="352"/>
                    <a:pt x="301" y="314"/>
                    <a:pt x="235" y="314"/>
                  </a:cubicBezTo>
                  <a:lnTo>
                    <a:pt x="91" y="314"/>
                  </a:lnTo>
                  <a:lnTo>
                    <a:pt x="91" y="484"/>
                  </a:lnTo>
                  <a:lnTo>
                    <a:pt x="235" y="484"/>
                  </a:lnTo>
                  <a:close/>
                  <a:moveTo>
                    <a:pt x="2858" y="92"/>
                  </a:moveTo>
                  <a:lnTo>
                    <a:pt x="2858" y="92"/>
                  </a:lnTo>
                  <a:cubicBezTo>
                    <a:pt x="2888" y="92"/>
                    <a:pt x="2906" y="73"/>
                    <a:pt x="2906" y="48"/>
                  </a:cubicBezTo>
                  <a:cubicBezTo>
                    <a:pt x="2906" y="23"/>
                    <a:pt x="2887" y="3"/>
                    <a:pt x="2858" y="3"/>
                  </a:cubicBezTo>
                  <a:lnTo>
                    <a:pt x="2576" y="3"/>
                  </a:lnTo>
                  <a:cubicBezTo>
                    <a:pt x="2551" y="3"/>
                    <a:pt x="2532" y="22"/>
                    <a:pt x="2532" y="48"/>
                  </a:cubicBezTo>
                  <a:lnTo>
                    <a:pt x="2532" y="529"/>
                  </a:lnTo>
                  <a:cubicBezTo>
                    <a:pt x="2532" y="554"/>
                    <a:pt x="2551" y="573"/>
                    <a:pt x="2576" y="573"/>
                  </a:cubicBezTo>
                  <a:lnTo>
                    <a:pt x="2903" y="573"/>
                  </a:lnTo>
                  <a:lnTo>
                    <a:pt x="2903" y="484"/>
                  </a:lnTo>
                  <a:lnTo>
                    <a:pt x="2624" y="484"/>
                  </a:lnTo>
                  <a:lnTo>
                    <a:pt x="2624" y="318"/>
                  </a:lnTo>
                  <a:lnTo>
                    <a:pt x="2834" y="318"/>
                  </a:lnTo>
                  <a:cubicBezTo>
                    <a:pt x="2866" y="318"/>
                    <a:pt x="2884" y="299"/>
                    <a:pt x="2884" y="274"/>
                  </a:cubicBezTo>
                  <a:cubicBezTo>
                    <a:pt x="2884" y="248"/>
                    <a:pt x="2867" y="229"/>
                    <a:pt x="2834" y="229"/>
                  </a:cubicBezTo>
                  <a:lnTo>
                    <a:pt x="2624" y="229"/>
                  </a:lnTo>
                  <a:lnTo>
                    <a:pt x="2624" y="92"/>
                  </a:lnTo>
                  <a:lnTo>
                    <a:pt x="2858" y="92"/>
                  </a:lnTo>
                  <a:close/>
                  <a:moveTo>
                    <a:pt x="634" y="346"/>
                  </a:moveTo>
                  <a:lnTo>
                    <a:pt x="634" y="346"/>
                  </a:lnTo>
                  <a:lnTo>
                    <a:pt x="634" y="44"/>
                  </a:lnTo>
                  <a:cubicBezTo>
                    <a:pt x="634" y="19"/>
                    <a:pt x="616" y="0"/>
                    <a:pt x="588" y="0"/>
                  </a:cubicBezTo>
                  <a:cubicBezTo>
                    <a:pt x="560" y="0"/>
                    <a:pt x="542" y="19"/>
                    <a:pt x="542" y="44"/>
                  </a:cubicBezTo>
                  <a:lnTo>
                    <a:pt x="542" y="343"/>
                  </a:lnTo>
                  <a:cubicBezTo>
                    <a:pt x="542" y="471"/>
                    <a:pt x="632" y="575"/>
                    <a:pt x="776" y="575"/>
                  </a:cubicBezTo>
                  <a:cubicBezTo>
                    <a:pt x="920" y="575"/>
                    <a:pt x="1010" y="471"/>
                    <a:pt x="1010" y="343"/>
                  </a:cubicBezTo>
                  <a:lnTo>
                    <a:pt x="1010" y="2"/>
                  </a:lnTo>
                  <a:lnTo>
                    <a:pt x="918" y="2"/>
                  </a:lnTo>
                  <a:lnTo>
                    <a:pt x="918" y="345"/>
                  </a:lnTo>
                  <a:cubicBezTo>
                    <a:pt x="918" y="421"/>
                    <a:pt x="867" y="488"/>
                    <a:pt x="776" y="488"/>
                  </a:cubicBezTo>
                  <a:cubicBezTo>
                    <a:pt x="684" y="489"/>
                    <a:pt x="634" y="422"/>
                    <a:pt x="634" y="346"/>
                  </a:cubicBezTo>
                  <a:close/>
                  <a:moveTo>
                    <a:pt x="1676" y="0"/>
                  </a:moveTo>
                  <a:lnTo>
                    <a:pt x="1676" y="0"/>
                  </a:lnTo>
                  <a:cubicBezTo>
                    <a:pt x="1704" y="0"/>
                    <a:pt x="1722" y="19"/>
                    <a:pt x="1722" y="44"/>
                  </a:cubicBezTo>
                  <a:lnTo>
                    <a:pt x="1722" y="572"/>
                  </a:lnTo>
                  <a:lnTo>
                    <a:pt x="1630" y="572"/>
                  </a:lnTo>
                  <a:lnTo>
                    <a:pt x="1630" y="44"/>
                  </a:lnTo>
                  <a:cubicBezTo>
                    <a:pt x="1630" y="19"/>
                    <a:pt x="1647" y="0"/>
                    <a:pt x="1676" y="0"/>
                  </a:cubicBezTo>
                  <a:close/>
                </a:path>
              </a:pathLst>
            </a:custGeom>
            <a:grp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n-US"/>
            </a:p>
          </p:txBody>
        </p:sp>
      </p:grpSp>
      <p:sp>
        <p:nvSpPr>
          <p:cNvPr id="2" name="Text Placeholder 2">
            <a:extLst>
              <a:ext uri="{FF2B5EF4-FFF2-40B4-BE49-F238E27FC236}">
                <a16:creationId xmlns:a16="http://schemas.microsoft.com/office/drawing/2014/main" id="{FD7C8E83-C5C8-A695-DC1B-3E376997B5F3}"/>
              </a:ext>
            </a:extLst>
          </p:cNvPr>
          <p:cNvSpPr>
            <a:spLocks noGrp="1"/>
          </p:cNvSpPr>
          <p:nvPr>
            <p:ph type="body" idx="1"/>
          </p:nvPr>
        </p:nvSpPr>
        <p:spPr>
          <a:xfrm>
            <a:off x="432618" y="4101321"/>
            <a:ext cx="8401818" cy="641350"/>
          </a:xfrm>
          <a:prstGeom prst="rect">
            <a:avLst/>
          </a:prstGeom>
        </p:spPr>
        <p:txBody>
          <a:bodyPr/>
          <a:lstStyle>
            <a:lvl1pPr marL="0" indent="0">
              <a:buNone/>
              <a:defRPr sz="2400">
                <a:solidFill>
                  <a:schemeClr val="accent2"/>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5" name="Title 1">
            <a:extLst>
              <a:ext uri="{FF2B5EF4-FFF2-40B4-BE49-F238E27FC236}">
                <a16:creationId xmlns:a16="http://schemas.microsoft.com/office/drawing/2014/main" id="{CFA85FB5-11D3-CCC2-23B8-58132C743222}"/>
              </a:ext>
            </a:extLst>
          </p:cNvPr>
          <p:cNvSpPr>
            <a:spLocks noGrp="1"/>
          </p:cNvSpPr>
          <p:nvPr>
            <p:ph type="title"/>
          </p:nvPr>
        </p:nvSpPr>
        <p:spPr>
          <a:xfrm>
            <a:off x="422788" y="685800"/>
            <a:ext cx="8411651" cy="2971800"/>
          </a:xfrm>
          <a:prstGeom prst="rect">
            <a:avLst/>
          </a:prstGeom>
        </p:spPr>
        <p:txBody>
          <a:bodyPr anchor="b"/>
          <a:lstStyle>
            <a:lvl1pPr>
              <a:defRPr sz="5400" b="1" i="0">
                <a:solidFill>
                  <a:schemeClr val="bg2"/>
                </a:solidFill>
                <a:latin typeface="Montserrat SemiBold" pitchFamily="2" charset="77"/>
              </a:defRPr>
            </a:lvl1pPr>
          </a:lstStyle>
          <a:p>
            <a:r>
              <a:rPr lang="en-US"/>
              <a:t>Click to edit Master title style</a:t>
            </a:r>
          </a:p>
        </p:txBody>
      </p:sp>
    </p:spTree>
    <p:extLst>
      <p:ext uri="{BB962C8B-B14F-4D97-AF65-F5344CB8AC3E}">
        <p14:creationId xmlns:p14="http://schemas.microsoft.com/office/powerpoint/2010/main" val="20050547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Content Slide - Full Width">
    <p:spTree>
      <p:nvGrpSpPr>
        <p:cNvPr id="1" name=""/>
        <p:cNvGrpSpPr/>
        <p:nvPr/>
      </p:nvGrpSpPr>
      <p:grpSpPr>
        <a:xfrm>
          <a:off x="0" y="0"/>
          <a:ext cx="0" cy="0"/>
          <a:chOff x="0" y="0"/>
          <a:chExt cx="0" cy="0"/>
        </a:xfrm>
      </p:grpSpPr>
      <p:sp>
        <p:nvSpPr>
          <p:cNvPr id="19" name="Text Placeholder 5">
            <a:extLst>
              <a:ext uri="{FF2B5EF4-FFF2-40B4-BE49-F238E27FC236}">
                <a16:creationId xmlns:a16="http://schemas.microsoft.com/office/drawing/2014/main" id="{3F686C8C-E081-5242-90B9-38796068D595}"/>
              </a:ext>
            </a:extLst>
          </p:cNvPr>
          <p:cNvSpPr>
            <a:spLocks noGrp="1"/>
          </p:cNvSpPr>
          <p:nvPr>
            <p:ph type="body" sz="quarter" idx="26"/>
          </p:nvPr>
        </p:nvSpPr>
        <p:spPr>
          <a:xfrm>
            <a:off x="463550" y="1097280"/>
            <a:ext cx="11271250" cy="4872162"/>
          </a:xfrm>
          <a:prstGeom prst="rect">
            <a:avLst/>
          </a:prstGeom>
        </p:spPr>
        <p:txBody>
          <a:bodyPr lIns="0" tIns="0" rIns="0" bIns="0"/>
          <a:lstStyle>
            <a:lvl1pPr marL="0" indent="0" algn="l">
              <a:buNone/>
              <a:defRPr sz="1800" b="0" i="0">
                <a:latin typeface="Montserrat Light" pitchFamily="2" charset="77"/>
                <a:cs typeface="Montserrat Light" pitchFamily="2" charset="77"/>
              </a:defRPr>
            </a:lvl1pPr>
            <a:lvl2pPr marL="174625" indent="-174625" algn="l">
              <a:spcBef>
                <a:spcPts val="1200"/>
              </a:spcBef>
              <a:buFont typeface="Arial" panose="020B0604020202020204" pitchFamily="34" charset="0"/>
              <a:buChar char="•"/>
              <a:tabLst/>
              <a:defRPr sz="1800" b="0" i="0">
                <a:latin typeface="Montserrat Light" pitchFamily="2" charset="77"/>
                <a:cs typeface="Montserrat Light" pitchFamily="2" charset="77"/>
              </a:defRPr>
            </a:lvl2pPr>
            <a:lvl3pPr marL="560070" indent="-285750" algn="l">
              <a:spcBef>
                <a:spcPts val="1200"/>
              </a:spcBef>
              <a:buFont typeface="Montserrat" panose="00000500000000000000" pitchFamily="2" charset="0"/>
              <a:buChar char="–"/>
              <a:defRPr sz="1800" b="0" i="0">
                <a:latin typeface="Montserrat Light" pitchFamily="2" charset="77"/>
                <a:cs typeface="Montserrat Light" pitchFamily="2" charset="77"/>
              </a:defRPr>
            </a:lvl3pPr>
            <a:lvl4pPr marL="834390" indent="-285750" algn="l">
              <a:spcBef>
                <a:spcPts val="1200"/>
              </a:spcBef>
              <a:buFont typeface="Courier New" panose="02070309020205020404" pitchFamily="49" charset="0"/>
              <a:buChar char="o"/>
              <a:defRPr sz="1600" b="0" i="0">
                <a:latin typeface="Montserrat Light" pitchFamily="2" charset="77"/>
                <a:cs typeface="Montserrat Light" pitchFamily="2" charset="77"/>
              </a:defRPr>
            </a:lvl4pPr>
            <a:lvl5pPr marL="1108710" indent="-285750" algn="l">
              <a:defRPr lang="en-US" sz="1400" b="0" i="0" u="none" strike="noStrike" cap="none" spc="0" baseline="0" dirty="0">
                <a:solidFill>
                  <a:srgbClr val="000000"/>
                </a:solidFill>
                <a:uFillTx/>
                <a:latin typeface="Montserrat Light" pitchFamily="2" charset="77"/>
                <a:ea typeface="Montserrat" panose="00000500000000000000" pitchFamily="2" charset="0"/>
                <a:cs typeface="Montserrat Light" pitchFamily="2" charset="77"/>
                <a:sym typeface="Montserrat"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a:extLst>
              <a:ext uri="{FF2B5EF4-FFF2-40B4-BE49-F238E27FC236}">
                <a16:creationId xmlns:a16="http://schemas.microsoft.com/office/drawing/2014/main" id="{F21AE09E-697C-FC45-9E96-2E45E76886AB}"/>
              </a:ext>
            </a:extLst>
          </p:cNvPr>
          <p:cNvSpPr>
            <a:spLocks noGrp="1"/>
          </p:cNvSpPr>
          <p:nvPr>
            <p:ph type="title"/>
          </p:nvPr>
        </p:nvSpPr>
        <p:spPr>
          <a:xfrm>
            <a:off x="463548" y="514928"/>
            <a:ext cx="11271251" cy="365760"/>
          </a:xfrm>
          <a:prstGeom prst="rect">
            <a:avLst/>
          </a:prstGeom>
        </p:spPr>
        <p:txBody>
          <a:bodyPr lIns="0" tIns="0" rIns="0" bIns="0" anchor="t"/>
          <a:lstStyle>
            <a:lvl1pPr marL="0" marR="0" indent="0" algn="l" defTabSz="412750" rtl="0" latinLnBrk="0">
              <a:lnSpc>
                <a:spcPct val="100000"/>
              </a:lnSpc>
              <a:spcBef>
                <a:spcPts val="0"/>
              </a:spcBef>
              <a:spcAft>
                <a:spcPts val="0"/>
              </a:spcAft>
              <a:buClrTx/>
              <a:buSzTx/>
              <a:buFontTx/>
              <a:buNone/>
              <a:tabLst/>
              <a:defRPr lang="en-US" sz="2200" b="1" i="0" u="none" strike="noStrike" cap="none" spc="0" baseline="0" dirty="0" smtClean="0">
                <a:solidFill>
                  <a:srgbClr val="000000"/>
                </a:solidFill>
                <a:uFillTx/>
                <a:latin typeface="Montserrat" panose="00000500000000000000" pitchFamily="2" charset="0"/>
                <a:ea typeface="Montserrat" panose="00000500000000000000" pitchFamily="2" charset="0"/>
                <a:cs typeface="Montserrat" panose="00000500000000000000" pitchFamily="2" charset="0"/>
                <a:sym typeface="Montserrat" panose="00000500000000000000" pitchFamily="2" charset="0"/>
              </a:defRPr>
            </a:lvl1pPr>
          </a:lstStyle>
          <a:p>
            <a:r>
              <a:rPr lang="en-US"/>
              <a:t>Click to edit Master title style</a:t>
            </a:r>
          </a:p>
        </p:txBody>
      </p:sp>
      <p:sp>
        <p:nvSpPr>
          <p:cNvPr id="10" name="Text Placeholder 2">
            <a:extLst>
              <a:ext uri="{FF2B5EF4-FFF2-40B4-BE49-F238E27FC236}">
                <a16:creationId xmlns:a16="http://schemas.microsoft.com/office/drawing/2014/main" id="{E4AEF971-9BCB-1E42-9E22-F8D1F1044C95}"/>
              </a:ext>
            </a:extLst>
          </p:cNvPr>
          <p:cNvSpPr>
            <a:spLocks noGrp="1"/>
          </p:cNvSpPr>
          <p:nvPr>
            <p:ph type="body" sz="quarter" idx="25" hasCustomPrompt="1"/>
          </p:nvPr>
        </p:nvSpPr>
        <p:spPr>
          <a:xfrm>
            <a:off x="463548" y="255612"/>
            <a:ext cx="11271251" cy="201168"/>
          </a:xfrm>
          <a:prstGeom prst="rect">
            <a:avLst/>
          </a:prstGeom>
        </p:spPr>
        <p:txBody>
          <a:bodyPr lIns="0" tIns="0" rIns="0" bIns="0" anchor="ctr"/>
          <a:lstStyle>
            <a:lvl1pPr marL="0" indent="0" algn="l">
              <a:buNone/>
              <a:defRPr lang="en-US" sz="1000" b="0" i="0" cap="all" spc="200" baseline="0" dirty="0">
                <a:solidFill>
                  <a:schemeClr val="accent1"/>
                </a:solidFill>
                <a:latin typeface="Montserrat" panose="00000500000000000000" pitchFamily="2" charset="0"/>
                <a:ea typeface="Montserrat" panose="00000500000000000000" pitchFamily="2" charset="0"/>
                <a:cs typeface="Montserrat" panose="00000500000000000000" pitchFamily="2" charset="0"/>
              </a:defRPr>
            </a:lvl1pPr>
          </a:lstStyle>
          <a:p>
            <a:pPr lvl="0" algn="l"/>
            <a:r>
              <a:rPr lang="en-US"/>
              <a:t>OPTIONAL BREADCRUMB HERE</a:t>
            </a:r>
          </a:p>
        </p:txBody>
      </p:sp>
      <p:sp>
        <p:nvSpPr>
          <p:cNvPr id="8" name="Slide Number Placeholder 5">
            <a:extLst>
              <a:ext uri="{FF2B5EF4-FFF2-40B4-BE49-F238E27FC236}">
                <a16:creationId xmlns:a16="http://schemas.microsoft.com/office/drawing/2014/main" id="{3DB84E04-7731-345F-77EA-3F29E135A0BC}"/>
              </a:ext>
            </a:extLst>
          </p:cNvPr>
          <p:cNvSpPr txBox="1">
            <a:spLocks/>
          </p:cNvSpPr>
          <p:nvPr userDrawn="1"/>
        </p:nvSpPr>
        <p:spPr>
          <a:xfrm>
            <a:off x="11341100" y="6424613"/>
            <a:ext cx="393700" cy="200025"/>
          </a:xfrm>
          <a:prstGeom prst="rect">
            <a:avLst/>
          </a:prstGeom>
        </p:spPr>
        <p:txBody>
          <a:bodyPr vert="horz" lIns="0" tIns="0" rIns="0" bIns="0" rtlCol="0" anchor="ctr">
            <a:noAutofit/>
          </a:bodyPr>
          <a:lstStyle>
            <a:defPPr>
              <a:defRPr lang="en-US"/>
            </a:defPPr>
            <a:lvl1pPr algn="r" rtl="0" eaLnBrk="1" fontAlgn="auto" hangingPunct="1">
              <a:spcBef>
                <a:spcPts val="0"/>
              </a:spcBef>
              <a:spcAft>
                <a:spcPts val="0"/>
              </a:spcAft>
              <a:defRPr sz="800" kern="1200">
                <a:solidFill>
                  <a:schemeClr val="tx2"/>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fld id="{5F05AE8C-CF5F-4A4E-B69B-C9D8FA4EC18A}" type="slidenum">
              <a:rPr lang="en-US" smtClean="0">
                <a:solidFill>
                  <a:srgbClr val="112F64"/>
                </a:solidFill>
                <a:latin typeface="Montserrat" panose="00000500000000000000" pitchFamily="2" charset="0"/>
              </a:rPr>
              <a:pPr>
                <a:defRPr/>
              </a:pPr>
              <a:t>‹#›</a:t>
            </a:fld>
            <a:endParaRPr lang="en-US">
              <a:solidFill>
                <a:srgbClr val="112F64"/>
              </a:solidFill>
              <a:latin typeface="Montserrat" panose="00000500000000000000" pitchFamily="2" charset="0"/>
            </a:endParaRPr>
          </a:p>
        </p:txBody>
      </p:sp>
      <p:sp>
        <p:nvSpPr>
          <p:cNvPr id="11" name="Footer Placeholder 4">
            <a:extLst>
              <a:ext uri="{FF2B5EF4-FFF2-40B4-BE49-F238E27FC236}">
                <a16:creationId xmlns:a16="http://schemas.microsoft.com/office/drawing/2014/main" id="{75064991-9187-8694-627F-2FECE8244915}"/>
              </a:ext>
            </a:extLst>
          </p:cNvPr>
          <p:cNvSpPr txBox="1">
            <a:spLocks/>
          </p:cNvSpPr>
          <p:nvPr userDrawn="1"/>
        </p:nvSpPr>
        <p:spPr>
          <a:xfrm>
            <a:off x="463550" y="6427788"/>
            <a:ext cx="4114800" cy="198437"/>
          </a:xfrm>
          <a:prstGeom prst="rect">
            <a:avLst/>
          </a:prstGeom>
        </p:spPr>
        <p:txBody>
          <a:bodyPr vert="horz" lIns="0" tIns="0" rIns="0" bIns="0" rtlCol="0" anchor="ctr">
            <a:noAutofit/>
          </a:bodyPr>
          <a:lstStyle>
            <a:defPPr>
              <a:defRPr lang="en-US"/>
            </a:defPPr>
            <a:lvl1pPr algn="l" rtl="0" eaLnBrk="1" fontAlgn="auto" hangingPunct="1">
              <a:spcBef>
                <a:spcPts val="0"/>
              </a:spcBef>
              <a:spcAft>
                <a:spcPts val="0"/>
              </a:spcAft>
              <a:defRPr sz="800" kern="1200">
                <a:solidFill>
                  <a:schemeClr val="tx1"/>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r>
              <a:rPr lang="en-US">
                <a:solidFill>
                  <a:srgbClr val="000000"/>
                </a:solidFill>
                <a:latin typeface="Montserrat" panose="00000500000000000000" pitchFamily="2" charset="0"/>
              </a:rPr>
              <a:t>© 2023 Comcast. All rights reserved.</a:t>
            </a:r>
          </a:p>
        </p:txBody>
      </p:sp>
    </p:spTree>
    <p:extLst>
      <p:ext uri="{BB962C8B-B14F-4D97-AF65-F5344CB8AC3E}">
        <p14:creationId xmlns:p14="http://schemas.microsoft.com/office/powerpoint/2010/main" val="1148059763"/>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432">
          <p15:clr>
            <a:srgbClr val="FBAE40"/>
          </p15:clr>
        </p15:guide>
        <p15:guide id="3" pos="7248">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ntent Slide - Blue">
    <p:bg>
      <p:bgPr>
        <a:solidFill>
          <a:schemeClr val="accent1"/>
        </a:solidFill>
        <a:effectLst/>
      </p:bgPr>
    </p:bg>
    <p:spTree>
      <p:nvGrpSpPr>
        <p:cNvPr id="1" name=""/>
        <p:cNvGrpSpPr/>
        <p:nvPr/>
      </p:nvGrpSpPr>
      <p:grpSpPr>
        <a:xfrm>
          <a:off x="0" y="0"/>
          <a:ext cx="0" cy="0"/>
          <a:chOff x="0" y="0"/>
          <a:chExt cx="0" cy="0"/>
        </a:xfrm>
      </p:grpSpPr>
      <p:sp>
        <p:nvSpPr>
          <p:cNvPr id="19" name="Text Placeholder 5">
            <a:extLst>
              <a:ext uri="{FF2B5EF4-FFF2-40B4-BE49-F238E27FC236}">
                <a16:creationId xmlns:a16="http://schemas.microsoft.com/office/drawing/2014/main" id="{3F686C8C-E081-5242-90B9-38796068D595}"/>
              </a:ext>
            </a:extLst>
          </p:cNvPr>
          <p:cNvSpPr>
            <a:spLocks noGrp="1"/>
          </p:cNvSpPr>
          <p:nvPr>
            <p:ph type="body" sz="quarter" idx="26"/>
          </p:nvPr>
        </p:nvSpPr>
        <p:spPr>
          <a:xfrm>
            <a:off x="463550" y="1097280"/>
            <a:ext cx="11271250" cy="4872162"/>
          </a:xfrm>
          <a:prstGeom prst="rect">
            <a:avLst/>
          </a:prstGeom>
        </p:spPr>
        <p:txBody>
          <a:bodyPr lIns="0" tIns="0" rIns="0" bIns="0"/>
          <a:lstStyle>
            <a:lvl1pPr marL="0" indent="0" algn="l">
              <a:buNone/>
              <a:defRPr sz="1800" b="0" i="0">
                <a:solidFill>
                  <a:schemeClr val="bg2"/>
                </a:solidFill>
                <a:latin typeface="Montserrat Light" pitchFamily="2" charset="77"/>
                <a:cs typeface="Montserrat Light" pitchFamily="2" charset="77"/>
              </a:defRPr>
            </a:lvl1pPr>
            <a:lvl2pPr marL="174625" indent="-174625" algn="l">
              <a:spcBef>
                <a:spcPts val="1200"/>
              </a:spcBef>
              <a:buFont typeface="Arial" panose="020B0604020202020204" pitchFamily="34" charset="0"/>
              <a:buChar char="•"/>
              <a:tabLst/>
              <a:defRPr sz="1800" b="0" i="0">
                <a:solidFill>
                  <a:schemeClr val="bg2"/>
                </a:solidFill>
                <a:latin typeface="Montserrat Light" pitchFamily="2" charset="77"/>
                <a:cs typeface="Montserrat Light" pitchFamily="2" charset="77"/>
              </a:defRPr>
            </a:lvl2pPr>
            <a:lvl3pPr marL="560070" indent="-285750" algn="l">
              <a:spcBef>
                <a:spcPts val="1200"/>
              </a:spcBef>
              <a:buFont typeface="Montserrat" panose="00000500000000000000" pitchFamily="2" charset="0"/>
              <a:buChar char="–"/>
              <a:defRPr sz="1800" b="0" i="0">
                <a:solidFill>
                  <a:schemeClr val="bg2"/>
                </a:solidFill>
                <a:latin typeface="Montserrat Light" pitchFamily="2" charset="77"/>
                <a:cs typeface="Montserrat Light" pitchFamily="2" charset="77"/>
              </a:defRPr>
            </a:lvl3pPr>
            <a:lvl4pPr marL="834390" indent="-285750" algn="l">
              <a:spcBef>
                <a:spcPts val="1200"/>
              </a:spcBef>
              <a:buFont typeface="Courier New" panose="02070309020205020404" pitchFamily="49" charset="0"/>
              <a:buChar char="o"/>
              <a:defRPr sz="1600" b="0" i="0">
                <a:solidFill>
                  <a:schemeClr val="bg2"/>
                </a:solidFill>
                <a:latin typeface="Montserrat Light" pitchFamily="2" charset="77"/>
                <a:cs typeface="Montserrat Light" pitchFamily="2" charset="77"/>
              </a:defRPr>
            </a:lvl4pPr>
            <a:lvl5pPr marL="1108710" indent="-285750" algn="l">
              <a:defRPr lang="en-US" sz="1400" b="0" i="0" u="none" strike="noStrike" cap="none" spc="0" baseline="0" dirty="0">
                <a:solidFill>
                  <a:schemeClr val="bg2"/>
                </a:solidFill>
                <a:uFillTx/>
                <a:latin typeface="Montserrat Light" pitchFamily="2" charset="77"/>
                <a:ea typeface="Montserrat" panose="00000500000000000000" pitchFamily="2" charset="0"/>
                <a:cs typeface="Montserrat Light" pitchFamily="2" charset="77"/>
                <a:sym typeface="Montserrat"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a:extLst>
              <a:ext uri="{FF2B5EF4-FFF2-40B4-BE49-F238E27FC236}">
                <a16:creationId xmlns:a16="http://schemas.microsoft.com/office/drawing/2014/main" id="{F21AE09E-697C-FC45-9E96-2E45E76886AB}"/>
              </a:ext>
            </a:extLst>
          </p:cNvPr>
          <p:cNvSpPr>
            <a:spLocks noGrp="1"/>
          </p:cNvSpPr>
          <p:nvPr>
            <p:ph type="title"/>
          </p:nvPr>
        </p:nvSpPr>
        <p:spPr>
          <a:xfrm>
            <a:off x="463548" y="514928"/>
            <a:ext cx="11271251" cy="365760"/>
          </a:xfrm>
          <a:prstGeom prst="rect">
            <a:avLst/>
          </a:prstGeom>
        </p:spPr>
        <p:txBody>
          <a:bodyPr lIns="0" tIns="0" rIns="0" bIns="0" anchor="t"/>
          <a:lstStyle>
            <a:lvl1pPr marL="0" marR="0" indent="0" algn="l" defTabSz="412750" rtl="0" latinLnBrk="0">
              <a:lnSpc>
                <a:spcPct val="100000"/>
              </a:lnSpc>
              <a:spcBef>
                <a:spcPts val="0"/>
              </a:spcBef>
              <a:spcAft>
                <a:spcPts val="0"/>
              </a:spcAft>
              <a:buClrTx/>
              <a:buSzTx/>
              <a:buFontTx/>
              <a:buNone/>
              <a:tabLst/>
              <a:defRPr lang="en-US" sz="2200" b="1" i="0" u="none" strike="noStrike" cap="none" spc="0" baseline="0" dirty="0" smtClean="0">
                <a:solidFill>
                  <a:schemeClr val="bg2"/>
                </a:solidFill>
                <a:uFillTx/>
                <a:latin typeface="Montserrat" panose="00000500000000000000" pitchFamily="2" charset="0"/>
                <a:ea typeface="Montserrat" panose="00000500000000000000" pitchFamily="2" charset="0"/>
                <a:cs typeface="Montserrat" panose="00000500000000000000" pitchFamily="2" charset="0"/>
                <a:sym typeface="Montserrat" panose="00000500000000000000" pitchFamily="2" charset="0"/>
              </a:defRPr>
            </a:lvl1pPr>
          </a:lstStyle>
          <a:p>
            <a:r>
              <a:rPr lang="en-US"/>
              <a:t>Click to edit Master title style</a:t>
            </a:r>
          </a:p>
        </p:txBody>
      </p:sp>
      <p:sp>
        <p:nvSpPr>
          <p:cNvPr id="10" name="Text Placeholder 2">
            <a:extLst>
              <a:ext uri="{FF2B5EF4-FFF2-40B4-BE49-F238E27FC236}">
                <a16:creationId xmlns:a16="http://schemas.microsoft.com/office/drawing/2014/main" id="{E4AEF971-9BCB-1E42-9E22-F8D1F1044C95}"/>
              </a:ext>
            </a:extLst>
          </p:cNvPr>
          <p:cNvSpPr>
            <a:spLocks noGrp="1"/>
          </p:cNvSpPr>
          <p:nvPr>
            <p:ph type="body" sz="quarter" idx="25" hasCustomPrompt="1"/>
          </p:nvPr>
        </p:nvSpPr>
        <p:spPr>
          <a:xfrm>
            <a:off x="463548" y="255612"/>
            <a:ext cx="11271251" cy="201168"/>
          </a:xfrm>
          <a:prstGeom prst="rect">
            <a:avLst/>
          </a:prstGeom>
        </p:spPr>
        <p:txBody>
          <a:bodyPr lIns="0" tIns="0" rIns="0" bIns="0" anchor="ctr"/>
          <a:lstStyle>
            <a:lvl1pPr marL="0" indent="0" algn="l">
              <a:buNone/>
              <a:defRPr lang="en-US" sz="1000" b="0" i="0" cap="all" spc="200" baseline="0" dirty="0">
                <a:solidFill>
                  <a:schemeClr val="bg2"/>
                </a:solidFill>
                <a:latin typeface="Montserrat" panose="00000500000000000000" pitchFamily="2" charset="0"/>
                <a:ea typeface="Montserrat" panose="00000500000000000000" pitchFamily="2" charset="0"/>
                <a:cs typeface="Montserrat" panose="00000500000000000000" pitchFamily="2" charset="0"/>
              </a:defRPr>
            </a:lvl1pPr>
          </a:lstStyle>
          <a:p>
            <a:pPr lvl="0" algn="l"/>
            <a:r>
              <a:rPr lang="en-US"/>
              <a:t>OPTIONAL BREADCRUMB HERE</a:t>
            </a:r>
          </a:p>
        </p:txBody>
      </p:sp>
      <p:sp>
        <p:nvSpPr>
          <p:cNvPr id="8" name="Slide Number Placeholder 5">
            <a:extLst>
              <a:ext uri="{FF2B5EF4-FFF2-40B4-BE49-F238E27FC236}">
                <a16:creationId xmlns:a16="http://schemas.microsoft.com/office/drawing/2014/main" id="{3DB84E04-7731-345F-77EA-3F29E135A0BC}"/>
              </a:ext>
            </a:extLst>
          </p:cNvPr>
          <p:cNvSpPr txBox="1">
            <a:spLocks/>
          </p:cNvSpPr>
          <p:nvPr userDrawn="1"/>
        </p:nvSpPr>
        <p:spPr>
          <a:xfrm>
            <a:off x="11341100" y="6424613"/>
            <a:ext cx="393700" cy="200025"/>
          </a:xfrm>
          <a:prstGeom prst="rect">
            <a:avLst/>
          </a:prstGeom>
        </p:spPr>
        <p:txBody>
          <a:bodyPr vert="horz" lIns="0" tIns="0" rIns="0" bIns="0" rtlCol="0" anchor="ctr">
            <a:noAutofit/>
          </a:bodyPr>
          <a:lstStyle>
            <a:defPPr>
              <a:defRPr lang="en-US"/>
            </a:defPPr>
            <a:lvl1pPr algn="r" rtl="0" eaLnBrk="1" fontAlgn="auto" hangingPunct="1">
              <a:spcBef>
                <a:spcPts val="0"/>
              </a:spcBef>
              <a:spcAft>
                <a:spcPts val="0"/>
              </a:spcAft>
              <a:defRPr sz="800" kern="1200">
                <a:solidFill>
                  <a:schemeClr val="tx2"/>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fld id="{5F05AE8C-CF5F-4A4E-B69B-C9D8FA4EC18A}" type="slidenum">
              <a:rPr lang="en-US" smtClean="0">
                <a:solidFill>
                  <a:schemeClr val="bg2"/>
                </a:solidFill>
                <a:latin typeface="Montserrat" panose="00000500000000000000" pitchFamily="2" charset="0"/>
              </a:rPr>
              <a:pPr>
                <a:defRPr/>
              </a:pPr>
              <a:t>‹#›</a:t>
            </a:fld>
            <a:endParaRPr lang="en-US">
              <a:solidFill>
                <a:schemeClr val="bg2"/>
              </a:solidFill>
              <a:latin typeface="Montserrat" panose="00000500000000000000" pitchFamily="2" charset="0"/>
            </a:endParaRPr>
          </a:p>
        </p:txBody>
      </p:sp>
      <p:sp>
        <p:nvSpPr>
          <p:cNvPr id="11" name="Footer Placeholder 4">
            <a:extLst>
              <a:ext uri="{FF2B5EF4-FFF2-40B4-BE49-F238E27FC236}">
                <a16:creationId xmlns:a16="http://schemas.microsoft.com/office/drawing/2014/main" id="{75064991-9187-8694-627F-2FECE8244915}"/>
              </a:ext>
            </a:extLst>
          </p:cNvPr>
          <p:cNvSpPr txBox="1">
            <a:spLocks/>
          </p:cNvSpPr>
          <p:nvPr userDrawn="1"/>
        </p:nvSpPr>
        <p:spPr>
          <a:xfrm>
            <a:off x="463550" y="6427788"/>
            <a:ext cx="4114800" cy="198437"/>
          </a:xfrm>
          <a:prstGeom prst="rect">
            <a:avLst/>
          </a:prstGeom>
        </p:spPr>
        <p:txBody>
          <a:bodyPr vert="horz" lIns="0" tIns="0" rIns="0" bIns="0" rtlCol="0" anchor="ctr">
            <a:noAutofit/>
          </a:bodyPr>
          <a:lstStyle>
            <a:defPPr>
              <a:defRPr lang="en-US"/>
            </a:defPPr>
            <a:lvl1pPr algn="l" rtl="0" eaLnBrk="1" fontAlgn="auto" hangingPunct="1">
              <a:spcBef>
                <a:spcPts val="0"/>
              </a:spcBef>
              <a:spcAft>
                <a:spcPts val="0"/>
              </a:spcAft>
              <a:defRPr sz="800" kern="1200">
                <a:solidFill>
                  <a:schemeClr val="tx1"/>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r>
              <a:rPr lang="en-US">
                <a:solidFill>
                  <a:schemeClr val="bg2"/>
                </a:solidFill>
                <a:latin typeface="Montserrat" panose="00000500000000000000" pitchFamily="2" charset="0"/>
              </a:rPr>
              <a:t>© 2023 Comcast. All rights reserved.</a:t>
            </a:r>
          </a:p>
        </p:txBody>
      </p:sp>
      <p:pic>
        <p:nvPicPr>
          <p:cNvPr id="2" name="Picture 9">
            <a:extLst>
              <a:ext uri="{FF2B5EF4-FFF2-40B4-BE49-F238E27FC236}">
                <a16:creationId xmlns:a16="http://schemas.microsoft.com/office/drawing/2014/main" id="{0B1B1189-E823-5385-F684-791E87ABCFE1}"/>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8677275" y="6438900"/>
            <a:ext cx="2525713" cy="180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50317780"/>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432">
          <p15:clr>
            <a:srgbClr val="FBAE40"/>
          </p15:clr>
        </p15:guide>
        <p15:guide id="3" pos="7248">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ontent Slide - 2 Col">
    <p:spTree>
      <p:nvGrpSpPr>
        <p:cNvPr id="1" name=""/>
        <p:cNvGrpSpPr/>
        <p:nvPr/>
      </p:nvGrpSpPr>
      <p:grpSpPr>
        <a:xfrm>
          <a:off x="0" y="0"/>
          <a:ext cx="0" cy="0"/>
          <a:chOff x="0" y="0"/>
          <a:chExt cx="0" cy="0"/>
        </a:xfrm>
      </p:grpSpPr>
      <p:sp>
        <p:nvSpPr>
          <p:cNvPr id="19" name="Text Placeholder 5">
            <a:extLst>
              <a:ext uri="{FF2B5EF4-FFF2-40B4-BE49-F238E27FC236}">
                <a16:creationId xmlns:a16="http://schemas.microsoft.com/office/drawing/2014/main" id="{3F686C8C-E081-5242-90B9-38796068D595}"/>
              </a:ext>
            </a:extLst>
          </p:cNvPr>
          <p:cNvSpPr>
            <a:spLocks noGrp="1"/>
          </p:cNvSpPr>
          <p:nvPr>
            <p:ph type="body" sz="quarter" idx="26"/>
          </p:nvPr>
        </p:nvSpPr>
        <p:spPr>
          <a:xfrm>
            <a:off x="463550" y="1097280"/>
            <a:ext cx="5404894" cy="4872162"/>
          </a:xfrm>
          <a:prstGeom prst="rect">
            <a:avLst/>
          </a:prstGeom>
        </p:spPr>
        <p:txBody>
          <a:bodyPr lIns="0" tIns="0" rIns="0" bIns="0"/>
          <a:lstStyle>
            <a:lvl1pPr marL="0" indent="0" algn="l">
              <a:buNone/>
              <a:defRPr sz="1800" b="0" i="0">
                <a:latin typeface="Montserrat Light" pitchFamily="2" charset="77"/>
                <a:cs typeface="Montserrat Light" pitchFamily="2" charset="77"/>
              </a:defRPr>
            </a:lvl1pPr>
            <a:lvl2pPr marL="174625" indent="-174625" algn="l">
              <a:spcBef>
                <a:spcPts val="1200"/>
              </a:spcBef>
              <a:buFont typeface="Arial" panose="020B0604020202020204" pitchFamily="34" charset="0"/>
              <a:buChar char="•"/>
              <a:tabLst/>
              <a:defRPr sz="1800" b="0" i="0">
                <a:latin typeface="Montserrat Light" pitchFamily="2" charset="77"/>
                <a:cs typeface="Montserrat Light" pitchFamily="2" charset="77"/>
              </a:defRPr>
            </a:lvl2pPr>
            <a:lvl3pPr marL="560070" indent="-285750" algn="l">
              <a:spcBef>
                <a:spcPts val="1200"/>
              </a:spcBef>
              <a:buFont typeface="Montserrat" panose="00000500000000000000" pitchFamily="2" charset="0"/>
              <a:buChar char="–"/>
              <a:defRPr sz="1800" b="0" i="0">
                <a:latin typeface="Montserrat Light" pitchFamily="2" charset="77"/>
                <a:cs typeface="Montserrat Light" pitchFamily="2" charset="77"/>
              </a:defRPr>
            </a:lvl3pPr>
            <a:lvl4pPr marL="834390" indent="-285750" algn="l">
              <a:spcBef>
                <a:spcPts val="1200"/>
              </a:spcBef>
              <a:buFont typeface="Courier New" panose="02070309020205020404" pitchFamily="49" charset="0"/>
              <a:buChar char="o"/>
              <a:defRPr sz="1600" b="0" i="0">
                <a:latin typeface="Montserrat Light" pitchFamily="2" charset="77"/>
                <a:cs typeface="Montserrat Light" pitchFamily="2" charset="77"/>
              </a:defRPr>
            </a:lvl4pPr>
            <a:lvl5pPr marL="1108710" indent="-285750" algn="l">
              <a:defRPr lang="en-US" sz="1400" b="0" i="0" u="none" strike="noStrike" cap="none" spc="0" baseline="0" dirty="0">
                <a:solidFill>
                  <a:srgbClr val="000000"/>
                </a:solidFill>
                <a:uFillTx/>
                <a:latin typeface="Montserrat Light" pitchFamily="2" charset="77"/>
                <a:ea typeface="Montserrat" panose="00000500000000000000" pitchFamily="2" charset="0"/>
                <a:cs typeface="Montserrat Light" pitchFamily="2" charset="77"/>
                <a:sym typeface="Montserrat"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a:extLst>
              <a:ext uri="{FF2B5EF4-FFF2-40B4-BE49-F238E27FC236}">
                <a16:creationId xmlns:a16="http://schemas.microsoft.com/office/drawing/2014/main" id="{F21AE09E-697C-FC45-9E96-2E45E76886AB}"/>
              </a:ext>
            </a:extLst>
          </p:cNvPr>
          <p:cNvSpPr>
            <a:spLocks noGrp="1"/>
          </p:cNvSpPr>
          <p:nvPr>
            <p:ph type="title"/>
          </p:nvPr>
        </p:nvSpPr>
        <p:spPr>
          <a:xfrm>
            <a:off x="463548" y="514928"/>
            <a:ext cx="11271251" cy="368157"/>
          </a:xfrm>
          <a:prstGeom prst="rect">
            <a:avLst/>
          </a:prstGeom>
        </p:spPr>
        <p:txBody>
          <a:bodyPr lIns="0" tIns="0" rIns="0" bIns="0" anchor="t"/>
          <a:lstStyle>
            <a:lvl1pPr marL="0" marR="0" indent="0" algn="l" defTabSz="412750" rtl="0" latinLnBrk="0">
              <a:lnSpc>
                <a:spcPct val="100000"/>
              </a:lnSpc>
              <a:spcBef>
                <a:spcPts val="0"/>
              </a:spcBef>
              <a:spcAft>
                <a:spcPts val="0"/>
              </a:spcAft>
              <a:buClrTx/>
              <a:buSzTx/>
              <a:buFontTx/>
              <a:buNone/>
              <a:tabLst/>
              <a:defRPr lang="en-US" sz="2200" b="1" i="0" u="none" strike="noStrike" cap="none" spc="0" baseline="0" dirty="0" smtClean="0">
                <a:solidFill>
                  <a:srgbClr val="000000"/>
                </a:solidFill>
                <a:uFillTx/>
                <a:latin typeface="Montserrat" panose="00000500000000000000" pitchFamily="2" charset="0"/>
                <a:ea typeface="Montserrat" panose="00000500000000000000" pitchFamily="2" charset="0"/>
                <a:cs typeface="Montserrat" panose="00000500000000000000" pitchFamily="2" charset="0"/>
                <a:sym typeface="Montserrat" panose="00000500000000000000" pitchFamily="2" charset="0"/>
              </a:defRPr>
            </a:lvl1pPr>
          </a:lstStyle>
          <a:p>
            <a:r>
              <a:rPr lang="en-US"/>
              <a:t>Click to edit Master title style</a:t>
            </a:r>
          </a:p>
        </p:txBody>
      </p:sp>
      <p:sp>
        <p:nvSpPr>
          <p:cNvPr id="10" name="Text Placeholder 2">
            <a:extLst>
              <a:ext uri="{FF2B5EF4-FFF2-40B4-BE49-F238E27FC236}">
                <a16:creationId xmlns:a16="http://schemas.microsoft.com/office/drawing/2014/main" id="{E4AEF971-9BCB-1E42-9E22-F8D1F1044C95}"/>
              </a:ext>
            </a:extLst>
          </p:cNvPr>
          <p:cNvSpPr>
            <a:spLocks noGrp="1"/>
          </p:cNvSpPr>
          <p:nvPr>
            <p:ph type="body" sz="quarter" idx="25" hasCustomPrompt="1"/>
          </p:nvPr>
        </p:nvSpPr>
        <p:spPr>
          <a:xfrm>
            <a:off x="463548" y="255612"/>
            <a:ext cx="11271251" cy="201168"/>
          </a:xfrm>
          <a:prstGeom prst="rect">
            <a:avLst/>
          </a:prstGeom>
        </p:spPr>
        <p:txBody>
          <a:bodyPr lIns="0" tIns="0" rIns="0" bIns="0" anchor="ctr"/>
          <a:lstStyle>
            <a:lvl1pPr marL="0" indent="0" algn="l">
              <a:buNone/>
              <a:defRPr lang="en-US" sz="1000" b="0" i="0" cap="all" spc="200" baseline="0" dirty="0">
                <a:solidFill>
                  <a:schemeClr val="accent1"/>
                </a:solidFill>
                <a:latin typeface="Montserrat" panose="00000500000000000000" pitchFamily="2" charset="0"/>
                <a:ea typeface="Montserrat" panose="00000500000000000000" pitchFamily="2" charset="0"/>
                <a:cs typeface="Montserrat" panose="00000500000000000000" pitchFamily="2" charset="0"/>
              </a:defRPr>
            </a:lvl1pPr>
          </a:lstStyle>
          <a:p>
            <a:pPr lvl="0" algn="l"/>
            <a:r>
              <a:rPr lang="en-US"/>
              <a:t>OPTIONAL BREADCRUMB HERE</a:t>
            </a:r>
          </a:p>
        </p:txBody>
      </p:sp>
      <p:sp>
        <p:nvSpPr>
          <p:cNvPr id="8" name="Slide Number Placeholder 5">
            <a:extLst>
              <a:ext uri="{FF2B5EF4-FFF2-40B4-BE49-F238E27FC236}">
                <a16:creationId xmlns:a16="http://schemas.microsoft.com/office/drawing/2014/main" id="{3DB84E04-7731-345F-77EA-3F29E135A0BC}"/>
              </a:ext>
            </a:extLst>
          </p:cNvPr>
          <p:cNvSpPr txBox="1">
            <a:spLocks/>
          </p:cNvSpPr>
          <p:nvPr userDrawn="1"/>
        </p:nvSpPr>
        <p:spPr>
          <a:xfrm>
            <a:off x="11341100" y="6424613"/>
            <a:ext cx="393700" cy="200025"/>
          </a:xfrm>
          <a:prstGeom prst="rect">
            <a:avLst/>
          </a:prstGeom>
        </p:spPr>
        <p:txBody>
          <a:bodyPr vert="horz" lIns="0" tIns="0" rIns="0" bIns="0" rtlCol="0" anchor="ctr">
            <a:noAutofit/>
          </a:bodyPr>
          <a:lstStyle>
            <a:defPPr>
              <a:defRPr lang="en-US"/>
            </a:defPPr>
            <a:lvl1pPr algn="r" rtl="0" eaLnBrk="1" fontAlgn="auto" hangingPunct="1">
              <a:spcBef>
                <a:spcPts val="0"/>
              </a:spcBef>
              <a:spcAft>
                <a:spcPts val="0"/>
              </a:spcAft>
              <a:defRPr sz="800" kern="1200">
                <a:solidFill>
                  <a:schemeClr val="tx2"/>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fld id="{5F05AE8C-CF5F-4A4E-B69B-C9D8FA4EC18A}" type="slidenum">
              <a:rPr lang="en-US" smtClean="0">
                <a:solidFill>
                  <a:srgbClr val="112F64"/>
                </a:solidFill>
                <a:latin typeface="Montserrat" panose="00000500000000000000" pitchFamily="2" charset="0"/>
              </a:rPr>
              <a:pPr>
                <a:defRPr/>
              </a:pPr>
              <a:t>‹#›</a:t>
            </a:fld>
            <a:endParaRPr lang="en-US">
              <a:solidFill>
                <a:srgbClr val="112F64"/>
              </a:solidFill>
              <a:latin typeface="Montserrat" panose="00000500000000000000" pitchFamily="2" charset="0"/>
            </a:endParaRPr>
          </a:p>
        </p:txBody>
      </p:sp>
      <p:sp>
        <p:nvSpPr>
          <p:cNvPr id="11" name="Footer Placeholder 4">
            <a:extLst>
              <a:ext uri="{FF2B5EF4-FFF2-40B4-BE49-F238E27FC236}">
                <a16:creationId xmlns:a16="http://schemas.microsoft.com/office/drawing/2014/main" id="{75064991-9187-8694-627F-2FECE8244915}"/>
              </a:ext>
            </a:extLst>
          </p:cNvPr>
          <p:cNvSpPr txBox="1">
            <a:spLocks/>
          </p:cNvSpPr>
          <p:nvPr userDrawn="1"/>
        </p:nvSpPr>
        <p:spPr>
          <a:xfrm>
            <a:off x="463550" y="6427788"/>
            <a:ext cx="4114800" cy="198437"/>
          </a:xfrm>
          <a:prstGeom prst="rect">
            <a:avLst/>
          </a:prstGeom>
        </p:spPr>
        <p:txBody>
          <a:bodyPr vert="horz" lIns="0" tIns="0" rIns="0" bIns="0" rtlCol="0" anchor="ctr">
            <a:noAutofit/>
          </a:bodyPr>
          <a:lstStyle>
            <a:defPPr>
              <a:defRPr lang="en-US"/>
            </a:defPPr>
            <a:lvl1pPr algn="l" rtl="0" eaLnBrk="1" fontAlgn="auto" hangingPunct="1">
              <a:spcBef>
                <a:spcPts val="0"/>
              </a:spcBef>
              <a:spcAft>
                <a:spcPts val="0"/>
              </a:spcAft>
              <a:defRPr sz="800" kern="1200">
                <a:solidFill>
                  <a:schemeClr val="tx1"/>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r>
              <a:rPr lang="en-US">
                <a:solidFill>
                  <a:srgbClr val="000000"/>
                </a:solidFill>
                <a:latin typeface="Montserrat" panose="00000500000000000000" pitchFamily="2" charset="0"/>
              </a:rPr>
              <a:t>© 2023 Comcast. All rights reserved.</a:t>
            </a:r>
          </a:p>
        </p:txBody>
      </p:sp>
      <p:sp>
        <p:nvSpPr>
          <p:cNvPr id="2" name="Text Placeholder 5">
            <a:extLst>
              <a:ext uri="{FF2B5EF4-FFF2-40B4-BE49-F238E27FC236}">
                <a16:creationId xmlns:a16="http://schemas.microsoft.com/office/drawing/2014/main" id="{BCB3DDCC-4426-368A-BBF2-922CA573617E}"/>
              </a:ext>
            </a:extLst>
          </p:cNvPr>
          <p:cNvSpPr>
            <a:spLocks noGrp="1"/>
          </p:cNvSpPr>
          <p:nvPr>
            <p:ph type="body" sz="quarter" idx="27"/>
          </p:nvPr>
        </p:nvSpPr>
        <p:spPr>
          <a:xfrm>
            <a:off x="6311030" y="1097280"/>
            <a:ext cx="5404894" cy="4872162"/>
          </a:xfrm>
          <a:prstGeom prst="rect">
            <a:avLst/>
          </a:prstGeom>
        </p:spPr>
        <p:txBody>
          <a:bodyPr lIns="0" tIns="0" rIns="0" bIns="0"/>
          <a:lstStyle>
            <a:lvl1pPr marL="0" indent="0" algn="l">
              <a:buNone/>
              <a:defRPr sz="1800" b="0" i="0">
                <a:latin typeface="Montserrat Light" pitchFamily="2" charset="77"/>
                <a:cs typeface="Montserrat Light" pitchFamily="2" charset="77"/>
              </a:defRPr>
            </a:lvl1pPr>
            <a:lvl2pPr marL="174625" indent="-174625" algn="l">
              <a:spcBef>
                <a:spcPts val="1200"/>
              </a:spcBef>
              <a:buFont typeface="Arial" panose="020B0604020202020204" pitchFamily="34" charset="0"/>
              <a:buChar char="•"/>
              <a:tabLst/>
              <a:defRPr sz="1800" b="0" i="0">
                <a:latin typeface="Montserrat Light" pitchFamily="2" charset="77"/>
                <a:cs typeface="Montserrat Light" pitchFamily="2" charset="77"/>
              </a:defRPr>
            </a:lvl2pPr>
            <a:lvl3pPr marL="560070" indent="-285750" algn="l">
              <a:spcBef>
                <a:spcPts val="1200"/>
              </a:spcBef>
              <a:buFont typeface="Montserrat" panose="00000500000000000000" pitchFamily="2" charset="0"/>
              <a:buChar char="–"/>
              <a:defRPr sz="1800" b="0" i="0">
                <a:latin typeface="Montserrat Light" pitchFamily="2" charset="77"/>
                <a:cs typeface="Montserrat Light" pitchFamily="2" charset="77"/>
              </a:defRPr>
            </a:lvl3pPr>
            <a:lvl4pPr marL="834390" indent="-285750" algn="l">
              <a:spcBef>
                <a:spcPts val="1200"/>
              </a:spcBef>
              <a:buFont typeface="Courier New" panose="02070309020205020404" pitchFamily="49" charset="0"/>
              <a:buChar char="o"/>
              <a:defRPr sz="1600" b="0" i="0">
                <a:latin typeface="Montserrat Light" pitchFamily="2" charset="77"/>
                <a:cs typeface="Montserrat Light" pitchFamily="2" charset="77"/>
              </a:defRPr>
            </a:lvl4pPr>
            <a:lvl5pPr marL="1108710" indent="-285750" algn="l">
              <a:defRPr lang="en-US" sz="1400" b="0" i="0" u="none" strike="noStrike" cap="none" spc="0" baseline="0" dirty="0">
                <a:solidFill>
                  <a:srgbClr val="000000"/>
                </a:solidFill>
                <a:uFillTx/>
                <a:latin typeface="Montserrat Light" pitchFamily="2" charset="77"/>
                <a:ea typeface="Montserrat" panose="00000500000000000000" pitchFamily="2" charset="0"/>
                <a:cs typeface="Montserrat Light" pitchFamily="2" charset="77"/>
                <a:sym typeface="Montserrat"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60325605"/>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432">
          <p15:clr>
            <a:srgbClr val="FBAE40"/>
          </p15:clr>
        </p15:guide>
        <p15:guide id="3" pos="7248">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ntent Slide - 3 Col">
    <p:spTree>
      <p:nvGrpSpPr>
        <p:cNvPr id="1" name=""/>
        <p:cNvGrpSpPr/>
        <p:nvPr/>
      </p:nvGrpSpPr>
      <p:grpSpPr>
        <a:xfrm>
          <a:off x="0" y="0"/>
          <a:ext cx="0" cy="0"/>
          <a:chOff x="0" y="0"/>
          <a:chExt cx="0" cy="0"/>
        </a:xfrm>
      </p:grpSpPr>
      <p:sp>
        <p:nvSpPr>
          <p:cNvPr id="19" name="Text Placeholder 5">
            <a:extLst>
              <a:ext uri="{FF2B5EF4-FFF2-40B4-BE49-F238E27FC236}">
                <a16:creationId xmlns:a16="http://schemas.microsoft.com/office/drawing/2014/main" id="{3F686C8C-E081-5242-90B9-38796068D595}"/>
              </a:ext>
            </a:extLst>
          </p:cNvPr>
          <p:cNvSpPr>
            <a:spLocks noGrp="1"/>
          </p:cNvSpPr>
          <p:nvPr>
            <p:ph type="body" sz="quarter" idx="26"/>
          </p:nvPr>
        </p:nvSpPr>
        <p:spPr>
          <a:xfrm>
            <a:off x="463550" y="1097280"/>
            <a:ext cx="3377719" cy="4872162"/>
          </a:xfrm>
          <a:prstGeom prst="rect">
            <a:avLst/>
          </a:prstGeom>
        </p:spPr>
        <p:txBody>
          <a:bodyPr lIns="0" tIns="0" rIns="0" bIns="0"/>
          <a:lstStyle>
            <a:lvl1pPr marL="0" indent="0" algn="l">
              <a:buNone/>
              <a:defRPr sz="1800" b="0" i="0">
                <a:latin typeface="Montserrat Light" pitchFamily="2" charset="77"/>
                <a:cs typeface="Montserrat Light" pitchFamily="2" charset="77"/>
              </a:defRPr>
            </a:lvl1pPr>
            <a:lvl2pPr marL="174625" indent="-174625" algn="l">
              <a:spcBef>
                <a:spcPts val="1200"/>
              </a:spcBef>
              <a:buFont typeface="Arial" panose="020B0604020202020204" pitchFamily="34" charset="0"/>
              <a:buChar char="•"/>
              <a:tabLst/>
              <a:defRPr sz="1800" b="0" i="0">
                <a:latin typeface="Montserrat Light" pitchFamily="2" charset="77"/>
                <a:cs typeface="Montserrat Light" pitchFamily="2" charset="77"/>
              </a:defRPr>
            </a:lvl2pPr>
            <a:lvl3pPr marL="560070" indent="-285750" algn="l">
              <a:spcBef>
                <a:spcPts val="1200"/>
              </a:spcBef>
              <a:buFont typeface="Montserrat" panose="00000500000000000000" pitchFamily="2" charset="0"/>
              <a:buChar char="–"/>
              <a:defRPr sz="1800" b="0" i="0">
                <a:latin typeface="Montserrat Light" pitchFamily="2" charset="77"/>
                <a:cs typeface="Montserrat Light" pitchFamily="2" charset="77"/>
              </a:defRPr>
            </a:lvl3pPr>
            <a:lvl4pPr marL="834390" indent="-285750" algn="l">
              <a:spcBef>
                <a:spcPts val="1200"/>
              </a:spcBef>
              <a:buFont typeface="Courier New" panose="02070309020205020404" pitchFamily="49" charset="0"/>
              <a:buChar char="o"/>
              <a:defRPr sz="1600" b="0" i="0">
                <a:latin typeface="Montserrat Light" pitchFamily="2" charset="77"/>
                <a:cs typeface="Montserrat Light" pitchFamily="2" charset="77"/>
              </a:defRPr>
            </a:lvl4pPr>
            <a:lvl5pPr marL="1108710" indent="-285750" algn="l">
              <a:defRPr lang="en-US" sz="1400" b="0" i="0" u="none" strike="noStrike" cap="none" spc="0" baseline="0" dirty="0">
                <a:solidFill>
                  <a:srgbClr val="000000"/>
                </a:solidFill>
                <a:uFillTx/>
                <a:latin typeface="Montserrat Light" pitchFamily="2" charset="77"/>
                <a:ea typeface="Montserrat" panose="00000500000000000000" pitchFamily="2" charset="0"/>
                <a:cs typeface="Montserrat Light" pitchFamily="2" charset="77"/>
                <a:sym typeface="Montserrat"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a:extLst>
              <a:ext uri="{FF2B5EF4-FFF2-40B4-BE49-F238E27FC236}">
                <a16:creationId xmlns:a16="http://schemas.microsoft.com/office/drawing/2014/main" id="{F21AE09E-697C-FC45-9E96-2E45E76886AB}"/>
              </a:ext>
            </a:extLst>
          </p:cNvPr>
          <p:cNvSpPr>
            <a:spLocks noGrp="1"/>
          </p:cNvSpPr>
          <p:nvPr>
            <p:ph type="title"/>
          </p:nvPr>
        </p:nvSpPr>
        <p:spPr>
          <a:xfrm>
            <a:off x="463548" y="514928"/>
            <a:ext cx="11271251" cy="368157"/>
          </a:xfrm>
          <a:prstGeom prst="rect">
            <a:avLst/>
          </a:prstGeom>
        </p:spPr>
        <p:txBody>
          <a:bodyPr lIns="0" tIns="0" rIns="0" bIns="0" anchor="t"/>
          <a:lstStyle>
            <a:lvl1pPr marL="0" marR="0" indent="0" algn="l" defTabSz="412750" rtl="0" latinLnBrk="0">
              <a:lnSpc>
                <a:spcPct val="100000"/>
              </a:lnSpc>
              <a:spcBef>
                <a:spcPts val="0"/>
              </a:spcBef>
              <a:spcAft>
                <a:spcPts val="0"/>
              </a:spcAft>
              <a:buClrTx/>
              <a:buSzTx/>
              <a:buFontTx/>
              <a:buNone/>
              <a:tabLst/>
              <a:defRPr lang="en-US" sz="2200" b="1" i="0" u="none" strike="noStrike" cap="none" spc="0" baseline="0" dirty="0" smtClean="0">
                <a:solidFill>
                  <a:srgbClr val="000000"/>
                </a:solidFill>
                <a:uFillTx/>
                <a:latin typeface="Montserrat" panose="00000500000000000000" pitchFamily="2" charset="0"/>
                <a:ea typeface="Montserrat" panose="00000500000000000000" pitchFamily="2" charset="0"/>
                <a:cs typeface="Montserrat" panose="00000500000000000000" pitchFamily="2" charset="0"/>
                <a:sym typeface="Montserrat" panose="00000500000000000000" pitchFamily="2" charset="0"/>
              </a:defRPr>
            </a:lvl1pPr>
          </a:lstStyle>
          <a:p>
            <a:r>
              <a:rPr lang="en-US"/>
              <a:t>Click to edit Master title style</a:t>
            </a:r>
          </a:p>
        </p:txBody>
      </p:sp>
      <p:sp>
        <p:nvSpPr>
          <p:cNvPr id="10" name="Text Placeholder 2">
            <a:extLst>
              <a:ext uri="{FF2B5EF4-FFF2-40B4-BE49-F238E27FC236}">
                <a16:creationId xmlns:a16="http://schemas.microsoft.com/office/drawing/2014/main" id="{E4AEF971-9BCB-1E42-9E22-F8D1F1044C95}"/>
              </a:ext>
            </a:extLst>
          </p:cNvPr>
          <p:cNvSpPr>
            <a:spLocks noGrp="1"/>
          </p:cNvSpPr>
          <p:nvPr>
            <p:ph type="body" sz="quarter" idx="25" hasCustomPrompt="1"/>
          </p:nvPr>
        </p:nvSpPr>
        <p:spPr>
          <a:xfrm>
            <a:off x="463548" y="255612"/>
            <a:ext cx="11271251" cy="201168"/>
          </a:xfrm>
          <a:prstGeom prst="rect">
            <a:avLst/>
          </a:prstGeom>
        </p:spPr>
        <p:txBody>
          <a:bodyPr lIns="0" tIns="0" rIns="0" bIns="0" anchor="ctr"/>
          <a:lstStyle>
            <a:lvl1pPr marL="0" indent="0" algn="l">
              <a:buNone/>
              <a:defRPr lang="en-US" sz="1000" b="0" i="0" cap="all" spc="200" baseline="0" dirty="0">
                <a:solidFill>
                  <a:schemeClr val="accent1"/>
                </a:solidFill>
                <a:latin typeface="Montserrat" panose="00000500000000000000" pitchFamily="2" charset="0"/>
                <a:ea typeface="Montserrat" panose="00000500000000000000" pitchFamily="2" charset="0"/>
                <a:cs typeface="Montserrat" panose="00000500000000000000" pitchFamily="2" charset="0"/>
              </a:defRPr>
            </a:lvl1pPr>
          </a:lstStyle>
          <a:p>
            <a:pPr lvl="0" algn="l"/>
            <a:r>
              <a:rPr lang="en-US"/>
              <a:t>OPTIONAL BREADCRUMB HERE</a:t>
            </a:r>
          </a:p>
        </p:txBody>
      </p:sp>
      <p:sp>
        <p:nvSpPr>
          <p:cNvPr id="8" name="Slide Number Placeholder 5">
            <a:extLst>
              <a:ext uri="{FF2B5EF4-FFF2-40B4-BE49-F238E27FC236}">
                <a16:creationId xmlns:a16="http://schemas.microsoft.com/office/drawing/2014/main" id="{3DB84E04-7731-345F-77EA-3F29E135A0BC}"/>
              </a:ext>
            </a:extLst>
          </p:cNvPr>
          <p:cNvSpPr txBox="1">
            <a:spLocks/>
          </p:cNvSpPr>
          <p:nvPr userDrawn="1"/>
        </p:nvSpPr>
        <p:spPr>
          <a:xfrm>
            <a:off x="11341100" y="6424613"/>
            <a:ext cx="393700" cy="200025"/>
          </a:xfrm>
          <a:prstGeom prst="rect">
            <a:avLst/>
          </a:prstGeom>
        </p:spPr>
        <p:txBody>
          <a:bodyPr vert="horz" lIns="0" tIns="0" rIns="0" bIns="0" rtlCol="0" anchor="ctr">
            <a:noAutofit/>
          </a:bodyPr>
          <a:lstStyle>
            <a:defPPr>
              <a:defRPr lang="en-US"/>
            </a:defPPr>
            <a:lvl1pPr algn="r" rtl="0" eaLnBrk="1" fontAlgn="auto" hangingPunct="1">
              <a:spcBef>
                <a:spcPts val="0"/>
              </a:spcBef>
              <a:spcAft>
                <a:spcPts val="0"/>
              </a:spcAft>
              <a:defRPr sz="800" kern="1200">
                <a:solidFill>
                  <a:schemeClr val="tx2"/>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fld id="{5F05AE8C-CF5F-4A4E-B69B-C9D8FA4EC18A}" type="slidenum">
              <a:rPr lang="en-US" smtClean="0">
                <a:solidFill>
                  <a:srgbClr val="112F64"/>
                </a:solidFill>
                <a:latin typeface="Montserrat" panose="00000500000000000000" pitchFamily="2" charset="0"/>
              </a:rPr>
              <a:pPr>
                <a:defRPr/>
              </a:pPr>
              <a:t>‹#›</a:t>
            </a:fld>
            <a:endParaRPr lang="en-US">
              <a:solidFill>
                <a:srgbClr val="112F64"/>
              </a:solidFill>
              <a:latin typeface="Montserrat" panose="00000500000000000000" pitchFamily="2" charset="0"/>
            </a:endParaRPr>
          </a:p>
        </p:txBody>
      </p:sp>
      <p:sp>
        <p:nvSpPr>
          <p:cNvPr id="11" name="Footer Placeholder 4">
            <a:extLst>
              <a:ext uri="{FF2B5EF4-FFF2-40B4-BE49-F238E27FC236}">
                <a16:creationId xmlns:a16="http://schemas.microsoft.com/office/drawing/2014/main" id="{75064991-9187-8694-627F-2FECE8244915}"/>
              </a:ext>
            </a:extLst>
          </p:cNvPr>
          <p:cNvSpPr txBox="1">
            <a:spLocks/>
          </p:cNvSpPr>
          <p:nvPr userDrawn="1"/>
        </p:nvSpPr>
        <p:spPr>
          <a:xfrm>
            <a:off x="463550" y="6427788"/>
            <a:ext cx="4114800" cy="198437"/>
          </a:xfrm>
          <a:prstGeom prst="rect">
            <a:avLst/>
          </a:prstGeom>
        </p:spPr>
        <p:txBody>
          <a:bodyPr vert="horz" lIns="0" tIns="0" rIns="0" bIns="0" rtlCol="0" anchor="ctr">
            <a:noAutofit/>
          </a:bodyPr>
          <a:lstStyle>
            <a:defPPr>
              <a:defRPr lang="en-US"/>
            </a:defPPr>
            <a:lvl1pPr algn="l" rtl="0" eaLnBrk="1" fontAlgn="auto" hangingPunct="1">
              <a:spcBef>
                <a:spcPts val="0"/>
              </a:spcBef>
              <a:spcAft>
                <a:spcPts val="0"/>
              </a:spcAft>
              <a:defRPr sz="800" kern="1200">
                <a:solidFill>
                  <a:schemeClr val="tx1"/>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r>
              <a:rPr lang="en-US">
                <a:solidFill>
                  <a:srgbClr val="000000"/>
                </a:solidFill>
                <a:latin typeface="Montserrat" panose="00000500000000000000" pitchFamily="2" charset="0"/>
              </a:rPr>
              <a:t>© 2023 Comcast. All rights reserved.</a:t>
            </a:r>
          </a:p>
        </p:txBody>
      </p:sp>
      <p:sp>
        <p:nvSpPr>
          <p:cNvPr id="2" name="Text Placeholder 5">
            <a:extLst>
              <a:ext uri="{FF2B5EF4-FFF2-40B4-BE49-F238E27FC236}">
                <a16:creationId xmlns:a16="http://schemas.microsoft.com/office/drawing/2014/main" id="{BCB3DDCC-4426-368A-BBF2-922CA573617E}"/>
              </a:ext>
            </a:extLst>
          </p:cNvPr>
          <p:cNvSpPr>
            <a:spLocks noGrp="1"/>
          </p:cNvSpPr>
          <p:nvPr>
            <p:ph type="body" sz="quarter" idx="27"/>
          </p:nvPr>
        </p:nvSpPr>
        <p:spPr>
          <a:xfrm>
            <a:off x="4410315" y="1097280"/>
            <a:ext cx="3377719" cy="4872162"/>
          </a:xfrm>
          <a:prstGeom prst="rect">
            <a:avLst/>
          </a:prstGeom>
        </p:spPr>
        <p:txBody>
          <a:bodyPr lIns="0" tIns="0" rIns="0" bIns="0"/>
          <a:lstStyle>
            <a:lvl1pPr marL="0" indent="0" algn="l">
              <a:buNone/>
              <a:defRPr sz="1800" b="0" i="0">
                <a:latin typeface="Montserrat Light" pitchFamily="2" charset="77"/>
                <a:cs typeface="Montserrat Light" pitchFamily="2" charset="77"/>
              </a:defRPr>
            </a:lvl1pPr>
            <a:lvl2pPr marL="174625" indent="-174625" algn="l">
              <a:spcBef>
                <a:spcPts val="1200"/>
              </a:spcBef>
              <a:buFont typeface="Arial" panose="020B0604020202020204" pitchFamily="34" charset="0"/>
              <a:buChar char="•"/>
              <a:tabLst/>
              <a:defRPr sz="1800" b="0" i="0">
                <a:latin typeface="Montserrat Light" pitchFamily="2" charset="77"/>
                <a:cs typeface="Montserrat Light" pitchFamily="2" charset="77"/>
              </a:defRPr>
            </a:lvl2pPr>
            <a:lvl3pPr marL="560070" indent="-285750" algn="l">
              <a:spcBef>
                <a:spcPts val="1200"/>
              </a:spcBef>
              <a:buFont typeface="Montserrat" panose="00000500000000000000" pitchFamily="2" charset="0"/>
              <a:buChar char="–"/>
              <a:defRPr sz="1800" b="0" i="0">
                <a:latin typeface="Montserrat Light" pitchFamily="2" charset="77"/>
                <a:cs typeface="Montserrat Light" pitchFamily="2" charset="77"/>
              </a:defRPr>
            </a:lvl3pPr>
            <a:lvl4pPr marL="834390" indent="-285750" algn="l">
              <a:spcBef>
                <a:spcPts val="1200"/>
              </a:spcBef>
              <a:buFont typeface="Courier New" panose="02070309020205020404" pitchFamily="49" charset="0"/>
              <a:buChar char="o"/>
              <a:defRPr sz="1600" b="0" i="0">
                <a:latin typeface="Montserrat Light" pitchFamily="2" charset="77"/>
                <a:cs typeface="Montserrat Light" pitchFamily="2" charset="77"/>
              </a:defRPr>
            </a:lvl4pPr>
            <a:lvl5pPr marL="1108710" indent="-285750" algn="l">
              <a:defRPr lang="en-US" sz="1400" b="0" i="0" u="none" strike="noStrike" cap="none" spc="0" baseline="0" dirty="0">
                <a:solidFill>
                  <a:srgbClr val="000000"/>
                </a:solidFill>
                <a:uFillTx/>
                <a:latin typeface="Montserrat Light" pitchFamily="2" charset="77"/>
                <a:ea typeface="Montserrat" panose="00000500000000000000" pitchFamily="2" charset="0"/>
                <a:cs typeface="Montserrat Light" pitchFamily="2" charset="77"/>
                <a:sym typeface="Montserrat"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5">
            <a:extLst>
              <a:ext uri="{FF2B5EF4-FFF2-40B4-BE49-F238E27FC236}">
                <a16:creationId xmlns:a16="http://schemas.microsoft.com/office/drawing/2014/main" id="{9C5DFF84-72FE-DA83-3BB4-8E059109D3A6}"/>
              </a:ext>
            </a:extLst>
          </p:cNvPr>
          <p:cNvSpPr>
            <a:spLocks noGrp="1"/>
          </p:cNvSpPr>
          <p:nvPr>
            <p:ph type="body" sz="quarter" idx="28"/>
          </p:nvPr>
        </p:nvSpPr>
        <p:spPr>
          <a:xfrm>
            <a:off x="8357081" y="1097280"/>
            <a:ext cx="3377719" cy="4872162"/>
          </a:xfrm>
          <a:prstGeom prst="rect">
            <a:avLst/>
          </a:prstGeom>
        </p:spPr>
        <p:txBody>
          <a:bodyPr lIns="0" tIns="0" rIns="0" bIns="0"/>
          <a:lstStyle>
            <a:lvl1pPr marL="0" indent="0" algn="l">
              <a:buNone/>
              <a:defRPr sz="1800" b="0" i="0">
                <a:latin typeface="Montserrat Light" pitchFamily="2" charset="77"/>
                <a:cs typeface="Montserrat Light" pitchFamily="2" charset="77"/>
              </a:defRPr>
            </a:lvl1pPr>
            <a:lvl2pPr marL="174625" indent="-174625" algn="l">
              <a:spcBef>
                <a:spcPts val="1200"/>
              </a:spcBef>
              <a:buFont typeface="Arial" panose="020B0604020202020204" pitchFamily="34" charset="0"/>
              <a:buChar char="•"/>
              <a:tabLst/>
              <a:defRPr sz="1800" b="0" i="0">
                <a:latin typeface="Montserrat Light" pitchFamily="2" charset="77"/>
                <a:cs typeface="Montserrat Light" pitchFamily="2" charset="77"/>
              </a:defRPr>
            </a:lvl2pPr>
            <a:lvl3pPr marL="560070" indent="-285750" algn="l">
              <a:spcBef>
                <a:spcPts val="1200"/>
              </a:spcBef>
              <a:buFont typeface="Montserrat" panose="00000500000000000000" pitchFamily="2" charset="0"/>
              <a:buChar char="–"/>
              <a:defRPr sz="1800" b="0" i="0">
                <a:latin typeface="Montserrat Light" pitchFamily="2" charset="77"/>
                <a:cs typeface="Montserrat Light" pitchFamily="2" charset="77"/>
              </a:defRPr>
            </a:lvl3pPr>
            <a:lvl4pPr marL="834390" indent="-285750" algn="l">
              <a:spcBef>
                <a:spcPts val="1200"/>
              </a:spcBef>
              <a:buFont typeface="Courier New" panose="02070309020205020404" pitchFamily="49" charset="0"/>
              <a:buChar char="o"/>
              <a:defRPr sz="1600" b="0" i="0">
                <a:latin typeface="Montserrat Light" pitchFamily="2" charset="77"/>
                <a:cs typeface="Montserrat Light" pitchFamily="2" charset="77"/>
              </a:defRPr>
            </a:lvl4pPr>
            <a:lvl5pPr marL="1108710" indent="-285750" algn="l">
              <a:defRPr lang="en-US" sz="1400" b="0" i="0" u="none" strike="noStrike" cap="none" spc="0" baseline="0" dirty="0">
                <a:solidFill>
                  <a:srgbClr val="000000"/>
                </a:solidFill>
                <a:uFillTx/>
                <a:latin typeface="Montserrat Light" pitchFamily="2" charset="77"/>
                <a:ea typeface="Montserrat" panose="00000500000000000000" pitchFamily="2" charset="0"/>
                <a:cs typeface="Montserrat Light" pitchFamily="2" charset="77"/>
                <a:sym typeface="Montserrat"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81467643"/>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432">
          <p15:clr>
            <a:srgbClr val="FBAE40"/>
          </p15:clr>
        </p15:guide>
        <p15:guide id="3" pos="7248">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ontent Slide - 2 Col w/Image Right">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6BF55EDC-BBBD-F836-4AB9-EC5630072DD8}"/>
              </a:ext>
            </a:extLst>
          </p:cNvPr>
          <p:cNvSpPr>
            <a:spLocks noGrp="1"/>
          </p:cNvSpPr>
          <p:nvPr>
            <p:ph type="pic" sz="quarter" idx="27" hasCustomPrompt="1"/>
          </p:nvPr>
        </p:nvSpPr>
        <p:spPr>
          <a:xfrm>
            <a:off x="6580832" y="1363248"/>
            <a:ext cx="5611169" cy="4606194"/>
          </a:xfrm>
          <a:custGeom>
            <a:avLst/>
            <a:gdLst>
              <a:gd name="connsiteX0" fmla="*/ 2303097 w 5611169"/>
              <a:gd name="connsiteY0" fmla="*/ 0 h 4606194"/>
              <a:gd name="connsiteX1" fmla="*/ 5611169 w 5611169"/>
              <a:gd name="connsiteY1" fmla="*/ 0 h 4606194"/>
              <a:gd name="connsiteX2" fmla="*/ 5611169 w 5611169"/>
              <a:gd name="connsiteY2" fmla="*/ 4606194 h 4606194"/>
              <a:gd name="connsiteX3" fmla="*/ 2303097 w 5611169"/>
              <a:gd name="connsiteY3" fmla="*/ 4606194 h 4606194"/>
              <a:gd name="connsiteX4" fmla="*/ 0 w 5611169"/>
              <a:gd name="connsiteY4" fmla="*/ 2303097 h 4606194"/>
              <a:gd name="connsiteX5" fmla="*/ 2303097 w 5611169"/>
              <a:gd name="connsiteY5" fmla="*/ 0 h 4606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11169" h="4606194">
                <a:moveTo>
                  <a:pt x="2303097" y="0"/>
                </a:moveTo>
                <a:lnTo>
                  <a:pt x="5611169" y="0"/>
                </a:lnTo>
                <a:lnTo>
                  <a:pt x="5611169" y="4606194"/>
                </a:lnTo>
                <a:lnTo>
                  <a:pt x="2303097" y="4606194"/>
                </a:lnTo>
                <a:cubicBezTo>
                  <a:pt x="1031132" y="4606194"/>
                  <a:pt x="0" y="3575062"/>
                  <a:pt x="0" y="2303097"/>
                </a:cubicBezTo>
                <a:cubicBezTo>
                  <a:pt x="0" y="1031132"/>
                  <a:pt x="1031132" y="0"/>
                  <a:pt x="2303097" y="0"/>
                </a:cubicBezTo>
                <a:close/>
              </a:path>
            </a:pathLst>
          </a:custGeom>
          <a:solidFill>
            <a:schemeClr val="bg1">
              <a:lumMod val="95000"/>
            </a:schemeClr>
          </a:solidFill>
        </p:spPr>
        <p:txBody>
          <a:bodyPr wrap="square" bIns="1371600" anchor="ctr">
            <a:noAutofit/>
          </a:bodyPr>
          <a:lstStyle>
            <a:lvl1pPr marL="0" marR="0" indent="0" algn="ctr" defTabSz="914400" rtl="0" eaLnBrk="1" fontAlgn="base" latinLnBrk="0" hangingPunct="1">
              <a:lnSpc>
                <a:spcPct val="95000"/>
              </a:lnSpc>
              <a:spcBef>
                <a:spcPts val="1000"/>
              </a:spcBef>
              <a:spcAft>
                <a:spcPct val="0"/>
              </a:spcAft>
              <a:buClrTx/>
              <a:buSzTx/>
              <a:buFont typeface="Arial" panose="020B0604020202020204" pitchFamily="34" charset="0"/>
              <a:buNone/>
              <a:tabLst/>
              <a:defRPr>
                <a:solidFill>
                  <a:schemeClr val="accent1"/>
                </a:solidFill>
              </a:defRPr>
            </a:lvl1pPr>
          </a:lstStyle>
          <a:p>
            <a:r>
              <a:rPr lang="en-US"/>
              <a:t>Drag picture to placeholder</a:t>
            </a:r>
            <a:br>
              <a:rPr lang="en-US"/>
            </a:br>
            <a:r>
              <a:rPr lang="en-US"/>
              <a:t>or click icon to add.</a:t>
            </a:r>
          </a:p>
        </p:txBody>
      </p:sp>
      <p:sp>
        <p:nvSpPr>
          <p:cNvPr id="19" name="Text Placeholder 5">
            <a:extLst>
              <a:ext uri="{FF2B5EF4-FFF2-40B4-BE49-F238E27FC236}">
                <a16:creationId xmlns:a16="http://schemas.microsoft.com/office/drawing/2014/main" id="{3F686C8C-E081-5242-90B9-38796068D595}"/>
              </a:ext>
            </a:extLst>
          </p:cNvPr>
          <p:cNvSpPr>
            <a:spLocks noGrp="1"/>
          </p:cNvSpPr>
          <p:nvPr>
            <p:ph type="body" sz="quarter" idx="26"/>
          </p:nvPr>
        </p:nvSpPr>
        <p:spPr>
          <a:xfrm>
            <a:off x="463550" y="1363248"/>
            <a:ext cx="5632450" cy="4606194"/>
          </a:xfrm>
          <a:prstGeom prst="rect">
            <a:avLst/>
          </a:prstGeom>
        </p:spPr>
        <p:txBody>
          <a:bodyPr lIns="0" tIns="0" rIns="0" bIns="0" anchor="t"/>
          <a:lstStyle>
            <a:lvl1pPr marL="0" indent="0" algn="l">
              <a:buNone/>
              <a:defRPr sz="1800" b="0" i="0">
                <a:latin typeface="Montserrat Light" pitchFamily="2" charset="77"/>
                <a:cs typeface="Montserrat Light" pitchFamily="2" charset="77"/>
              </a:defRPr>
            </a:lvl1pPr>
            <a:lvl2pPr marL="174625" indent="-174625" algn="l">
              <a:spcBef>
                <a:spcPts val="1200"/>
              </a:spcBef>
              <a:buFont typeface="Arial" panose="020B0604020202020204" pitchFamily="34" charset="0"/>
              <a:buChar char="•"/>
              <a:tabLst/>
              <a:defRPr sz="1800" b="0" i="0">
                <a:latin typeface="Montserrat Light" pitchFamily="2" charset="77"/>
                <a:cs typeface="Montserrat Light" pitchFamily="2" charset="77"/>
              </a:defRPr>
            </a:lvl2pPr>
            <a:lvl3pPr marL="560070" indent="-285750" algn="l">
              <a:spcBef>
                <a:spcPts val="1200"/>
              </a:spcBef>
              <a:buFont typeface="Montserrat" panose="00000500000000000000" pitchFamily="2" charset="0"/>
              <a:buChar char="–"/>
              <a:defRPr sz="1800" b="0" i="0">
                <a:latin typeface="Montserrat Light" pitchFamily="2" charset="77"/>
                <a:cs typeface="Montserrat Light" pitchFamily="2" charset="77"/>
              </a:defRPr>
            </a:lvl3pPr>
            <a:lvl4pPr marL="834390" indent="-285750" algn="l">
              <a:spcBef>
                <a:spcPts val="1200"/>
              </a:spcBef>
              <a:buFont typeface="Courier New" panose="02070309020205020404" pitchFamily="49" charset="0"/>
              <a:buChar char="o"/>
              <a:defRPr sz="1600" b="0" i="0">
                <a:latin typeface="Montserrat Light" pitchFamily="2" charset="77"/>
                <a:cs typeface="Montserrat Light" pitchFamily="2" charset="77"/>
              </a:defRPr>
            </a:lvl4pPr>
            <a:lvl5pPr marL="1108710" indent="-285750" algn="l">
              <a:defRPr lang="en-US" sz="1400" b="0" i="0" u="none" strike="noStrike" cap="none" spc="0" baseline="0" dirty="0">
                <a:solidFill>
                  <a:srgbClr val="000000"/>
                </a:solidFill>
                <a:uFillTx/>
                <a:latin typeface="Montserrat Light" pitchFamily="2" charset="77"/>
                <a:ea typeface="Montserrat" panose="00000500000000000000" pitchFamily="2" charset="0"/>
                <a:cs typeface="Montserrat Light" pitchFamily="2" charset="77"/>
                <a:sym typeface="Montserrat"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a:extLst>
              <a:ext uri="{FF2B5EF4-FFF2-40B4-BE49-F238E27FC236}">
                <a16:creationId xmlns:a16="http://schemas.microsoft.com/office/drawing/2014/main" id="{F21AE09E-697C-FC45-9E96-2E45E76886AB}"/>
              </a:ext>
            </a:extLst>
          </p:cNvPr>
          <p:cNvSpPr>
            <a:spLocks noGrp="1"/>
          </p:cNvSpPr>
          <p:nvPr>
            <p:ph type="title"/>
          </p:nvPr>
        </p:nvSpPr>
        <p:spPr>
          <a:xfrm>
            <a:off x="463548" y="514928"/>
            <a:ext cx="11271251" cy="365760"/>
          </a:xfrm>
          <a:prstGeom prst="rect">
            <a:avLst/>
          </a:prstGeom>
        </p:spPr>
        <p:txBody>
          <a:bodyPr lIns="0" tIns="0" rIns="0" bIns="0" anchor="t"/>
          <a:lstStyle>
            <a:lvl1pPr marL="0" marR="0" indent="0" algn="l" defTabSz="412750" rtl="0" latinLnBrk="0">
              <a:lnSpc>
                <a:spcPct val="100000"/>
              </a:lnSpc>
              <a:spcBef>
                <a:spcPts val="0"/>
              </a:spcBef>
              <a:spcAft>
                <a:spcPts val="0"/>
              </a:spcAft>
              <a:buClrTx/>
              <a:buSzTx/>
              <a:buFontTx/>
              <a:buNone/>
              <a:tabLst/>
              <a:defRPr lang="en-US" sz="2200" b="1" i="0" u="none" strike="noStrike" cap="none" spc="0" baseline="0" dirty="0" smtClean="0">
                <a:solidFill>
                  <a:srgbClr val="000000"/>
                </a:solidFill>
                <a:uFillTx/>
                <a:latin typeface="Montserrat" panose="00000500000000000000" pitchFamily="2" charset="0"/>
                <a:ea typeface="Montserrat" panose="00000500000000000000" pitchFamily="2" charset="0"/>
                <a:cs typeface="Montserrat" panose="00000500000000000000" pitchFamily="2" charset="0"/>
                <a:sym typeface="Montserrat" panose="00000500000000000000" pitchFamily="2" charset="0"/>
              </a:defRPr>
            </a:lvl1pPr>
          </a:lstStyle>
          <a:p>
            <a:r>
              <a:rPr lang="en-US"/>
              <a:t>Click to edit Master title style</a:t>
            </a:r>
          </a:p>
        </p:txBody>
      </p:sp>
      <p:sp>
        <p:nvSpPr>
          <p:cNvPr id="10" name="Text Placeholder 2">
            <a:extLst>
              <a:ext uri="{FF2B5EF4-FFF2-40B4-BE49-F238E27FC236}">
                <a16:creationId xmlns:a16="http://schemas.microsoft.com/office/drawing/2014/main" id="{E4AEF971-9BCB-1E42-9E22-F8D1F1044C95}"/>
              </a:ext>
            </a:extLst>
          </p:cNvPr>
          <p:cNvSpPr>
            <a:spLocks noGrp="1"/>
          </p:cNvSpPr>
          <p:nvPr>
            <p:ph type="body" sz="quarter" idx="25" hasCustomPrompt="1"/>
          </p:nvPr>
        </p:nvSpPr>
        <p:spPr>
          <a:xfrm>
            <a:off x="463548" y="255612"/>
            <a:ext cx="11271251" cy="201168"/>
          </a:xfrm>
          <a:prstGeom prst="rect">
            <a:avLst/>
          </a:prstGeom>
        </p:spPr>
        <p:txBody>
          <a:bodyPr lIns="0" tIns="0" rIns="0" bIns="0" anchor="ctr"/>
          <a:lstStyle>
            <a:lvl1pPr marL="0" indent="0" algn="l">
              <a:buNone/>
              <a:defRPr lang="en-US" sz="1000" b="0" i="0" cap="all" spc="200" baseline="0" dirty="0">
                <a:solidFill>
                  <a:schemeClr val="accent1"/>
                </a:solidFill>
                <a:latin typeface="Montserrat" panose="00000500000000000000" pitchFamily="2" charset="0"/>
                <a:ea typeface="Montserrat" panose="00000500000000000000" pitchFamily="2" charset="0"/>
                <a:cs typeface="Montserrat" panose="00000500000000000000" pitchFamily="2" charset="0"/>
              </a:defRPr>
            </a:lvl1pPr>
          </a:lstStyle>
          <a:p>
            <a:pPr lvl="0" algn="l"/>
            <a:r>
              <a:rPr lang="en-US"/>
              <a:t>OPTIONAL BREADCRUMB HERE</a:t>
            </a:r>
          </a:p>
        </p:txBody>
      </p:sp>
      <p:sp>
        <p:nvSpPr>
          <p:cNvPr id="8" name="Slide Number Placeholder 5">
            <a:extLst>
              <a:ext uri="{FF2B5EF4-FFF2-40B4-BE49-F238E27FC236}">
                <a16:creationId xmlns:a16="http://schemas.microsoft.com/office/drawing/2014/main" id="{3DB84E04-7731-345F-77EA-3F29E135A0BC}"/>
              </a:ext>
            </a:extLst>
          </p:cNvPr>
          <p:cNvSpPr txBox="1">
            <a:spLocks/>
          </p:cNvSpPr>
          <p:nvPr userDrawn="1"/>
        </p:nvSpPr>
        <p:spPr>
          <a:xfrm>
            <a:off x="11341100" y="6424613"/>
            <a:ext cx="393700" cy="200025"/>
          </a:xfrm>
          <a:prstGeom prst="rect">
            <a:avLst/>
          </a:prstGeom>
        </p:spPr>
        <p:txBody>
          <a:bodyPr vert="horz" lIns="0" tIns="0" rIns="0" bIns="0" rtlCol="0" anchor="ctr">
            <a:noAutofit/>
          </a:bodyPr>
          <a:lstStyle>
            <a:defPPr>
              <a:defRPr lang="en-US"/>
            </a:defPPr>
            <a:lvl1pPr algn="r" rtl="0" eaLnBrk="1" fontAlgn="auto" hangingPunct="1">
              <a:spcBef>
                <a:spcPts val="0"/>
              </a:spcBef>
              <a:spcAft>
                <a:spcPts val="0"/>
              </a:spcAft>
              <a:defRPr sz="800" kern="1200">
                <a:solidFill>
                  <a:schemeClr val="tx2"/>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fld id="{5F05AE8C-CF5F-4A4E-B69B-C9D8FA4EC18A}" type="slidenum">
              <a:rPr lang="en-US" smtClean="0">
                <a:solidFill>
                  <a:srgbClr val="112F64"/>
                </a:solidFill>
                <a:latin typeface="Montserrat" panose="00000500000000000000" pitchFamily="2" charset="0"/>
              </a:rPr>
              <a:pPr>
                <a:defRPr/>
              </a:pPr>
              <a:t>‹#›</a:t>
            </a:fld>
            <a:endParaRPr lang="en-US">
              <a:solidFill>
                <a:srgbClr val="112F64"/>
              </a:solidFill>
              <a:latin typeface="Montserrat" panose="00000500000000000000" pitchFamily="2" charset="0"/>
            </a:endParaRPr>
          </a:p>
        </p:txBody>
      </p:sp>
      <p:sp>
        <p:nvSpPr>
          <p:cNvPr id="11" name="Footer Placeholder 4">
            <a:extLst>
              <a:ext uri="{FF2B5EF4-FFF2-40B4-BE49-F238E27FC236}">
                <a16:creationId xmlns:a16="http://schemas.microsoft.com/office/drawing/2014/main" id="{75064991-9187-8694-627F-2FECE8244915}"/>
              </a:ext>
            </a:extLst>
          </p:cNvPr>
          <p:cNvSpPr txBox="1">
            <a:spLocks/>
          </p:cNvSpPr>
          <p:nvPr userDrawn="1"/>
        </p:nvSpPr>
        <p:spPr>
          <a:xfrm>
            <a:off x="463550" y="6427788"/>
            <a:ext cx="4114800" cy="198437"/>
          </a:xfrm>
          <a:prstGeom prst="rect">
            <a:avLst/>
          </a:prstGeom>
        </p:spPr>
        <p:txBody>
          <a:bodyPr vert="horz" lIns="0" tIns="0" rIns="0" bIns="0" rtlCol="0" anchor="ctr">
            <a:noAutofit/>
          </a:bodyPr>
          <a:lstStyle>
            <a:defPPr>
              <a:defRPr lang="en-US"/>
            </a:defPPr>
            <a:lvl1pPr algn="l" rtl="0" eaLnBrk="1" fontAlgn="auto" hangingPunct="1">
              <a:spcBef>
                <a:spcPts val="0"/>
              </a:spcBef>
              <a:spcAft>
                <a:spcPts val="0"/>
              </a:spcAft>
              <a:defRPr sz="800" kern="1200">
                <a:solidFill>
                  <a:schemeClr val="tx1"/>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r>
              <a:rPr lang="en-US">
                <a:solidFill>
                  <a:srgbClr val="000000"/>
                </a:solidFill>
                <a:latin typeface="Montserrat" panose="00000500000000000000" pitchFamily="2" charset="0"/>
              </a:rPr>
              <a:t>© 2023 Comcast. All rights reserved.</a:t>
            </a:r>
          </a:p>
        </p:txBody>
      </p:sp>
    </p:spTree>
    <p:extLst>
      <p:ext uri="{BB962C8B-B14F-4D97-AF65-F5344CB8AC3E}">
        <p14:creationId xmlns:p14="http://schemas.microsoft.com/office/powerpoint/2010/main" val="3835118689"/>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432">
          <p15:clr>
            <a:srgbClr val="FBAE40"/>
          </p15:clr>
        </p15:guide>
        <p15:guide id="3" pos="7248">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ntent Slide - 2 Col w/Image Left">
    <p:spTree>
      <p:nvGrpSpPr>
        <p:cNvPr id="1" name=""/>
        <p:cNvGrpSpPr/>
        <p:nvPr/>
      </p:nvGrpSpPr>
      <p:grpSpPr>
        <a:xfrm>
          <a:off x="0" y="0"/>
          <a:ext cx="0" cy="0"/>
          <a:chOff x="0" y="0"/>
          <a:chExt cx="0" cy="0"/>
        </a:xfrm>
      </p:grpSpPr>
      <p:sp>
        <p:nvSpPr>
          <p:cNvPr id="19" name="Text Placeholder 5">
            <a:extLst>
              <a:ext uri="{FF2B5EF4-FFF2-40B4-BE49-F238E27FC236}">
                <a16:creationId xmlns:a16="http://schemas.microsoft.com/office/drawing/2014/main" id="{3F686C8C-E081-5242-90B9-38796068D595}"/>
              </a:ext>
            </a:extLst>
          </p:cNvPr>
          <p:cNvSpPr>
            <a:spLocks noGrp="1"/>
          </p:cNvSpPr>
          <p:nvPr>
            <p:ph type="body" sz="quarter" idx="26"/>
          </p:nvPr>
        </p:nvSpPr>
        <p:spPr>
          <a:xfrm>
            <a:off x="6102349" y="1339033"/>
            <a:ext cx="5632450" cy="4630408"/>
          </a:xfrm>
          <a:prstGeom prst="rect">
            <a:avLst/>
          </a:prstGeom>
        </p:spPr>
        <p:txBody>
          <a:bodyPr lIns="0" tIns="0" rIns="0" bIns="0"/>
          <a:lstStyle>
            <a:lvl1pPr marL="0" indent="0" algn="l">
              <a:buNone/>
              <a:defRPr sz="1800" b="0" i="0">
                <a:latin typeface="Montserrat Light" pitchFamily="2" charset="77"/>
                <a:cs typeface="Montserrat Light" pitchFamily="2" charset="77"/>
              </a:defRPr>
            </a:lvl1pPr>
            <a:lvl2pPr marL="174625" indent="-174625" algn="l">
              <a:spcBef>
                <a:spcPts val="1200"/>
              </a:spcBef>
              <a:buFont typeface="Arial" panose="020B0604020202020204" pitchFamily="34" charset="0"/>
              <a:buChar char="•"/>
              <a:tabLst/>
              <a:defRPr sz="1800" b="0" i="0">
                <a:latin typeface="Montserrat Light" pitchFamily="2" charset="77"/>
                <a:cs typeface="Montserrat Light" pitchFamily="2" charset="77"/>
              </a:defRPr>
            </a:lvl2pPr>
            <a:lvl3pPr marL="560070" indent="-285750" algn="l">
              <a:spcBef>
                <a:spcPts val="1200"/>
              </a:spcBef>
              <a:buFont typeface="Montserrat" panose="00000500000000000000" pitchFamily="2" charset="0"/>
              <a:buChar char="–"/>
              <a:defRPr sz="1800" b="0" i="0">
                <a:latin typeface="Montserrat Light" pitchFamily="2" charset="77"/>
                <a:cs typeface="Montserrat Light" pitchFamily="2" charset="77"/>
              </a:defRPr>
            </a:lvl3pPr>
            <a:lvl4pPr marL="834390" indent="-285750" algn="l">
              <a:spcBef>
                <a:spcPts val="1200"/>
              </a:spcBef>
              <a:buFont typeface="Courier New" panose="02070309020205020404" pitchFamily="49" charset="0"/>
              <a:buChar char="o"/>
              <a:defRPr sz="1600" b="0" i="0">
                <a:latin typeface="Montserrat Light" pitchFamily="2" charset="77"/>
                <a:cs typeface="Montserrat Light" pitchFamily="2" charset="77"/>
              </a:defRPr>
            </a:lvl4pPr>
            <a:lvl5pPr marL="1108710" indent="-285750" algn="l">
              <a:defRPr lang="en-US" sz="1400" b="0" i="0" u="none" strike="noStrike" cap="none" spc="0" baseline="0" dirty="0">
                <a:solidFill>
                  <a:srgbClr val="000000"/>
                </a:solidFill>
                <a:uFillTx/>
                <a:latin typeface="Montserrat Light" pitchFamily="2" charset="77"/>
                <a:ea typeface="Montserrat" panose="00000500000000000000" pitchFamily="2" charset="0"/>
                <a:cs typeface="Montserrat Light" pitchFamily="2" charset="77"/>
                <a:sym typeface="Montserrat"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a:extLst>
              <a:ext uri="{FF2B5EF4-FFF2-40B4-BE49-F238E27FC236}">
                <a16:creationId xmlns:a16="http://schemas.microsoft.com/office/drawing/2014/main" id="{F21AE09E-697C-FC45-9E96-2E45E76886AB}"/>
              </a:ext>
            </a:extLst>
          </p:cNvPr>
          <p:cNvSpPr>
            <a:spLocks noGrp="1"/>
          </p:cNvSpPr>
          <p:nvPr>
            <p:ph type="title"/>
          </p:nvPr>
        </p:nvSpPr>
        <p:spPr>
          <a:xfrm>
            <a:off x="463548" y="514928"/>
            <a:ext cx="11271251" cy="365760"/>
          </a:xfrm>
          <a:prstGeom prst="rect">
            <a:avLst/>
          </a:prstGeom>
        </p:spPr>
        <p:txBody>
          <a:bodyPr lIns="0" tIns="0" rIns="0" bIns="0" anchor="t"/>
          <a:lstStyle>
            <a:lvl1pPr marL="0" marR="0" indent="0" algn="l" defTabSz="412750" rtl="0" latinLnBrk="0">
              <a:lnSpc>
                <a:spcPct val="100000"/>
              </a:lnSpc>
              <a:spcBef>
                <a:spcPts val="0"/>
              </a:spcBef>
              <a:spcAft>
                <a:spcPts val="0"/>
              </a:spcAft>
              <a:buClrTx/>
              <a:buSzTx/>
              <a:buFontTx/>
              <a:buNone/>
              <a:tabLst/>
              <a:defRPr lang="en-US" sz="2200" b="1" i="0" u="none" strike="noStrike" cap="none" spc="0" baseline="0" dirty="0" smtClean="0">
                <a:solidFill>
                  <a:srgbClr val="000000"/>
                </a:solidFill>
                <a:uFillTx/>
                <a:latin typeface="Montserrat" panose="00000500000000000000" pitchFamily="2" charset="0"/>
                <a:ea typeface="Montserrat" panose="00000500000000000000" pitchFamily="2" charset="0"/>
                <a:cs typeface="Montserrat" panose="00000500000000000000" pitchFamily="2" charset="0"/>
                <a:sym typeface="Montserrat" panose="00000500000000000000" pitchFamily="2" charset="0"/>
              </a:defRPr>
            </a:lvl1pPr>
          </a:lstStyle>
          <a:p>
            <a:r>
              <a:rPr lang="en-US"/>
              <a:t>Click to edit Master title style</a:t>
            </a:r>
          </a:p>
        </p:txBody>
      </p:sp>
      <p:sp>
        <p:nvSpPr>
          <p:cNvPr id="10" name="Text Placeholder 2">
            <a:extLst>
              <a:ext uri="{FF2B5EF4-FFF2-40B4-BE49-F238E27FC236}">
                <a16:creationId xmlns:a16="http://schemas.microsoft.com/office/drawing/2014/main" id="{E4AEF971-9BCB-1E42-9E22-F8D1F1044C95}"/>
              </a:ext>
            </a:extLst>
          </p:cNvPr>
          <p:cNvSpPr>
            <a:spLocks noGrp="1"/>
          </p:cNvSpPr>
          <p:nvPr>
            <p:ph type="body" sz="quarter" idx="25" hasCustomPrompt="1"/>
          </p:nvPr>
        </p:nvSpPr>
        <p:spPr>
          <a:xfrm>
            <a:off x="463548" y="255612"/>
            <a:ext cx="11271251" cy="201168"/>
          </a:xfrm>
          <a:prstGeom prst="rect">
            <a:avLst/>
          </a:prstGeom>
        </p:spPr>
        <p:txBody>
          <a:bodyPr lIns="0" tIns="0" rIns="0" bIns="0" anchor="ctr"/>
          <a:lstStyle>
            <a:lvl1pPr marL="0" indent="0" algn="l">
              <a:buNone/>
              <a:defRPr lang="en-US" sz="1000" b="0" i="0" cap="all" spc="200" baseline="0" dirty="0">
                <a:solidFill>
                  <a:schemeClr val="accent1"/>
                </a:solidFill>
                <a:latin typeface="Montserrat" panose="00000500000000000000" pitchFamily="2" charset="0"/>
                <a:ea typeface="Montserrat" panose="00000500000000000000" pitchFamily="2" charset="0"/>
                <a:cs typeface="Montserrat" panose="00000500000000000000" pitchFamily="2" charset="0"/>
              </a:defRPr>
            </a:lvl1pPr>
          </a:lstStyle>
          <a:p>
            <a:pPr lvl="0" algn="l"/>
            <a:r>
              <a:rPr lang="en-US"/>
              <a:t>OPTIONAL BREADCRUMB HERE</a:t>
            </a:r>
          </a:p>
        </p:txBody>
      </p:sp>
      <p:sp>
        <p:nvSpPr>
          <p:cNvPr id="8" name="Slide Number Placeholder 5">
            <a:extLst>
              <a:ext uri="{FF2B5EF4-FFF2-40B4-BE49-F238E27FC236}">
                <a16:creationId xmlns:a16="http://schemas.microsoft.com/office/drawing/2014/main" id="{3DB84E04-7731-345F-77EA-3F29E135A0BC}"/>
              </a:ext>
            </a:extLst>
          </p:cNvPr>
          <p:cNvSpPr txBox="1">
            <a:spLocks/>
          </p:cNvSpPr>
          <p:nvPr userDrawn="1"/>
        </p:nvSpPr>
        <p:spPr>
          <a:xfrm>
            <a:off x="11341100" y="6424613"/>
            <a:ext cx="393700" cy="200025"/>
          </a:xfrm>
          <a:prstGeom prst="rect">
            <a:avLst/>
          </a:prstGeom>
        </p:spPr>
        <p:txBody>
          <a:bodyPr vert="horz" lIns="0" tIns="0" rIns="0" bIns="0" rtlCol="0" anchor="ctr">
            <a:noAutofit/>
          </a:bodyPr>
          <a:lstStyle>
            <a:defPPr>
              <a:defRPr lang="en-US"/>
            </a:defPPr>
            <a:lvl1pPr algn="r" rtl="0" eaLnBrk="1" fontAlgn="auto" hangingPunct="1">
              <a:spcBef>
                <a:spcPts val="0"/>
              </a:spcBef>
              <a:spcAft>
                <a:spcPts val="0"/>
              </a:spcAft>
              <a:defRPr sz="800" kern="1200">
                <a:solidFill>
                  <a:schemeClr val="tx2"/>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fld id="{5F05AE8C-CF5F-4A4E-B69B-C9D8FA4EC18A}" type="slidenum">
              <a:rPr lang="en-US" smtClean="0">
                <a:solidFill>
                  <a:srgbClr val="112F64"/>
                </a:solidFill>
                <a:latin typeface="Montserrat" panose="00000500000000000000" pitchFamily="2" charset="0"/>
              </a:rPr>
              <a:pPr>
                <a:defRPr/>
              </a:pPr>
              <a:t>‹#›</a:t>
            </a:fld>
            <a:endParaRPr lang="en-US">
              <a:solidFill>
                <a:srgbClr val="112F64"/>
              </a:solidFill>
              <a:latin typeface="Montserrat" panose="00000500000000000000" pitchFamily="2" charset="0"/>
            </a:endParaRPr>
          </a:p>
        </p:txBody>
      </p:sp>
      <p:sp>
        <p:nvSpPr>
          <p:cNvPr id="11" name="Footer Placeholder 4">
            <a:extLst>
              <a:ext uri="{FF2B5EF4-FFF2-40B4-BE49-F238E27FC236}">
                <a16:creationId xmlns:a16="http://schemas.microsoft.com/office/drawing/2014/main" id="{75064991-9187-8694-627F-2FECE8244915}"/>
              </a:ext>
            </a:extLst>
          </p:cNvPr>
          <p:cNvSpPr txBox="1">
            <a:spLocks/>
          </p:cNvSpPr>
          <p:nvPr userDrawn="1"/>
        </p:nvSpPr>
        <p:spPr>
          <a:xfrm>
            <a:off x="463550" y="6427788"/>
            <a:ext cx="4114800" cy="198437"/>
          </a:xfrm>
          <a:prstGeom prst="rect">
            <a:avLst/>
          </a:prstGeom>
        </p:spPr>
        <p:txBody>
          <a:bodyPr vert="horz" lIns="0" tIns="0" rIns="0" bIns="0" rtlCol="0" anchor="ctr">
            <a:noAutofit/>
          </a:bodyPr>
          <a:lstStyle>
            <a:defPPr>
              <a:defRPr lang="en-US"/>
            </a:defPPr>
            <a:lvl1pPr algn="l" rtl="0" eaLnBrk="1" fontAlgn="auto" hangingPunct="1">
              <a:spcBef>
                <a:spcPts val="0"/>
              </a:spcBef>
              <a:spcAft>
                <a:spcPts val="0"/>
              </a:spcAft>
              <a:defRPr sz="800" kern="1200">
                <a:solidFill>
                  <a:schemeClr val="tx1"/>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r>
              <a:rPr lang="en-US">
                <a:solidFill>
                  <a:srgbClr val="000000"/>
                </a:solidFill>
                <a:latin typeface="Montserrat" panose="00000500000000000000" pitchFamily="2" charset="0"/>
              </a:rPr>
              <a:t>© 2023 Comcast. All rights reserved.</a:t>
            </a:r>
          </a:p>
        </p:txBody>
      </p:sp>
      <p:sp>
        <p:nvSpPr>
          <p:cNvPr id="5" name="Picture Placeholder 4">
            <a:extLst>
              <a:ext uri="{FF2B5EF4-FFF2-40B4-BE49-F238E27FC236}">
                <a16:creationId xmlns:a16="http://schemas.microsoft.com/office/drawing/2014/main" id="{D056465B-E1E1-AEA6-53A4-7E88177F3B48}"/>
              </a:ext>
            </a:extLst>
          </p:cNvPr>
          <p:cNvSpPr>
            <a:spLocks noGrp="1"/>
          </p:cNvSpPr>
          <p:nvPr>
            <p:ph type="pic" sz="quarter" idx="28" hasCustomPrompt="1"/>
          </p:nvPr>
        </p:nvSpPr>
        <p:spPr>
          <a:xfrm>
            <a:off x="0" y="1339034"/>
            <a:ext cx="5632450" cy="4630408"/>
          </a:xfrm>
          <a:custGeom>
            <a:avLst/>
            <a:gdLst>
              <a:gd name="connsiteX0" fmla="*/ 0 w 5632450"/>
              <a:gd name="connsiteY0" fmla="*/ 0 h 4630408"/>
              <a:gd name="connsiteX1" fmla="*/ 3317246 w 5632450"/>
              <a:gd name="connsiteY1" fmla="*/ 0 h 4630408"/>
              <a:gd name="connsiteX2" fmla="*/ 5632450 w 5632450"/>
              <a:gd name="connsiteY2" fmla="*/ 2315204 h 4630408"/>
              <a:gd name="connsiteX3" fmla="*/ 3317246 w 5632450"/>
              <a:gd name="connsiteY3" fmla="*/ 4630408 h 4630408"/>
              <a:gd name="connsiteX4" fmla="*/ 0 w 5632450"/>
              <a:gd name="connsiteY4" fmla="*/ 4630408 h 4630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32450" h="4630408">
                <a:moveTo>
                  <a:pt x="0" y="0"/>
                </a:moveTo>
                <a:lnTo>
                  <a:pt x="3317246" y="0"/>
                </a:lnTo>
                <a:cubicBezTo>
                  <a:pt x="4595898" y="0"/>
                  <a:pt x="5632450" y="1036552"/>
                  <a:pt x="5632450" y="2315204"/>
                </a:cubicBezTo>
                <a:cubicBezTo>
                  <a:pt x="5632450" y="3593856"/>
                  <a:pt x="4595898" y="4630408"/>
                  <a:pt x="3317246" y="4630408"/>
                </a:cubicBezTo>
                <a:lnTo>
                  <a:pt x="0" y="4630408"/>
                </a:lnTo>
                <a:close/>
              </a:path>
            </a:pathLst>
          </a:custGeom>
          <a:solidFill>
            <a:schemeClr val="bg1">
              <a:lumMod val="95000"/>
            </a:schemeClr>
          </a:solidFill>
        </p:spPr>
        <p:txBody>
          <a:bodyPr wrap="square" bIns="1371600" anchor="ctr">
            <a:noAutofit/>
          </a:bodyPr>
          <a:lstStyle>
            <a:lvl1pPr marL="0" marR="0" indent="0" algn="ctr" defTabSz="914400" rtl="0" eaLnBrk="1" fontAlgn="base" latinLnBrk="0" hangingPunct="1">
              <a:lnSpc>
                <a:spcPct val="95000"/>
              </a:lnSpc>
              <a:spcBef>
                <a:spcPts val="1000"/>
              </a:spcBef>
              <a:spcAft>
                <a:spcPct val="0"/>
              </a:spcAft>
              <a:buClrTx/>
              <a:buSzTx/>
              <a:buFont typeface="Arial" panose="020B0604020202020204" pitchFamily="34" charset="0"/>
              <a:buNone/>
              <a:tabLst/>
              <a:defRPr>
                <a:solidFill>
                  <a:schemeClr val="accent1"/>
                </a:solidFill>
              </a:defRPr>
            </a:lvl1pPr>
          </a:lstStyle>
          <a:p>
            <a:r>
              <a:rPr lang="en-US"/>
              <a:t>Drag picture to placeholder</a:t>
            </a:r>
            <a:br>
              <a:rPr lang="en-US"/>
            </a:br>
            <a:r>
              <a:rPr lang="en-US"/>
              <a:t>or click icon to add.</a:t>
            </a:r>
          </a:p>
        </p:txBody>
      </p:sp>
    </p:spTree>
    <p:extLst>
      <p:ext uri="{BB962C8B-B14F-4D97-AF65-F5344CB8AC3E}">
        <p14:creationId xmlns:p14="http://schemas.microsoft.com/office/powerpoint/2010/main" val="318684220"/>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432">
          <p15:clr>
            <a:srgbClr val="FBAE40"/>
          </p15:clr>
        </p15:guide>
        <p15:guide id="3" pos="7248">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Content Slide - Spli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7505382-F8BD-461B-BB7E-B940074A4D28}"/>
              </a:ext>
            </a:extLst>
          </p:cNvPr>
          <p:cNvSpPr/>
          <p:nvPr userDrawn="1"/>
        </p:nvSpPr>
        <p:spPr>
          <a:xfrm>
            <a:off x="8186739" y="-9144"/>
            <a:ext cx="4005262" cy="687628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ooter Placeholder 5">
            <a:extLst>
              <a:ext uri="{FF2B5EF4-FFF2-40B4-BE49-F238E27FC236}">
                <a16:creationId xmlns:a16="http://schemas.microsoft.com/office/drawing/2014/main" id="{6666C29D-03F7-467C-85B3-28F7651F8315}"/>
              </a:ext>
            </a:extLst>
          </p:cNvPr>
          <p:cNvSpPr>
            <a:spLocks noGrp="1"/>
          </p:cNvSpPr>
          <p:nvPr>
            <p:ph type="ftr" sz="quarter" idx="11"/>
          </p:nvPr>
        </p:nvSpPr>
        <p:spPr/>
        <p:txBody>
          <a:bodyPr/>
          <a:lstStyle>
            <a:lvl1pPr>
              <a:defRPr>
                <a:solidFill>
                  <a:schemeClr val="tx1"/>
                </a:solidFill>
              </a:defRPr>
            </a:lvl1pPr>
          </a:lstStyle>
          <a:p>
            <a:r>
              <a:rPr lang="en-US"/>
              <a:t>© 2023 Comcast. All rights reserved.</a:t>
            </a:r>
          </a:p>
        </p:txBody>
      </p:sp>
      <p:sp>
        <p:nvSpPr>
          <p:cNvPr id="7" name="Slide Number Placeholder 6">
            <a:extLst>
              <a:ext uri="{FF2B5EF4-FFF2-40B4-BE49-F238E27FC236}">
                <a16:creationId xmlns:a16="http://schemas.microsoft.com/office/drawing/2014/main" id="{51B86CBB-8A54-4818-8CC6-A9598ED3AFFA}"/>
              </a:ext>
            </a:extLst>
          </p:cNvPr>
          <p:cNvSpPr>
            <a:spLocks noGrp="1"/>
          </p:cNvSpPr>
          <p:nvPr>
            <p:ph type="sldNum" sz="quarter" idx="12"/>
          </p:nvPr>
        </p:nvSpPr>
        <p:spPr/>
        <p:txBody>
          <a:bodyPr/>
          <a:lstStyle>
            <a:lvl1pPr>
              <a:defRPr>
                <a:solidFill>
                  <a:schemeClr val="bg1"/>
                </a:solidFill>
              </a:defRPr>
            </a:lvl1pPr>
          </a:lstStyle>
          <a:p>
            <a:fld id="{A07A7439-3E0E-4A6B-9524-3A8EBA819993}" type="slidenum">
              <a:rPr lang="en-US" smtClean="0"/>
              <a:pPr/>
              <a:t>‹#›</a:t>
            </a:fld>
            <a:endParaRPr lang="en-US"/>
          </a:p>
        </p:txBody>
      </p:sp>
      <p:sp>
        <p:nvSpPr>
          <p:cNvPr id="4" name="Content Placeholder 3">
            <a:extLst>
              <a:ext uri="{FF2B5EF4-FFF2-40B4-BE49-F238E27FC236}">
                <a16:creationId xmlns:a16="http://schemas.microsoft.com/office/drawing/2014/main" id="{1582D711-78AA-40DF-9ED8-0A7123D2D990}"/>
              </a:ext>
            </a:extLst>
          </p:cNvPr>
          <p:cNvSpPr>
            <a:spLocks noGrp="1"/>
          </p:cNvSpPr>
          <p:nvPr>
            <p:ph sz="half" idx="2" hasCustomPrompt="1"/>
          </p:nvPr>
        </p:nvSpPr>
        <p:spPr>
          <a:xfrm>
            <a:off x="8572500" y="355922"/>
            <a:ext cx="3162301" cy="3749040"/>
          </a:xfrm>
          <a:prstGeom prst="rect">
            <a:avLst/>
          </a:prstGeom>
        </p:spPr>
        <p:txBody>
          <a:bodyPr/>
          <a:lstStyle>
            <a:lvl1pPr>
              <a:defRPr sz="20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First level, 20pt Regular</a:t>
            </a:r>
          </a:p>
          <a:p>
            <a:pPr lvl="1"/>
            <a:r>
              <a:rPr lang="en-US"/>
              <a:t>Second level, 18pt</a:t>
            </a:r>
          </a:p>
          <a:p>
            <a:pPr lvl="2"/>
            <a:r>
              <a:rPr lang="en-US"/>
              <a:t>Third level, 16pt</a:t>
            </a:r>
          </a:p>
          <a:p>
            <a:pPr lvl="3"/>
            <a:r>
              <a:rPr lang="en-US"/>
              <a:t>Fourth level, 14pt</a:t>
            </a:r>
          </a:p>
        </p:txBody>
      </p:sp>
      <p:pic>
        <p:nvPicPr>
          <p:cNvPr id="12" name="Picture 11">
            <a:extLst>
              <a:ext uri="{FF2B5EF4-FFF2-40B4-BE49-F238E27FC236}">
                <a16:creationId xmlns:a16="http://schemas.microsoft.com/office/drawing/2014/main" id="{F242BDD2-DFC6-894F-AFB8-CC06EB47982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677470" y="6439346"/>
            <a:ext cx="2525234" cy="180974"/>
          </a:xfrm>
          <a:prstGeom prst="rect">
            <a:avLst/>
          </a:prstGeom>
        </p:spPr>
      </p:pic>
      <p:sp>
        <p:nvSpPr>
          <p:cNvPr id="10" name="Title 1">
            <a:extLst>
              <a:ext uri="{FF2B5EF4-FFF2-40B4-BE49-F238E27FC236}">
                <a16:creationId xmlns:a16="http://schemas.microsoft.com/office/drawing/2014/main" id="{E6DA9C0D-8DD3-C56E-A557-661171EB77FA}"/>
              </a:ext>
            </a:extLst>
          </p:cNvPr>
          <p:cNvSpPr>
            <a:spLocks noGrp="1"/>
          </p:cNvSpPr>
          <p:nvPr>
            <p:ph type="title"/>
          </p:nvPr>
        </p:nvSpPr>
        <p:spPr>
          <a:xfrm>
            <a:off x="463549" y="514928"/>
            <a:ext cx="7351715" cy="365760"/>
          </a:xfrm>
          <a:prstGeom prst="rect">
            <a:avLst/>
          </a:prstGeom>
        </p:spPr>
        <p:txBody>
          <a:bodyPr lIns="0" tIns="0" rIns="0" bIns="0" anchor="t"/>
          <a:lstStyle>
            <a:lvl1pPr marL="0" marR="0" indent="0" algn="l" defTabSz="412750" rtl="0" latinLnBrk="0">
              <a:lnSpc>
                <a:spcPct val="100000"/>
              </a:lnSpc>
              <a:spcBef>
                <a:spcPts val="0"/>
              </a:spcBef>
              <a:spcAft>
                <a:spcPts val="0"/>
              </a:spcAft>
              <a:buClrTx/>
              <a:buSzTx/>
              <a:buFontTx/>
              <a:buNone/>
              <a:tabLst/>
              <a:defRPr lang="en-US" sz="2200" b="1" i="0" u="none" strike="noStrike" cap="none" spc="0" baseline="0" dirty="0" smtClean="0">
                <a:solidFill>
                  <a:srgbClr val="000000"/>
                </a:solidFill>
                <a:uFillTx/>
                <a:latin typeface="Montserrat" panose="00000500000000000000" pitchFamily="2" charset="0"/>
                <a:ea typeface="Montserrat" panose="00000500000000000000" pitchFamily="2" charset="0"/>
                <a:cs typeface="Montserrat" panose="00000500000000000000" pitchFamily="2" charset="0"/>
                <a:sym typeface="Montserrat" panose="00000500000000000000" pitchFamily="2" charset="0"/>
              </a:defRPr>
            </a:lvl1pPr>
          </a:lstStyle>
          <a:p>
            <a:r>
              <a:rPr lang="en-US"/>
              <a:t>Click to edit Master title style</a:t>
            </a:r>
          </a:p>
        </p:txBody>
      </p:sp>
      <p:sp>
        <p:nvSpPr>
          <p:cNvPr id="11" name="Text Placeholder 2">
            <a:extLst>
              <a:ext uri="{FF2B5EF4-FFF2-40B4-BE49-F238E27FC236}">
                <a16:creationId xmlns:a16="http://schemas.microsoft.com/office/drawing/2014/main" id="{DE8850A6-FDBC-D2BC-23A8-2CCE00C092D5}"/>
              </a:ext>
            </a:extLst>
          </p:cNvPr>
          <p:cNvSpPr>
            <a:spLocks noGrp="1"/>
          </p:cNvSpPr>
          <p:nvPr>
            <p:ph type="body" sz="quarter" idx="25" hasCustomPrompt="1"/>
          </p:nvPr>
        </p:nvSpPr>
        <p:spPr>
          <a:xfrm>
            <a:off x="463549" y="255612"/>
            <a:ext cx="7351715" cy="201168"/>
          </a:xfrm>
          <a:prstGeom prst="rect">
            <a:avLst/>
          </a:prstGeom>
        </p:spPr>
        <p:txBody>
          <a:bodyPr lIns="0" tIns="0" rIns="0" bIns="0" anchor="ctr"/>
          <a:lstStyle>
            <a:lvl1pPr marL="0" indent="0" algn="l">
              <a:buNone/>
              <a:defRPr lang="en-US" sz="1000" b="0" i="0" cap="all" spc="200" baseline="0" dirty="0">
                <a:solidFill>
                  <a:schemeClr val="accent1"/>
                </a:solidFill>
                <a:latin typeface="Montserrat" panose="00000500000000000000" pitchFamily="2" charset="0"/>
                <a:ea typeface="Montserrat" panose="00000500000000000000" pitchFamily="2" charset="0"/>
                <a:cs typeface="Montserrat" panose="00000500000000000000" pitchFamily="2" charset="0"/>
              </a:defRPr>
            </a:lvl1pPr>
          </a:lstStyle>
          <a:p>
            <a:pPr lvl="0" algn="l"/>
            <a:r>
              <a:rPr lang="en-US"/>
              <a:t>OPTIONAL BREADCRUMB HERE</a:t>
            </a:r>
          </a:p>
        </p:txBody>
      </p:sp>
      <p:sp>
        <p:nvSpPr>
          <p:cNvPr id="2" name="Text Placeholder 5">
            <a:extLst>
              <a:ext uri="{FF2B5EF4-FFF2-40B4-BE49-F238E27FC236}">
                <a16:creationId xmlns:a16="http://schemas.microsoft.com/office/drawing/2014/main" id="{7412623B-2075-314B-4D3C-0DDE2410EC5B}"/>
              </a:ext>
            </a:extLst>
          </p:cNvPr>
          <p:cNvSpPr>
            <a:spLocks noGrp="1"/>
          </p:cNvSpPr>
          <p:nvPr>
            <p:ph type="body" sz="quarter" idx="26"/>
          </p:nvPr>
        </p:nvSpPr>
        <p:spPr>
          <a:xfrm>
            <a:off x="463550" y="1097280"/>
            <a:ext cx="7351714" cy="4872162"/>
          </a:xfrm>
          <a:prstGeom prst="rect">
            <a:avLst/>
          </a:prstGeom>
        </p:spPr>
        <p:txBody>
          <a:bodyPr lIns="0" tIns="0" rIns="0" bIns="0"/>
          <a:lstStyle>
            <a:lvl1pPr marL="0" indent="0" algn="l">
              <a:buNone/>
              <a:defRPr sz="1800" b="0" i="0">
                <a:latin typeface="Montserrat Light" pitchFamily="2" charset="77"/>
                <a:cs typeface="Montserrat Light" pitchFamily="2" charset="77"/>
              </a:defRPr>
            </a:lvl1pPr>
            <a:lvl2pPr marL="174625" indent="-174625" algn="l">
              <a:spcBef>
                <a:spcPts val="1200"/>
              </a:spcBef>
              <a:buFont typeface="Arial" panose="020B0604020202020204" pitchFamily="34" charset="0"/>
              <a:buChar char="•"/>
              <a:tabLst/>
              <a:defRPr sz="1800" b="0" i="0">
                <a:latin typeface="Montserrat Light" pitchFamily="2" charset="77"/>
                <a:cs typeface="Montserrat Light" pitchFamily="2" charset="77"/>
              </a:defRPr>
            </a:lvl2pPr>
            <a:lvl3pPr marL="560070" indent="-285750" algn="l">
              <a:spcBef>
                <a:spcPts val="1200"/>
              </a:spcBef>
              <a:buFont typeface="Montserrat" panose="00000500000000000000" pitchFamily="2" charset="0"/>
              <a:buChar char="–"/>
              <a:defRPr sz="1800" b="0" i="0">
                <a:latin typeface="Montserrat Light" pitchFamily="2" charset="77"/>
                <a:cs typeface="Montserrat Light" pitchFamily="2" charset="77"/>
              </a:defRPr>
            </a:lvl3pPr>
            <a:lvl4pPr marL="834390" indent="-285750" algn="l">
              <a:spcBef>
                <a:spcPts val="1200"/>
              </a:spcBef>
              <a:buFont typeface="Courier New" panose="02070309020205020404" pitchFamily="49" charset="0"/>
              <a:buChar char="o"/>
              <a:defRPr sz="1600" b="0" i="0">
                <a:latin typeface="Montserrat Light" pitchFamily="2" charset="77"/>
                <a:cs typeface="Montserrat Light" pitchFamily="2" charset="77"/>
              </a:defRPr>
            </a:lvl4pPr>
            <a:lvl5pPr marL="1108710" indent="-285750" algn="l">
              <a:defRPr lang="en-US" sz="1400" b="0" i="0" u="none" strike="noStrike" cap="none" spc="0" baseline="0" dirty="0">
                <a:solidFill>
                  <a:srgbClr val="000000"/>
                </a:solidFill>
                <a:uFillTx/>
                <a:latin typeface="Montserrat Light" pitchFamily="2" charset="77"/>
                <a:ea typeface="Montserrat" panose="00000500000000000000" pitchFamily="2" charset="0"/>
                <a:cs typeface="Montserrat Light" pitchFamily="2" charset="77"/>
                <a:sym typeface="Montserrat"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6187804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Slide - 2 Col">
    <p:spTree>
      <p:nvGrpSpPr>
        <p:cNvPr id="1" name=""/>
        <p:cNvGrpSpPr/>
        <p:nvPr/>
      </p:nvGrpSpPr>
      <p:grpSpPr>
        <a:xfrm>
          <a:off x="0" y="0"/>
          <a:ext cx="0" cy="0"/>
          <a:chOff x="0" y="0"/>
          <a:chExt cx="0" cy="0"/>
        </a:xfrm>
      </p:grpSpPr>
      <p:sp>
        <p:nvSpPr>
          <p:cNvPr id="19" name="Text Placeholder 5">
            <a:extLst>
              <a:ext uri="{FF2B5EF4-FFF2-40B4-BE49-F238E27FC236}">
                <a16:creationId xmlns:a16="http://schemas.microsoft.com/office/drawing/2014/main" id="{3F686C8C-E081-5242-90B9-38796068D595}"/>
              </a:ext>
            </a:extLst>
          </p:cNvPr>
          <p:cNvSpPr>
            <a:spLocks noGrp="1"/>
          </p:cNvSpPr>
          <p:nvPr>
            <p:ph type="body" sz="quarter" idx="26"/>
          </p:nvPr>
        </p:nvSpPr>
        <p:spPr>
          <a:xfrm>
            <a:off x="463550" y="1097280"/>
            <a:ext cx="5404894" cy="4872162"/>
          </a:xfrm>
          <a:prstGeom prst="rect">
            <a:avLst/>
          </a:prstGeom>
        </p:spPr>
        <p:txBody>
          <a:bodyPr lIns="0" tIns="0" rIns="0" bIns="0"/>
          <a:lstStyle>
            <a:lvl1pPr marL="0" indent="0" algn="l">
              <a:buNone/>
              <a:defRPr sz="1800" b="0" i="0">
                <a:latin typeface="Montserrat Light" pitchFamily="2" charset="77"/>
                <a:cs typeface="Montserrat Light" pitchFamily="2" charset="77"/>
              </a:defRPr>
            </a:lvl1pPr>
            <a:lvl2pPr marL="174625" indent="-174625" algn="l">
              <a:spcBef>
                <a:spcPts val="1200"/>
              </a:spcBef>
              <a:buFont typeface="Arial" panose="020B0604020202020204" pitchFamily="34" charset="0"/>
              <a:buChar char="•"/>
              <a:tabLst/>
              <a:defRPr sz="1800" b="0" i="0">
                <a:latin typeface="Montserrat Light" pitchFamily="2" charset="77"/>
                <a:cs typeface="Montserrat Light" pitchFamily="2" charset="77"/>
              </a:defRPr>
            </a:lvl2pPr>
            <a:lvl3pPr marL="560070" indent="-285750" algn="l">
              <a:spcBef>
                <a:spcPts val="1200"/>
              </a:spcBef>
              <a:buFont typeface="Montserrat" panose="00000500000000000000" pitchFamily="2" charset="0"/>
              <a:buChar char="–"/>
              <a:defRPr sz="1800" b="0" i="0">
                <a:latin typeface="Montserrat Light" pitchFamily="2" charset="77"/>
                <a:cs typeface="Montserrat Light" pitchFamily="2" charset="77"/>
              </a:defRPr>
            </a:lvl3pPr>
            <a:lvl4pPr marL="834390" indent="-285750" algn="l">
              <a:spcBef>
                <a:spcPts val="1200"/>
              </a:spcBef>
              <a:buFont typeface="Courier New" panose="02070309020205020404" pitchFamily="49" charset="0"/>
              <a:buChar char="o"/>
              <a:defRPr sz="1600" b="0" i="0">
                <a:latin typeface="Montserrat Light" pitchFamily="2" charset="77"/>
                <a:cs typeface="Montserrat Light" pitchFamily="2" charset="77"/>
              </a:defRPr>
            </a:lvl4pPr>
            <a:lvl5pPr marL="1108710" indent="-285750" algn="l">
              <a:defRPr lang="en-US" sz="1400" b="0" i="0" u="none" strike="noStrike" cap="none" spc="0" baseline="0" dirty="0">
                <a:solidFill>
                  <a:srgbClr val="000000"/>
                </a:solidFill>
                <a:uFillTx/>
                <a:latin typeface="Montserrat Light" pitchFamily="2" charset="77"/>
                <a:ea typeface="Montserrat" panose="00000500000000000000" pitchFamily="2" charset="0"/>
                <a:cs typeface="Montserrat Light" pitchFamily="2" charset="77"/>
                <a:sym typeface="Montserrat"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a:extLst>
              <a:ext uri="{FF2B5EF4-FFF2-40B4-BE49-F238E27FC236}">
                <a16:creationId xmlns:a16="http://schemas.microsoft.com/office/drawing/2014/main" id="{F21AE09E-697C-FC45-9E96-2E45E76886AB}"/>
              </a:ext>
            </a:extLst>
          </p:cNvPr>
          <p:cNvSpPr>
            <a:spLocks noGrp="1"/>
          </p:cNvSpPr>
          <p:nvPr>
            <p:ph type="title"/>
          </p:nvPr>
        </p:nvSpPr>
        <p:spPr>
          <a:xfrm>
            <a:off x="463548" y="514928"/>
            <a:ext cx="11271251" cy="368157"/>
          </a:xfrm>
          <a:prstGeom prst="rect">
            <a:avLst/>
          </a:prstGeom>
        </p:spPr>
        <p:txBody>
          <a:bodyPr lIns="0" tIns="0" rIns="0" bIns="0" anchor="t"/>
          <a:lstStyle>
            <a:lvl1pPr marL="0" marR="0" indent="0" algn="l" defTabSz="412750" rtl="0" latinLnBrk="0">
              <a:lnSpc>
                <a:spcPct val="100000"/>
              </a:lnSpc>
              <a:spcBef>
                <a:spcPts val="0"/>
              </a:spcBef>
              <a:spcAft>
                <a:spcPts val="0"/>
              </a:spcAft>
              <a:buClrTx/>
              <a:buSzTx/>
              <a:buFontTx/>
              <a:buNone/>
              <a:tabLst/>
              <a:defRPr lang="en-US" sz="2200" b="1" i="0" u="none" strike="noStrike" cap="none" spc="0" baseline="0" dirty="0" smtClean="0">
                <a:solidFill>
                  <a:srgbClr val="000000"/>
                </a:solidFill>
                <a:uFillTx/>
                <a:latin typeface="Montserrat" panose="00000500000000000000" pitchFamily="2" charset="0"/>
                <a:ea typeface="Montserrat" panose="00000500000000000000" pitchFamily="2" charset="0"/>
                <a:cs typeface="Montserrat" panose="00000500000000000000" pitchFamily="2" charset="0"/>
                <a:sym typeface="Montserrat" panose="00000500000000000000" pitchFamily="2" charset="0"/>
              </a:defRPr>
            </a:lvl1pPr>
          </a:lstStyle>
          <a:p>
            <a:r>
              <a:rPr lang="en-US"/>
              <a:t>Click to edit Master title style</a:t>
            </a:r>
          </a:p>
        </p:txBody>
      </p:sp>
      <p:sp>
        <p:nvSpPr>
          <p:cNvPr id="10" name="Text Placeholder 2">
            <a:extLst>
              <a:ext uri="{FF2B5EF4-FFF2-40B4-BE49-F238E27FC236}">
                <a16:creationId xmlns:a16="http://schemas.microsoft.com/office/drawing/2014/main" id="{E4AEF971-9BCB-1E42-9E22-F8D1F1044C95}"/>
              </a:ext>
            </a:extLst>
          </p:cNvPr>
          <p:cNvSpPr>
            <a:spLocks noGrp="1"/>
          </p:cNvSpPr>
          <p:nvPr>
            <p:ph type="body" sz="quarter" idx="25" hasCustomPrompt="1"/>
          </p:nvPr>
        </p:nvSpPr>
        <p:spPr>
          <a:xfrm>
            <a:off x="463548" y="255612"/>
            <a:ext cx="11271251" cy="201168"/>
          </a:xfrm>
          <a:prstGeom prst="rect">
            <a:avLst/>
          </a:prstGeom>
        </p:spPr>
        <p:txBody>
          <a:bodyPr lIns="0" tIns="0" rIns="0" bIns="0" anchor="ctr"/>
          <a:lstStyle>
            <a:lvl1pPr marL="0" indent="0" algn="l">
              <a:buNone/>
              <a:defRPr lang="en-US" sz="1000" b="0" i="0" cap="all" spc="200" baseline="0" dirty="0">
                <a:solidFill>
                  <a:schemeClr val="accent1"/>
                </a:solidFill>
                <a:latin typeface="Montserrat" panose="00000500000000000000" pitchFamily="2" charset="0"/>
                <a:ea typeface="Montserrat" panose="00000500000000000000" pitchFamily="2" charset="0"/>
                <a:cs typeface="Montserrat" panose="00000500000000000000" pitchFamily="2" charset="0"/>
              </a:defRPr>
            </a:lvl1pPr>
          </a:lstStyle>
          <a:p>
            <a:pPr lvl="0" algn="l"/>
            <a:r>
              <a:rPr lang="en-US"/>
              <a:t>OPTIONAL BREADCRUMB HERE</a:t>
            </a:r>
          </a:p>
        </p:txBody>
      </p:sp>
      <p:sp>
        <p:nvSpPr>
          <p:cNvPr id="8" name="Slide Number Placeholder 5">
            <a:extLst>
              <a:ext uri="{FF2B5EF4-FFF2-40B4-BE49-F238E27FC236}">
                <a16:creationId xmlns:a16="http://schemas.microsoft.com/office/drawing/2014/main" id="{3DB84E04-7731-345F-77EA-3F29E135A0BC}"/>
              </a:ext>
            </a:extLst>
          </p:cNvPr>
          <p:cNvSpPr txBox="1">
            <a:spLocks/>
          </p:cNvSpPr>
          <p:nvPr userDrawn="1"/>
        </p:nvSpPr>
        <p:spPr>
          <a:xfrm>
            <a:off x="11341100" y="6424613"/>
            <a:ext cx="393700" cy="200025"/>
          </a:xfrm>
          <a:prstGeom prst="rect">
            <a:avLst/>
          </a:prstGeom>
        </p:spPr>
        <p:txBody>
          <a:bodyPr vert="horz" lIns="0" tIns="0" rIns="0" bIns="0" rtlCol="0" anchor="ctr">
            <a:noAutofit/>
          </a:bodyPr>
          <a:lstStyle>
            <a:defPPr>
              <a:defRPr lang="en-US"/>
            </a:defPPr>
            <a:lvl1pPr algn="r" rtl="0" eaLnBrk="1" fontAlgn="auto" hangingPunct="1">
              <a:spcBef>
                <a:spcPts val="0"/>
              </a:spcBef>
              <a:spcAft>
                <a:spcPts val="0"/>
              </a:spcAft>
              <a:defRPr sz="800" kern="1200">
                <a:solidFill>
                  <a:schemeClr val="tx2"/>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fld id="{5F05AE8C-CF5F-4A4E-B69B-C9D8FA4EC18A}" type="slidenum">
              <a:rPr lang="en-US" smtClean="0">
                <a:solidFill>
                  <a:srgbClr val="112F64"/>
                </a:solidFill>
                <a:latin typeface="Montserrat" panose="00000500000000000000" pitchFamily="2" charset="0"/>
              </a:rPr>
              <a:pPr>
                <a:defRPr/>
              </a:pPr>
              <a:t>‹#›</a:t>
            </a:fld>
            <a:endParaRPr lang="en-US">
              <a:solidFill>
                <a:srgbClr val="112F64"/>
              </a:solidFill>
              <a:latin typeface="Montserrat" panose="00000500000000000000" pitchFamily="2" charset="0"/>
            </a:endParaRPr>
          </a:p>
        </p:txBody>
      </p:sp>
      <p:sp>
        <p:nvSpPr>
          <p:cNvPr id="11" name="Footer Placeholder 4">
            <a:extLst>
              <a:ext uri="{FF2B5EF4-FFF2-40B4-BE49-F238E27FC236}">
                <a16:creationId xmlns:a16="http://schemas.microsoft.com/office/drawing/2014/main" id="{75064991-9187-8694-627F-2FECE8244915}"/>
              </a:ext>
            </a:extLst>
          </p:cNvPr>
          <p:cNvSpPr txBox="1">
            <a:spLocks/>
          </p:cNvSpPr>
          <p:nvPr userDrawn="1"/>
        </p:nvSpPr>
        <p:spPr>
          <a:xfrm>
            <a:off x="463550" y="6427788"/>
            <a:ext cx="4114800" cy="198437"/>
          </a:xfrm>
          <a:prstGeom prst="rect">
            <a:avLst/>
          </a:prstGeom>
        </p:spPr>
        <p:txBody>
          <a:bodyPr vert="horz" lIns="0" tIns="0" rIns="0" bIns="0" rtlCol="0" anchor="ctr">
            <a:noAutofit/>
          </a:bodyPr>
          <a:lstStyle>
            <a:defPPr>
              <a:defRPr lang="en-US"/>
            </a:defPPr>
            <a:lvl1pPr algn="l" rtl="0" eaLnBrk="1" fontAlgn="auto" hangingPunct="1">
              <a:spcBef>
                <a:spcPts val="0"/>
              </a:spcBef>
              <a:spcAft>
                <a:spcPts val="0"/>
              </a:spcAft>
              <a:defRPr sz="800" kern="1200">
                <a:solidFill>
                  <a:schemeClr val="tx1"/>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r>
              <a:rPr lang="en-US">
                <a:solidFill>
                  <a:srgbClr val="000000"/>
                </a:solidFill>
                <a:latin typeface="Montserrat" panose="00000500000000000000" pitchFamily="2" charset="0"/>
              </a:rPr>
              <a:t>© 2024 Comcast. All rights reserved.</a:t>
            </a:r>
          </a:p>
        </p:txBody>
      </p:sp>
      <p:sp>
        <p:nvSpPr>
          <p:cNvPr id="2" name="Text Placeholder 5">
            <a:extLst>
              <a:ext uri="{FF2B5EF4-FFF2-40B4-BE49-F238E27FC236}">
                <a16:creationId xmlns:a16="http://schemas.microsoft.com/office/drawing/2014/main" id="{BCB3DDCC-4426-368A-BBF2-922CA573617E}"/>
              </a:ext>
            </a:extLst>
          </p:cNvPr>
          <p:cNvSpPr>
            <a:spLocks noGrp="1"/>
          </p:cNvSpPr>
          <p:nvPr>
            <p:ph type="body" sz="quarter" idx="27"/>
          </p:nvPr>
        </p:nvSpPr>
        <p:spPr>
          <a:xfrm>
            <a:off x="6311030" y="1097280"/>
            <a:ext cx="5404894" cy="4872162"/>
          </a:xfrm>
          <a:prstGeom prst="rect">
            <a:avLst/>
          </a:prstGeom>
        </p:spPr>
        <p:txBody>
          <a:bodyPr lIns="0" tIns="0" rIns="0" bIns="0"/>
          <a:lstStyle>
            <a:lvl1pPr marL="0" indent="0" algn="l">
              <a:buNone/>
              <a:defRPr sz="1800" b="0" i="0">
                <a:latin typeface="Montserrat Light" pitchFamily="2" charset="77"/>
                <a:cs typeface="Montserrat Light" pitchFamily="2" charset="77"/>
              </a:defRPr>
            </a:lvl1pPr>
            <a:lvl2pPr marL="174625" indent="-174625" algn="l">
              <a:spcBef>
                <a:spcPts val="1200"/>
              </a:spcBef>
              <a:buFont typeface="Arial" panose="020B0604020202020204" pitchFamily="34" charset="0"/>
              <a:buChar char="•"/>
              <a:tabLst/>
              <a:defRPr sz="1800" b="0" i="0">
                <a:latin typeface="Montserrat Light" pitchFamily="2" charset="77"/>
                <a:cs typeface="Montserrat Light" pitchFamily="2" charset="77"/>
              </a:defRPr>
            </a:lvl2pPr>
            <a:lvl3pPr marL="560070" indent="-285750" algn="l">
              <a:spcBef>
                <a:spcPts val="1200"/>
              </a:spcBef>
              <a:buFont typeface="Montserrat" panose="00000500000000000000" pitchFamily="2" charset="0"/>
              <a:buChar char="–"/>
              <a:defRPr sz="1800" b="0" i="0">
                <a:latin typeface="Montserrat Light" pitchFamily="2" charset="77"/>
                <a:cs typeface="Montserrat Light" pitchFamily="2" charset="77"/>
              </a:defRPr>
            </a:lvl3pPr>
            <a:lvl4pPr marL="834390" indent="-285750" algn="l">
              <a:spcBef>
                <a:spcPts val="1200"/>
              </a:spcBef>
              <a:buFont typeface="Courier New" panose="02070309020205020404" pitchFamily="49" charset="0"/>
              <a:buChar char="o"/>
              <a:defRPr sz="1600" b="0" i="0">
                <a:latin typeface="Montserrat Light" pitchFamily="2" charset="77"/>
                <a:cs typeface="Montserrat Light" pitchFamily="2" charset="77"/>
              </a:defRPr>
            </a:lvl4pPr>
            <a:lvl5pPr marL="1108710" indent="-285750" algn="l">
              <a:defRPr lang="en-US" sz="1400" b="0" i="0" u="none" strike="noStrike" cap="none" spc="0" baseline="0" dirty="0">
                <a:solidFill>
                  <a:srgbClr val="000000"/>
                </a:solidFill>
                <a:uFillTx/>
                <a:latin typeface="Montserrat Light" pitchFamily="2" charset="77"/>
                <a:ea typeface="Montserrat" panose="00000500000000000000" pitchFamily="2" charset="0"/>
                <a:cs typeface="Montserrat Light" pitchFamily="2" charset="77"/>
                <a:sym typeface="Montserrat"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12251"/>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432">
          <p15:clr>
            <a:srgbClr val="FBAE40"/>
          </p15:clr>
        </p15:guide>
        <p15:guide id="3" pos="7248">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3">
            <a:extLst>
              <a:ext uri="{FF2B5EF4-FFF2-40B4-BE49-F238E27FC236}">
                <a16:creationId xmlns:a16="http://schemas.microsoft.com/office/drawing/2014/main" id="{A5F56953-5C19-44BA-876B-533BF103DC43}"/>
              </a:ext>
            </a:extLst>
          </p:cNvPr>
          <p:cNvSpPr>
            <a:spLocks noGrp="1"/>
          </p:cNvSpPr>
          <p:nvPr>
            <p:ph type="sldNum" sz="quarter" idx="10"/>
          </p:nvPr>
        </p:nvSpPr>
        <p:spPr/>
        <p:txBody>
          <a:bodyPr/>
          <a:lstStyle>
            <a:lvl1pPr>
              <a:defRPr/>
            </a:lvl1pPr>
          </a:lstStyle>
          <a:p>
            <a:pPr>
              <a:defRPr/>
            </a:pPr>
            <a:fld id="{4B0ED8DB-84B1-4EAA-BC65-0B9B530EC627}" type="slidenum">
              <a:rPr lang="en-US"/>
              <a:pPr>
                <a:defRPr/>
              </a:pPr>
              <a:t>‹#›</a:t>
            </a:fld>
            <a:endParaRPr lang="en-US"/>
          </a:p>
        </p:txBody>
      </p:sp>
      <p:sp>
        <p:nvSpPr>
          <p:cNvPr id="3" name="Footer Placeholder 4">
            <a:extLst>
              <a:ext uri="{FF2B5EF4-FFF2-40B4-BE49-F238E27FC236}">
                <a16:creationId xmlns:a16="http://schemas.microsoft.com/office/drawing/2014/main" id="{7379CE49-110A-409A-B246-2599257D74BF}"/>
              </a:ext>
            </a:extLst>
          </p:cNvPr>
          <p:cNvSpPr>
            <a:spLocks noGrp="1"/>
          </p:cNvSpPr>
          <p:nvPr>
            <p:ph type="ftr" sz="quarter" idx="11"/>
          </p:nvPr>
        </p:nvSpPr>
        <p:spPr/>
        <p:txBody>
          <a:bodyPr/>
          <a:lstStyle>
            <a:lvl1pPr algn="l" eaLnBrk="1" fontAlgn="auto" hangingPunct="1">
              <a:spcBef>
                <a:spcPts val="0"/>
              </a:spcBef>
              <a:spcAft>
                <a:spcPts val="0"/>
              </a:spcAft>
              <a:defRPr sz="800">
                <a:solidFill>
                  <a:schemeClr val="tx1"/>
                </a:solidFill>
                <a:latin typeface="+mn-lt"/>
              </a:defRPr>
            </a:lvl1pPr>
          </a:lstStyle>
          <a:p>
            <a:pPr>
              <a:defRPr/>
            </a:pPr>
            <a:r>
              <a:rPr lang="en-US"/>
              <a:t>© 2023 Comcast. All rights reserved.</a:t>
            </a:r>
          </a:p>
        </p:txBody>
      </p:sp>
    </p:spTree>
    <p:extLst>
      <p:ext uri="{BB962C8B-B14F-4D97-AF65-F5344CB8AC3E}">
        <p14:creationId xmlns:p14="http://schemas.microsoft.com/office/powerpoint/2010/main" val="60542084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sp>
        <p:nvSpPr>
          <p:cNvPr id="2" name="Title 1"/>
          <p:cNvSpPr>
            <a:spLocks noGrp="1"/>
          </p:cNvSpPr>
          <p:nvPr>
            <p:ph type="ctrTitle"/>
          </p:nvPr>
        </p:nvSpPr>
        <p:spPr>
          <a:xfrm>
            <a:off x="374092" y="685800"/>
            <a:ext cx="8460345" cy="2880360"/>
          </a:xfrm>
        </p:spPr>
        <p:txBody>
          <a:bodyPr anchor="b">
            <a:noAutofit/>
          </a:bodyPr>
          <a:lstStyle>
            <a:lvl1pPr algn="l">
              <a:defRPr sz="6000">
                <a:solidFill>
                  <a:schemeClr val="tx1"/>
                </a:solidFill>
              </a:defRPr>
            </a:lvl1pPr>
          </a:lstStyle>
          <a:p>
            <a:r>
              <a:rPr lang="en-US"/>
              <a:t>Click to edit Master title style</a:t>
            </a:r>
            <a:endParaRPr lang="en-GB"/>
          </a:p>
        </p:txBody>
      </p:sp>
      <p:sp>
        <p:nvSpPr>
          <p:cNvPr id="3" name="Subtitle 2"/>
          <p:cNvSpPr>
            <a:spLocks noGrp="1"/>
          </p:cNvSpPr>
          <p:nvPr>
            <p:ph type="subTitle" idx="1"/>
          </p:nvPr>
        </p:nvSpPr>
        <p:spPr>
          <a:xfrm>
            <a:off x="429332" y="3814757"/>
            <a:ext cx="8405106" cy="641350"/>
          </a:xfrm>
        </p:spPr>
        <p:txBody>
          <a:bodyPr>
            <a:noAutofit/>
          </a:bodyPr>
          <a:lstStyle>
            <a:lvl1pPr marL="0" indent="0" algn="l">
              <a:buNone/>
              <a:defRPr sz="2400">
                <a:solidFill>
                  <a:schemeClr val="accent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7" name="Date Placeholder 3">
            <a:extLst>
              <a:ext uri="{FF2B5EF4-FFF2-40B4-BE49-F238E27FC236}">
                <a16:creationId xmlns:a16="http://schemas.microsoft.com/office/drawing/2014/main" id="{D212AD2A-F3E9-AD4A-BF46-8CD3A3FE0CFD}"/>
              </a:ext>
            </a:extLst>
          </p:cNvPr>
          <p:cNvSpPr>
            <a:spLocks noGrp="1"/>
          </p:cNvSpPr>
          <p:nvPr>
            <p:ph type="dt" sz="half" idx="10"/>
          </p:nvPr>
        </p:nvSpPr>
        <p:spPr>
          <a:xfrm>
            <a:off x="457200" y="6111875"/>
            <a:ext cx="4114800" cy="274638"/>
          </a:xfrm>
        </p:spPr>
        <p:txBody>
          <a:bodyPr/>
          <a:lstStyle>
            <a:lvl1pPr>
              <a:defRPr sz="1400" dirty="0">
                <a:solidFill>
                  <a:schemeClr val="accent1"/>
                </a:solidFill>
              </a:defRPr>
            </a:lvl1pPr>
          </a:lstStyle>
          <a:p>
            <a:pPr>
              <a:defRPr/>
            </a:pPr>
            <a:endParaRPr lang="en-US"/>
          </a:p>
        </p:txBody>
      </p:sp>
      <p:pic>
        <p:nvPicPr>
          <p:cNvPr id="9" name="Picture 8" descr="A picture containing text, light&#10;&#10;Description automatically generated">
            <a:extLst>
              <a:ext uri="{FF2B5EF4-FFF2-40B4-BE49-F238E27FC236}">
                <a16:creationId xmlns:a16="http://schemas.microsoft.com/office/drawing/2014/main" id="{05C1035B-284C-6B4B-AA12-9BD7A659E25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93975" y="6111875"/>
            <a:ext cx="2235674" cy="339530"/>
          </a:xfrm>
          <a:prstGeom prst="rect">
            <a:avLst/>
          </a:prstGeom>
        </p:spPr>
      </p:pic>
    </p:spTree>
    <p:extLst>
      <p:ext uri="{BB962C8B-B14F-4D97-AF65-F5344CB8AC3E}">
        <p14:creationId xmlns:p14="http://schemas.microsoft.com/office/powerpoint/2010/main" val="306743870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type="title" preserve="1">
  <p:cSld name="Title Slide 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74092" y="685800"/>
            <a:ext cx="8460345" cy="2880360"/>
          </a:xfrm>
        </p:spPr>
        <p:txBody>
          <a:bodyPr anchor="b">
            <a:noAutofit/>
          </a:bodyPr>
          <a:lstStyle>
            <a:lvl1pPr algn="l">
              <a:defRPr sz="6000">
                <a:solidFill>
                  <a:schemeClr val="bg1"/>
                </a:solidFill>
              </a:defRPr>
            </a:lvl1pPr>
          </a:lstStyle>
          <a:p>
            <a:r>
              <a:rPr lang="en-US"/>
              <a:t>Click to edit Master title style</a:t>
            </a:r>
            <a:endParaRPr lang="en-GB"/>
          </a:p>
        </p:txBody>
      </p:sp>
      <p:sp>
        <p:nvSpPr>
          <p:cNvPr id="3" name="Subtitle 2"/>
          <p:cNvSpPr>
            <a:spLocks noGrp="1"/>
          </p:cNvSpPr>
          <p:nvPr>
            <p:ph type="subTitle" idx="1"/>
          </p:nvPr>
        </p:nvSpPr>
        <p:spPr>
          <a:xfrm>
            <a:off x="429332" y="3814757"/>
            <a:ext cx="8405106" cy="641350"/>
          </a:xfrm>
        </p:spPr>
        <p:txBody>
          <a:bodyPr>
            <a:noAutofit/>
          </a:bodyPr>
          <a:lstStyle>
            <a:lvl1pPr marL="0" indent="0" algn="l">
              <a:buNone/>
              <a:defRPr sz="2400">
                <a:solidFill>
                  <a:schemeClr val="accent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5" name="Date Placeholder 3">
            <a:extLst>
              <a:ext uri="{FF2B5EF4-FFF2-40B4-BE49-F238E27FC236}">
                <a16:creationId xmlns:a16="http://schemas.microsoft.com/office/drawing/2014/main" id="{C159B597-2C95-9C4B-9565-6222E15059F0}"/>
              </a:ext>
            </a:extLst>
          </p:cNvPr>
          <p:cNvSpPr>
            <a:spLocks noGrp="1"/>
          </p:cNvSpPr>
          <p:nvPr>
            <p:ph type="dt" sz="half" idx="10"/>
          </p:nvPr>
        </p:nvSpPr>
        <p:spPr>
          <a:xfrm>
            <a:off x="457200" y="6108700"/>
            <a:ext cx="4114800" cy="274638"/>
          </a:xfrm>
        </p:spPr>
        <p:txBody>
          <a:bodyPr/>
          <a:lstStyle>
            <a:lvl1pPr>
              <a:defRPr sz="1400" dirty="0">
                <a:solidFill>
                  <a:schemeClr val="accent2"/>
                </a:solidFill>
              </a:defRPr>
            </a:lvl1pPr>
          </a:lstStyle>
          <a:p>
            <a:pPr>
              <a:defRPr/>
            </a:pPr>
            <a:endParaRPr lang="en-US"/>
          </a:p>
        </p:txBody>
      </p:sp>
      <p:pic>
        <p:nvPicPr>
          <p:cNvPr id="6" name="Picture 5" descr="A black and white logo&#10;&#10;Description automatically generated with low confidence">
            <a:extLst>
              <a:ext uri="{FF2B5EF4-FFF2-40B4-BE49-F238E27FC236}">
                <a16:creationId xmlns:a16="http://schemas.microsoft.com/office/drawing/2014/main" id="{1E0CC502-17CD-054C-8937-759962BF143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93975" y="6108831"/>
            <a:ext cx="2235674" cy="339531"/>
          </a:xfrm>
          <a:prstGeom prst="rect">
            <a:avLst/>
          </a:prstGeom>
        </p:spPr>
      </p:pic>
    </p:spTree>
    <p:extLst>
      <p:ext uri="{BB962C8B-B14F-4D97-AF65-F5344CB8AC3E}">
        <p14:creationId xmlns:p14="http://schemas.microsoft.com/office/powerpoint/2010/main" val="8045428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p:cSld name="Title Slide 3">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74093" y="1746250"/>
            <a:ext cx="6583680" cy="2688589"/>
          </a:xfrm>
        </p:spPr>
        <p:txBody>
          <a:bodyPr anchor="b">
            <a:noAutofit/>
          </a:bodyPr>
          <a:lstStyle>
            <a:lvl1pPr algn="l">
              <a:defRPr sz="6000">
                <a:solidFill>
                  <a:schemeClr val="bg1"/>
                </a:solidFill>
              </a:defRPr>
            </a:lvl1pPr>
          </a:lstStyle>
          <a:p>
            <a:r>
              <a:rPr lang="en-US"/>
              <a:t>Click to edit Master title style</a:t>
            </a:r>
            <a:endParaRPr lang="en-GB"/>
          </a:p>
        </p:txBody>
      </p:sp>
      <p:sp>
        <p:nvSpPr>
          <p:cNvPr id="3" name="Subtitle 2"/>
          <p:cNvSpPr>
            <a:spLocks noGrp="1"/>
          </p:cNvSpPr>
          <p:nvPr>
            <p:ph type="subTitle" idx="1"/>
          </p:nvPr>
        </p:nvSpPr>
        <p:spPr>
          <a:xfrm>
            <a:off x="429332" y="4663440"/>
            <a:ext cx="6528441" cy="641350"/>
          </a:xfrm>
        </p:spPr>
        <p:txBody>
          <a:bodyPr>
            <a:noAutofit/>
          </a:bodyPr>
          <a:lstStyle>
            <a:lvl1pPr marL="0" indent="0" algn="l">
              <a:buNone/>
              <a:defRPr sz="2400">
                <a:solidFill>
                  <a:schemeClr val="accent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15" name="Picture Placeholder 14"/>
          <p:cNvSpPr>
            <a:spLocks noGrp="1" noChangeAspect="1"/>
          </p:cNvSpPr>
          <p:nvPr>
            <p:ph type="pic" sz="quarter" idx="15"/>
          </p:nvPr>
        </p:nvSpPr>
        <p:spPr>
          <a:xfrm>
            <a:off x="7150608" y="-9144"/>
            <a:ext cx="5039057" cy="6876288"/>
          </a:xfrm>
          <a:custGeom>
            <a:avLst/>
            <a:gdLst>
              <a:gd name="connsiteX0" fmla="*/ 3420147 w 5025656"/>
              <a:gd name="connsiteY0" fmla="*/ 0 h 6858001"/>
              <a:gd name="connsiteX1" fmla="*/ 4791747 w 5025656"/>
              <a:gd name="connsiteY1" fmla="*/ 0 h 6858001"/>
              <a:gd name="connsiteX2" fmla="*/ 4791747 w 5025656"/>
              <a:gd name="connsiteY2" fmla="*/ 1 h 6858001"/>
              <a:gd name="connsiteX3" fmla="*/ 5025656 w 5025656"/>
              <a:gd name="connsiteY3" fmla="*/ 1 h 6858001"/>
              <a:gd name="connsiteX4" fmla="*/ 5025656 w 5025656"/>
              <a:gd name="connsiteY4" fmla="*/ 6858001 h 6858001"/>
              <a:gd name="connsiteX5" fmla="*/ 3844556 w 5025656"/>
              <a:gd name="connsiteY5" fmla="*/ 6858001 h 6858001"/>
              <a:gd name="connsiteX6" fmla="*/ 3844556 w 5025656"/>
              <a:gd name="connsiteY6" fmla="*/ 6858000 h 6858001"/>
              <a:gd name="connsiteX7" fmla="*/ 3420147 w 5025656"/>
              <a:gd name="connsiteY7" fmla="*/ 6858000 h 6858001"/>
              <a:gd name="connsiteX8" fmla="*/ 3420147 w 5025656"/>
              <a:gd name="connsiteY8" fmla="*/ 6857394 h 6858001"/>
              <a:gd name="connsiteX9" fmla="*/ 3210950 w 5025656"/>
              <a:gd name="connsiteY9" fmla="*/ 6851085 h 6858001"/>
              <a:gd name="connsiteX10" fmla="*/ 462976 w 5025656"/>
              <a:gd name="connsiteY10" fmla="*/ 5149683 h 6858001"/>
              <a:gd name="connsiteX11" fmla="*/ 457614 w 5025656"/>
              <a:gd name="connsiteY11" fmla="*/ 1717595 h 6858001"/>
              <a:gd name="connsiteX12" fmla="*/ 3200258 w 5025656"/>
              <a:gd name="connsiteY12" fmla="*/ 7617 h 6858001"/>
              <a:gd name="connsiteX13" fmla="*/ 3420147 w 5025656"/>
              <a:gd name="connsiteY13" fmla="*/ 297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25656" h="6858001">
                <a:moveTo>
                  <a:pt x="3420147" y="0"/>
                </a:moveTo>
                <a:lnTo>
                  <a:pt x="4791747" y="0"/>
                </a:lnTo>
                <a:lnTo>
                  <a:pt x="4791747" y="1"/>
                </a:lnTo>
                <a:lnTo>
                  <a:pt x="5025656" y="1"/>
                </a:lnTo>
                <a:lnTo>
                  <a:pt x="5025656" y="6858001"/>
                </a:lnTo>
                <a:lnTo>
                  <a:pt x="3844556" y="6858001"/>
                </a:lnTo>
                <a:lnTo>
                  <a:pt x="3844556" y="6858000"/>
                </a:lnTo>
                <a:lnTo>
                  <a:pt x="3420147" y="6858000"/>
                </a:lnTo>
                <a:lnTo>
                  <a:pt x="3420147" y="6857394"/>
                </a:lnTo>
                <a:lnTo>
                  <a:pt x="3210950" y="6851085"/>
                </a:lnTo>
                <a:cubicBezTo>
                  <a:pt x="2073531" y="6778796"/>
                  <a:pt x="1039896" y="6144147"/>
                  <a:pt x="462976" y="5149683"/>
                </a:cubicBezTo>
                <a:cubicBezTo>
                  <a:pt x="-152405" y="4088921"/>
                  <a:pt x="-154449" y="2780275"/>
                  <a:pt x="457614" y="1717595"/>
                </a:cubicBezTo>
                <a:cubicBezTo>
                  <a:pt x="1031423" y="721334"/>
                  <a:pt x="2063071" y="83459"/>
                  <a:pt x="3200258" y="7617"/>
                </a:cubicBezTo>
                <a:lnTo>
                  <a:pt x="3420147" y="297"/>
                </a:lnTo>
                <a:close/>
              </a:path>
            </a:pathLst>
          </a:custGeom>
          <a:solidFill>
            <a:schemeClr val="bg1">
              <a:lumMod val="95000"/>
            </a:schemeClr>
          </a:solidFill>
        </p:spPr>
        <p:txBody>
          <a:bodyPr lIns="1554480" tIns="2194560" rIns="1188720" rtlCol="0">
            <a:noAutofit/>
          </a:bodyPr>
          <a:lstStyle>
            <a:lvl1pPr marL="0" indent="0">
              <a:buNone/>
              <a:defRPr>
                <a:solidFill>
                  <a:schemeClr val="accent1"/>
                </a:solidFill>
              </a:defRPr>
            </a:lvl1pPr>
          </a:lstStyle>
          <a:p>
            <a:pPr lvl="0"/>
            <a:r>
              <a:rPr lang="en-US" noProof="0"/>
              <a:t>Click icon to add picture</a:t>
            </a:r>
          </a:p>
        </p:txBody>
      </p:sp>
      <p:sp>
        <p:nvSpPr>
          <p:cNvPr id="6" name="Date Placeholder 3">
            <a:extLst>
              <a:ext uri="{FF2B5EF4-FFF2-40B4-BE49-F238E27FC236}">
                <a16:creationId xmlns:a16="http://schemas.microsoft.com/office/drawing/2014/main" id="{0CF95674-D75C-1F41-A23A-6C507564452B}"/>
              </a:ext>
            </a:extLst>
          </p:cNvPr>
          <p:cNvSpPr>
            <a:spLocks noGrp="1"/>
          </p:cNvSpPr>
          <p:nvPr>
            <p:ph type="dt" sz="half" idx="16"/>
          </p:nvPr>
        </p:nvSpPr>
        <p:spPr>
          <a:xfrm>
            <a:off x="457200" y="6107113"/>
            <a:ext cx="4114800" cy="274637"/>
          </a:xfrm>
        </p:spPr>
        <p:txBody>
          <a:bodyPr/>
          <a:lstStyle>
            <a:lvl1pPr>
              <a:defRPr sz="1400" dirty="0">
                <a:solidFill>
                  <a:schemeClr val="accent2"/>
                </a:solidFill>
              </a:defRPr>
            </a:lvl1pPr>
          </a:lstStyle>
          <a:p>
            <a:pPr>
              <a:defRPr/>
            </a:pPr>
            <a:endParaRPr lang="en-US"/>
          </a:p>
        </p:txBody>
      </p:sp>
      <p:pic>
        <p:nvPicPr>
          <p:cNvPr id="7" name="Picture 6" descr="A black and white logo&#10;&#10;Description automatically generated with low confidence">
            <a:extLst>
              <a:ext uri="{FF2B5EF4-FFF2-40B4-BE49-F238E27FC236}">
                <a16:creationId xmlns:a16="http://schemas.microsoft.com/office/drawing/2014/main" id="{F12EB7CD-D3F0-9C44-801D-BFF313EFC86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4025" y="365125"/>
            <a:ext cx="2235674" cy="339531"/>
          </a:xfrm>
          <a:prstGeom prst="rect">
            <a:avLst/>
          </a:prstGeom>
        </p:spPr>
      </p:pic>
    </p:spTree>
    <p:extLst>
      <p:ext uri="{BB962C8B-B14F-4D97-AF65-F5344CB8AC3E}">
        <p14:creationId xmlns:p14="http://schemas.microsoft.com/office/powerpoint/2010/main" val="87967286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secHead" preserve="1">
  <p:cSld name="Section 1">
    <p:spTree>
      <p:nvGrpSpPr>
        <p:cNvPr id="1" name=""/>
        <p:cNvGrpSpPr/>
        <p:nvPr/>
      </p:nvGrpSpPr>
      <p:grpSpPr>
        <a:xfrm>
          <a:off x="0" y="0"/>
          <a:ext cx="0" cy="0"/>
          <a:chOff x="0" y="0"/>
          <a:chExt cx="0" cy="0"/>
        </a:xfrm>
      </p:grpSpPr>
      <p:sp>
        <p:nvSpPr>
          <p:cNvPr id="2" name="Title 1"/>
          <p:cNvSpPr>
            <a:spLocks noGrp="1"/>
          </p:cNvSpPr>
          <p:nvPr>
            <p:ph type="title"/>
          </p:nvPr>
        </p:nvSpPr>
        <p:spPr>
          <a:xfrm>
            <a:off x="422788" y="685800"/>
            <a:ext cx="8411650" cy="2971800"/>
          </a:xfrm>
        </p:spPr>
        <p:txBody>
          <a:bodyPr anchor="b"/>
          <a:lstStyle>
            <a:lvl1pPr>
              <a:defRPr sz="5400">
                <a:solidFill>
                  <a:schemeClr val="accent1"/>
                </a:solidFill>
              </a:defRPr>
            </a:lvl1pPr>
          </a:lstStyle>
          <a:p>
            <a:r>
              <a:rPr lang="en-US"/>
              <a:t>Click to edit Master title style</a:t>
            </a:r>
          </a:p>
        </p:txBody>
      </p:sp>
      <p:sp>
        <p:nvSpPr>
          <p:cNvPr id="3" name="Text Placeholder 2"/>
          <p:cNvSpPr>
            <a:spLocks noGrp="1"/>
          </p:cNvSpPr>
          <p:nvPr>
            <p:ph type="body" idx="1"/>
          </p:nvPr>
        </p:nvSpPr>
        <p:spPr>
          <a:xfrm>
            <a:off x="432618" y="4101321"/>
            <a:ext cx="8401819" cy="641350"/>
          </a:xfrm>
        </p:spPr>
        <p:txBody>
          <a:bodyPr/>
          <a:lstStyle>
            <a:lvl1pPr marL="0" indent="0">
              <a:buNone/>
              <a:defRPr sz="2000">
                <a:solidFill>
                  <a:schemeClr val="tx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Footer Placeholder 4">
            <a:extLst>
              <a:ext uri="{FF2B5EF4-FFF2-40B4-BE49-F238E27FC236}">
                <a16:creationId xmlns:a16="http://schemas.microsoft.com/office/drawing/2014/main" id="{CF77214D-2238-7D4D-A20D-08495D3E04B5}"/>
              </a:ext>
            </a:extLst>
          </p:cNvPr>
          <p:cNvSpPr>
            <a:spLocks noGrp="1"/>
          </p:cNvSpPr>
          <p:nvPr>
            <p:ph type="ftr" sz="quarter" idx="10"/>
          </p:nvPr>
        </p:nvSpPr>
        <p:spPr/>
        <p:txBody>
          <a:bodyPr/>
          <a:lstStyle>
            <a:lvl1pPr algn="l">
              <a:defRPr/>
            </a:lvl1pPr>
          </a:lstStyle>
          <a:p>
            <a:pPr>
              <a:defRPr/>
            </a:pPr>
            <a:r>
              <a:rPr lang="en-US"/>
              <a:t>Copyright © 2023 Comcast Business. All rights reserved.</a:t>
            </a:r>
          </a:p>
        </p:txBody>
      </p:sp>
      <p:sp>
        <p:nvSpPr>
          <p:cNvPr id="5" name="Slide Number Placeholder 5">
            <a:extLst>
              <a:ext uri="{FF2B5EF4-FFF2-40B4-BE49-F238E27FC236}">
                <a16:creationId xmlns:a16="http://schemas.microsoft.com/office/drawing/2014/main" id="{8FCBBB8E-267B-1140-B084-5A74EBD83E1E}"/>
              </a:ext>
            </a:extLst>
          </p:cNvPr>
          <p:cNvSpPr>
            <a:spLocks noGrp="1"/>
          </p:cNvSpPr>
          <p:nvPr>
            <p:ph type="sldNum" sz="quarter" idx="11"/>
          </p:nvPr>
        </p:nvSpPr>
        <p:spPr/>
        <p:txBody>
          <a:bodyPr/>
          <a:lstStyle>
            <a:lvl1pPr>
              <a:defRPr/>
            </a:lvl1pPr>
          </a:lstStyle>
          <a:p>
            <a:pPr>
              <a:defRPr/>
            </a:pPr>
            <a:fld id="{147529E0-6BA6-8945-9B36-45FF1D705EF0}" type="slidenum">
              <a:rPr lang="en-US"/>
              <a:pPr>
                <a:defRPr/>
              </a:pPr>
              <a:t>‹#›</a:t>
            </a:fld>
            <a:endParaRPr lang="en-US"/>
          </a:p>
        </p:txBody>
      </p:sp>
      <p:sp>
        <p:nvSpPr>
          <p:cNvPr id="6" name="TextBox 5">
            <a:extLst>
              <a:ext uri="{FF2B5EF4-FFF2-40B4-BE49-F238E27FC236}">
                <a16:creationId xmlns:a16="http://schemas.microsoft.com/office/drawing/2014/main" id="{007F4BE2-86F2-4249-913F-898CC45D6DDC}"/>
              </a:ext>
            </a:extLst>
          </p:cNvPr>
          <p:cNvSpPr txBox="1"/>
          <p:nvPr userDrawn="1"/>
        </p:nvSpPr>
        <p:spPr>
          <a:xfrm>
            <a:off x="10303497" y="6532775"/>
            <a:ext cx="0" cy="0"/>
          </a:xfrm>
          <a:prstGeom prst="rect">
            <a:avLst/>
          </a:prstGeom>
          <a:noFill/>
        </p:spPr>
        <p:txBody>
          <a:bodyPr wrap="none" lIns="0" tIns="0" rIns="0" bIns="0" rtlCol="0">
            <a:noAutofit/>
          </a:bodyPr>
          <a:lstStyle/>
          <a:p>
            <a:pPr algn="l"/>
            <a:endParaRPr lang="en-US"/>
          </a:p>
        </p:txBody>
      </p:sp>
    </p:spTree>
    <p:extLst>
      <p:ext uri="{BB962C8B-B14F-4D97-AF65-F5344CB8AC3E}">
        <p14:creationId xmlns:p14="http://schemas.microsoft.com/office/powerpoint/2010/main" val="289983775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type="secHead" preserve="1">
  <p:cSld name="Section 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2788" y="685800"/>
            <a:ext cx="8411651" cy="2971800"/>
          </a:xfrm>
        </p:spPr>
        <p:txBody>
          <a:bodyPr anchor="b"/>
          <a:lstStyle>
            <a:lvl1pPr>
              <a:defRPr sz="5400">
                <a:solidFill>
                  <a:schemeClr val="accent2"/>
                </a:solidFill>
              </a:defRPr>
            </a:lvl1pPr>
          </a:lstStyle>
          <a:p>
            <a:r>
              <a:rPr lang="en-US"/>
              <a:t>Click to edit Master title style</a:t>
            </a:r>
          </a:p>
        </p:txBody>
      </p:sp>
      <p:sp>
        <p:nvSpPr>
          <p:cNvPr id="3" name="Text Placeholder 2"/>
          <p:cNvSpPr>
            <a:spLocks noGrp="1"/>
          </p:cNvSpPr>
          <p:nvPr>
            <p:ph type="body" idx="1"/>
          </p:nvPr>
        </p:nvSpPr>
        <p:spPr>
          <a:xfrm>
            <a:off x="432618" y="4101321"/>
            <a:ext cx="8401818" cy="641350"/>
          </a:xfrm>
        </p:spPr>
        <p:txBody>
          <a:bodyPr/>
          <a:lstStyle>
            <a:lvl1pPr marL="0" indent="0">
              <a:buNone/>
              <a:defRPr sz="2000">
                <a:solidFill>
                  <a:schemeClr val="bg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5" name="Footer Placeholder 4">
            <a:extLst>
              <a:ext uri="{FF2B5EF4-FFF2-40B4-BE49-F238E27FC236}">
                <a16:creationId xmlns:a16="http://schemas.microsoft.com/office/drawing/2014/main" id="{82B0D611-1CDC-6A4C-810E-E5914A8CB81C}"/>
              </a:ext>
            </a:extLst>
          </p:cNvPr>
          <p:cNvSpPr>
            <a:spLocks noGrp="1"/>
          </p:cNvSpPr>
          <p:nvPr>
            <p:ph type="ftr" sz="quarter" idx="10"/>
          </p:nvPr>
        </p:nvSpPr>
        <p:spPr/>
        <p:txBody>
          <a:bodyPr/>
          <a:lstStyle>
            <a:lvl1pPr algn="l">
              <a:defRPr>
                <a:solidFill>
                  <a:schemeClr val="bg1"/>
                </a:solidFill>
              </a:defRPr>
            </a:lvl1pPr>
          </a:lstStyle>
          <a:p>
            <a:pPr>
              <a:defRPr/>
            </a:pPr>
            <a:r>
              <a:rPr lang="en-US"/>
              <a:t>Copyright © 2023 Comcast Business. All rights reserved.</a:t>
            </a:r>
          </a:p>
        </p:txBody>
      </p:sp>
      <p:sp>
        <p:nvSpPr>
          <p:cNvPr id="6" name="Slide Number Placeholder 5">
            <a:extLst>
              <a:ext uri="{FF2B5EF4-FFF2-40B4-BE49-F238E27FC236}">
                <a16:creationId xmlns:a16="http://schemas.microsoft.com/office/drawing/2014/main" id="{5301EC08-A314-C849-A063-8F295A47466B}"/>
              </a:ext>
            </a:extLst>
          </p:cNvPr>
          <p:cNvSpPr>
            <a:spLocks noGrp="1"/>
          </p:cNvSpPr>
          <p:nvPr>
            <p:ph type="sldNum" sz="quarter" idx="11"/>
          </p:nvPr>
        </p:nvSpPr>
        <p:spPr/>
        <p:txBody>
          <a:bodyPr/>
          <a:lstStyle>
            <a:lvl1pPr>
              <a:defRPr smtClean="0">
                <a:solidFill>
                  <a:schemeClr val="accent2"/>
                </a:solidFill>
              </a:defRPr>
            </a:lvl1pPr>
          </a:lstStyle>
          <a:p>
            <a:pPr>
              <a:defRPr/>
            </a:pPr>
            <a:fld id="{0CB785D2-DF10-554D-AC6A-A233E363934A}" type="slidenum">
              <a:rPr lang="en-US"/>
              <a:pPr>
                <a:defRPr/>
              </a:pPr>
              <a:t>‹#›</a:t>
            </a:fld>
            <a:endParaRPr lang="en-US"/>
          </a:p>
        </p:txBody>
      </p:sp>
      <p:pic>
        <p:nvPicPr>
          <p:cNvPr id="10" name="Picture 9">
            <a:extLst>
              <a:ext uri="{FF2B5EF4-FFF2-40B4-BE49-F238E27FC236}">
                <a16:creationId xmlns:a16="http://schemas.microsoft.com/office/drawing/2014/main" id="{A4560237-59F2-3146-BF6D-D0D13F9B75F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50172" y="6424613"/>
            <a:ext cx="3109375" cy="196175"/>
          </a:xfrm>
          <a:prstGeom prst="rect">
            <a:avLst/>
          </a:prstGeom>
        </p:spPr>
      </p:pic>
    </p:spTree>
    <p:extLst>
      <p:ext uri="{BB962C8B-B14F-4D97-AF65-F5344CB8AC3E}">
        <p14:creationId xmlns:p14="http://schemas.microsoft.com/office/powerpoint/2010/main" val="241677836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9488" y="685800"/>
            <a:ext cx="11305312" cy="822960"/>
          </a:xfrm>
        </p:spPr>
        <p:txBody>
          <a:bodyPr/>
          <a:lstStyle>
            <a:lvl1pPr>
              <a:defRPr/>
            </a:lvl1pPr>
          </a:lstStyle>
          <a:p>
            <a:r>
              <a:rPr lang="en-US"/>
              <a:t>Click to edit Master title style</a:t>
            </a:r>
          </a:p>
        </p:txBody>
      </p:sp>
      <p:sp>
        <p:nvSpPr>
          <p:cNvPr id="3" name="Content Placeholder 2"/>
          <p:cNvSpPr>
            <a:spLocks noGrp="1"/>
          </p:cNvSpPr>
          <p:nvPr>
            <p:ph idx="1"/>
          </p:nvPr>
        </p:nvSpPr>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p:cNvSpPr>
            <a:spLocks noGrp="1"/>
          </p:cNvSpPr>
          <p:nvPr>
            <p:ph type="body" sz="quarter" idx="13"/>
          </p:nvPr>
        </p:nvSpPr>
        <p:spPr>
          <a:xfrm>
            <a:off x="457317" y="411480"/>
            <a:ext cx="6400800" cy="182880"/>
          </a:xfrm>
        </p:spPr>
        <p:txBody>
          <a:bodyPr/>
          <a:lstStyle>
            <a:lvl1pPr marL="0" indent="0">
              <a:buNone/>
              <a:defRPr sz="1200">
                <a:solidFill>
                  <a:schemeClr val="accent1"/>
                </a:solidFill>
              </a:defRPr>
            </a:lvl1pPr>
            <a:lvl2pPr marL="228600" indent="0">
              <a:buNone/>
              <a:defRPr/>
            </a:lvl2pPr>
          </a:lstStyle>
          <a:p>
            <a:pPr lvl="0"/>
            <a:r>
              <a:rPr lang="en-US"/>
              <a:t>Click to edit Master text styles</a:t>
            </a:r>
          </a:p>
        </p:txBody>
      </p:sp>
      <p:sp>
        <p:nvSpPr>
          <p:cNvPr id="5" name="Footer Placeholder 4">
            <a:extLst>
              <a:ext uri="{FF2B5EF4-FFF2-40B4-BE49-F238E27FC236}">
                <a16:creationId xmlns:a16="http://schemas.microsoft.com/office/drawing/2014/main" id="{648DC815-E6E0-FB41-AAF2-5C2D47912632}"/>
              </a:ext>
            </a:extLst>
          </p:cNvPr>
          <p:cNvSpPr>
            <a:spLocks noGrp="1"/>
          </p:cNvSpPr>
          <p:nvPr>
            <p:ph type="ftr" sz="quarter" idx="14"/>
          </p:nvPr>
        </p:nvSpPr>
        <p:spPr/>
        <p:txBody>
          <a:bodyPr/>
          <a:lstStyle>
            <a:lvl1pPr>
              <a:defRPr/>
            </a:lvl1pPr>
          </a:lstStyle>
          <a:p>
            <a:pPr>
              <a:defRPr/>
            </a:pPr>
            <a:r>
              <a:rPr lang="en-US"/>
              <a:t>Copyright © 2023 Comcast Business. All rights reserved.</a:t>
            </a:r>
          </a:p>
        </p:txBody>
      </p:sp>
      <p:sp>
        <p:nvSpPr>
          <p:cNvPr id="6" name="Slide Number Placeholder 5">
            <a:extLst>
              <a:ext uri="{FF2B5EF4-FFF2-40B4-BE49-F238E27FC236}">
                <a16:creationId xmlns:a16="http://schemas.microsoft.com/office/drawing/2014/main" id="{42050708-A5AE-944E-8ACE-F46A241813A1}"/>
              </a:ext>
            </a:extLst>
          </p:cNvPr>
          <p:cNvSpPr>
            <a:spLocks noGrp="1"/>
          </p:cNvSpPr>
          <p:nvPr>
            <p:ph type="sldNum" sz="quarter" idx="15"/>
          </p:nvPr>
        </p:nvSpPr>
        <p:spPr/>
        <p:txBody>
          <a:bodyPr/>
          <a:lstStyle>
            <a:lvl1pPr>
              <a:defRPr/>
            </a:lvl1pPr>
          </a:lstStyle>
          <a:p>
            <a:pPr>
              <a:defRPr/>
            </a:pPr>
            <a:fld id="{12278D16-D8FF-8C44-A4E0-156D034AD86A}" type="slidenum">
              <a:rPr lang="en-US"/>
              <a:pPr>
                <a:defRPr/>
              </a:pPr>
              <a:t>‹#›</a:t>
            </a:fld>
            <a:endParaRPr lang="en-US"/>
          </a:p>
        </p:txBody>
      </p:sp>
    </p:spTree>
    <p:extLst>
      <p:ext uri="{BB962C8B-B14F-4D97-AF65-F5344CB8AC3E}">
        <p14:creationId xmlns:p14="http://schemas.microsoft.com/office/powerpoint/2010/main" val="417402793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29488" y="685800"/>
            <a:ext cx="11305313" cy="822960"/>
          </a:xfrm>
        </p:spPr>
        <p:txBody>
          <a:bodyPr/>
          <a:lstStyle>
            <a:lvl1pPr>
              <a:defRPr/>
            </a:lvl1pPr>
          </a:lstStyle>
          <a:p>
            <a:r>
              <a:rPr lang="en-US"/>
              <a:t>Click to edit Master title style</a:t>
            </a:r>
          </a:p>
        </p:txBody>
      </p:sp>
      <p:sp>
        <p:nvSpPr>
          <p:cNvPr id="3" name="Content Placeholder 2"/>
          <p:cNvSpPr>
            <a:spLocks noGrp="1"/>
          </p:cNvSpPr>
          <p:nvPr>
            <p:ph sz="half" idx="1"/>
          </p:nvPr>
        </p:nvSpPr>
        <p:spPr>
          <a:xfrm>
            <a:off x="445207" y="1645920"/>
            <a:ext cx="5486400" cy="4663440"/>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45350" y="1645920"/>
            <a:ext cx="5486400" cy="4663440"/>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8"/>
          <p:cNvSpPr>
            <a:spLocks noGrp="1"/>
          </p:cNvSpPr>
          <p:nvPr>
            <p:ph type="body" sz="quarter" idx="13"/>
          </p:nvPr>
        </p:nvSpPr>
        <p:spPr>
          <a:xfrm>
            <a:off x="457200" y="411480"/>
            <a:ext cx="6400800" cy="182880"/>
          </a:xfrm>
        </p:spPr>
        <p:txBody>
          <a:bodyPr/>
          <a:lstStyle>
            <a:lvl1pPr marL="0" indent="0">
              <a:buNone/>
              <a:defRPr sz="1200">
                <a:solidFill>
                  <a:schemeClr val="accent1"/>
                </a:solidFill>
              </a:defRPr>
            </a:lvl1pPr>
            <a:lvl2pPr marL="228600" indent="0">
              <a:buNone/>
              <a:defRPr/>
            </a:lvl2pPr>
          </a:lstStyle>
          <a:p>
            <a:pPr lvl="0"/>
            <a:r>
              <a:rPr lang="en-US"/>
              <a:t>Click to edit Master text styles</a:t>
            </a:r>
          </a:p>
        </p:txBody>
      </p:sp>
      <p:sp>
        <p:nvSpPr>
          <p:cNvPr id="6" name="Footer Placeholder 5">
            <a:extLst>
              <a:ext uri="{FF2B5EF4-FFF2-40B4-BE49-F238E27FC236}">
                <a16:creationId xmlns:a16="http://schemas.microsoft.com/office/drawing/2014/main" id="{513D2087-29FB-494B-8ACB-884B13887E60}"/>
              </a:ext>
            </a:extLst>
          </p:cNvPr>
          <p:cNvSpPr>
            <a:spLocks noGrp="1"/>
          </p:cNvSpPr>
          <p:nvPr>
            <p:ph type="ftr" sz="quarter" idx="14"/>
          </p:nvPr>
        </p:nvSpPr>
        <p:spPr/>
        <p:txBody>
          <a:bodyPr/>
          <a:lstStyle>
            <a:lvl1pPr>
              <a:defRPr/>
            </a:lvl1pPr>
          </a:lstStyle>
          <a:p>
            <a:pPr>
              <a:defRPr/>
            </a:pPr>
            <a:r>
              <a:rPr lang="en-US"/>
              <a:t>Copyright © 2023 Comcast Business. All rights reserved.</a:t>
            </a:r>
          </a:p>
        </p:txBody>
      </p:sp>
      <p:sp>
        <p:nvSpPr>
          <p:cNvPr id="7" name="Slide Number Placeholder 6">
            <a:extLst>
              <a:ext uri="{FF2B5EF4-FFF2-40B4-BE49-F238E27FC236}">
                <a16:creationId xmlns:a16="http://schemas.microsoft.com/office/drawing/2014/main" id="{49EBBE57-9C0D-3148-83FC-C5FECDADEB90}"/>
              </a:ext>
            </a:extLst>
          </p:cNvPr>
          <p:cNvSpPr>
            <a:spLocks noGrp="1"/>
          </p:cNvSpPr>
          <p:nvPr>
            <p:ph type="sldNum" sz="quarter" idx="15"/>
          </p:nvPr>
        </p:nvSpPr>
        <p:spPr/>
        <p:txBody>
          <a:bodyPr/>
          <a:lstStyle>
            <a:lvl1pPr>
              <a:defRPr/>
            </a:lvl1pPr>
          </a:lstStyle>
          <a:p>
            <a:pPr>
              <a:defRPr/>
            </a:pPr>
            <a:fld id="{D036158C-6B28-FA47-80D5-6DE34C7E234B}" type="slidenum">
              <a:rPr lang="en-US"/>
              <a:pPr>
                <a:defRPr/>
              </a:pPr>
              <a:t>‹#›</a:t>
            </a:fld>
            <a:endParaRPr lang="en-US"/>
          </a:p>
        </p:txBody>
      </p:sp>
      <p:sp>
        <p:nvSpPr>
          <p:cNvPr id="10" name="TextBox 9">
            <a:extLst>
              <a:ext uri="{FF2B5EF4-FFF2-40B4-BE49-F238E27FC236}">
                <a16:creationId xmlns:a16="http://schemas.microsoft.com/office/drawing/2014/main" id="{F38BE489-C18E-2340-B1C2-90CA6180D1E2}"/>
              </a:ext>
            </a:extLst>
          </p:cNvPr>
          <p:cNvSpPr txBox="1"/>
          <p:nvPr userDrawn="1"/>
        </p:nvSpPr>
        <p:spPr>
          <a:xfrm>
            <a:off x="8666922" y="6450496"/>
            <a:ext cx="0" cy="0"/>
          </a:xfrm>
          <a:prstGeom prst="rect">
            <a:avLst/>
          </a:prstGeom>
          <a:noFill/>
        </p:spPr>
        <p:txBody>
          <a:bodyPr wrap="none" lIns="0" tIns="0" rIns="0" bIns="0" rtlCol="0">
            <a:noAutofit/>
          </a:bodyPr>
          <a:lstStyle/>
          <a:p>
            <a:pPr algn="l"/>
            <a:endParaRPr lang="en-US"/>
          </a:p>
        </p:txBody>
      </p:sp>
    </p:spTree>
    <p:extLst>
      <p:ext uri="{BB962C8B-B14F-4D97-AF65-F5344CB8AC3E}">
        <p14:creationId xmlns:p14="http://schemas.microsoft.com/office/powerpoint/2010/main" val="263377121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Statement 1">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48205" y="1645920"/>
            <a:ext cx="5486400" cy="4665980"/>
          </a:xfrm>
        </p:spPr>
        <p:txBody>
          <a:bodyPr/>
          <a:lstStyle>
            <a:lvl1pPr marL="0" indent="0">
              <a:buNone/>
              <a:defRPr sz="4000">
                <a:solidFill>
                  <a:schemeClr val="bg1"/>
                </a:solidFill>
                <a:latin typeface="+mj-lt"/>
              </a:defRPr>
            </a:lvl1pPr>
          </a:lstStyle>
          <a:p>
            <a:pPr lvl="0"/>
            <a:r>
              <a:rPr lang="en-US"/>
              <a:t>Click to edit Master text styles</a:t>
            </a:r>
          </a:p>
        </p:txBody>
      </p:sp>
      <p:sp>
        <p:nvSpPr>
          <p:cNvPr id="4" name="Content Placeholder 3"/>
          <p:cNvSpPr>
            <a:spLocks noGrp="1"/>
          </p:cNvSpPr>
          <p:nvPr>
            <p:ph sz="half" idx="2"/>
          </p:nvPr>
        </p:nvSpPr>
        <p:spPr>
          <a:xfrm>
            <a:off x="6245350" y="1645920"/>
            <a:ext cx="5486400" cy="4663440"/>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8"/>
          <p:cNvSpPr>
            <a:spLocks noGrp="1"/>
          </p:cNvSpPr>
          <p:nvPr>
            <p:ph type="body" sz="quarter" idx="13"/>
          </p:nvPr>
        </p:nvSpPr>
        <p:spPr>
          <a:xfrm>
            <a:off x="457200" y="411480"/>
            <a:ext cx="6400800" cy="182880"/>
          </a:xfrm>
        </p:spPr>
        <p:txBody>
          <a:bodyPr/>
          <a:lstStyle>
            <a:lvl1pPr marL="0" indent="0">
              <a:buNone/>
              <a:defRPr sz="1200">
                <a:solidFill>
                  <a:schemeClr val="bg1"/>
                </a:solidFill>
              </a:defRPr>
            </a:lvl1pPr>
            <a:lvl2pPr marL="228600" indent="0">
              <a:buNone/>
              <a:defRPr/>
            </a:lvl2pPr>
          </a:lstStyle>
          <a:p>
            <a:pPr lvl="0"/>
            <a:r>
              <a:rPr lang="en-US"/>
              <a:t>Click to edit Master text styles</a:t>
            </a:r>
          </a:p>
        </p:txBody>
      </p:sp>
      <p:sp>
        <p:nvSpPr>
          <p:cNvPr id="6" name="Footer Placeholder 5">
            <a:extLst>
              <a:ext uri="{FF2B5EF4-FFF2-40B4-BE49-F238E27FC236}">
                <a16:creationId xmlns:a16="http://schemas.microsoft.com/office/drawing/2014/main" id="{B66A857E-9A67-744D-A5F0-0F09EB98B9BD}"/>
              </a:ext>
            </a:extLst>
          </p:cNvPr>
          <p:cNvSpPr>
            <a:spLocks noGrp="1"/>
          </p:cNvSpPr>
          <p:nvPr>
            <p:ph type="ftr" sz="quarter" idx="14"/>
          </p:nvPr>
        </p:nvSpPr>
        <p:spPr/>
        <p:txBody>
          <a:bodyPr/>
          <a:lstStyle>
            <a:lvl1pPr algn="l">
              <a:defRPr>
                <a:solidFill>
                  <a:schemeClr val="bg1"/>
                </a:solidFill>
              </a:defRPr>
            </a:lvl1pPr>
          </a:lstStyle>
          <a:p>
            <a:pPr>
              <a:defRPr/>
            </a:pPr>
            <a:r>
              <a:rPr lang="en-US"/>
              <a:t>Copyright © 2023 Comcast Business. All rights reserved.</a:t>
            </a:r>
          </a:p>
        </p:txBody>
      </p:sp>
      <p:sp>
        <p:nvSpPr>
          <p:cNvPr id="7" name="Slide Number Placeholder 6">
            <a:extLst>
              <a:ext uri="{FF2B5EF4-FFF2-40B4-BE49-F238E27FC236}">
                <a16:creationId xmlns:a16="http://schemas.microsoft.com/office/drawing/2014/main" id="{0646179A-2427-4049-8CC2-D9E4B6C091FA}"/>
              </a:ext>
            </a:extLst>
          </p:cNvPr>
          <p:cNvSpPr>
            <a:spLocks noGrp="1"/>
          </p:cNvSpPr>
          <p:nvPr>
            <p:ph type="sldNum" sz="quarter" idx="15"/>
          </p:nvPr>
        </p:nvSpPr>
        <p:spPr/>
        <p:txBody>
          <a:bodyPr/>
          <a:lstStyle>
            <a:lvl1pPr>
              <a:defRPr smtClean="0">
                <a:solidFill>
                  <a:schemeClr val="bg1"/>
                </a:solidFill>
              </a:defRPr>
            </a:lvl1pPr>
          </a:lstStyle>
          <a:p>
            <a:pPr>
              <a:defRPr/>
            </a:pPr>
            <a:fld id="{3AA8CBEA-1654-0C4F-AC14-BDA5EC40AF67}" type="slidenum">
              <a:rPr lang="en-US"/>
              <a:pPr>
                <a:defRPr/>
              </a:pPr>
              <a:t>‹#›</a:t>
            </a:fld>
            <a:endParaRPr lang="en-US"/>
          </a:p>
        </p:txBody>
      </p:sp>
      <p:pic>
        <p:nvPicPr>
          <p:cNvPr id="9" name="Picture 8">
            <a:extLst>
              <a:ext uri="{FF2B5EF4-FFF2-40B4-BE49-F238E27FC236}">
                <a16:creationId xmlns:a16="http://schemas.microsoft.com/office/drawing/2014/main" id="{541EA419-1AB8-B04E-9900-9E7C8924CE1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50172" y="6424613"/>
            <a:ext cx="3109375" cy="196175"/>
          </a:xfrm>
          <a:prstGeom prst="rect">
            <a:avLst/>
          </a:prstGeom>
        </p:spPr>
      </p:pic>
    </p:spTree>
    <p:extLst>
      <p:ext uri="{BB962C8B-B14F-4D97-AF65-F5344CB8AC3E}">
        <p14:creationId xmlns:p14="http://schemas.microsoft.com/office/powerpoint/2010/main" val="24696609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Statement 2">
    <p:bg>
      <p:bgPr>
        <a:solidFill>
          <a:schemeClr val="accent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A115E1A-337F-6A42-9729-19FAEB144D50}"/>
              </a:ext>
            </a:extLst>
          </p:cNvPr>
          <p:cNvSpPr/>
          <p:nvPr/>
        </p:nvSpPr>
        <p:spPr>
          <a:xfrm>
            <a:off x="6096000" y="-9525"/>
            <a:ext cx="6096000" cy="687705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3" name="Content Placeholder 2"/>
          <p:cNvSpPr>
            <a:spLocks noGrp="1"/>
          </p:cNvSpPr>
          <p:nvPr>
            <p:ph sz="half" idx="1"/>
          </p:nvPr>
        </p:nvSpPr>
        <p:spPr>
          <a:xfrm>
            <a:off x="448205" y="1645920"/>
            <a:ext cx="5486400" cy="4665980"/>
          </a:xfrm>
        </p:spPr>
        <p:txBody>
          <a:bodyPr/>
          <a:lstStyle>
            <a:lvl1pPr marL="0" indent="0">
              <a:buNone/>
              <a:defRPr sz="4000">
                <a:solidFill>
                  <a:schemeClr val="bg1"/>
                </a:solidFill>
                <a:latin typeface="+mj-lt"/>
              </a:defRPr>
            </a:lvl1pPr>
          </a:lstStyle>
          <a:p>
            <a:pPr lvl="0"/>
            <a:r>
              <a:rPr lang="en-US"/>
              <a:t>Click to edit Master text styles</a:t>
            </a:r>
          </a:p>
        </p:txBody>
      </p:sp>
      <p:sp>
        <p:nvSpPr>
          <p:cNvPr id="4" name="Content Placeholder 3"/>
          <p:cNvSpPr>
            <a:spLocks noGrp="1"/>
          </p:cNvSpPr>
          <p:nvPr>
            <p:ph sz="half" idx="2"/>
          </p:nvPr>
        </p:nvSpPr>
        <p:spPr>
          <a:xfrm>
            <a:off x="6245350" y="461912"/>
            <a:ext cx="5486400" cy="584998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8"/>
          <p:cNvSpPr>
            <a:spLocks noGrp="1"/>
          </p:cNvSpPr>
          <p:nvPr>
            <p:ph type="body" sz="quarter" idx="13"/>
          </p:nvPr>
        </p:nvSpPr>
        <p:spPr>
          <a:xfrm>
            <a:off x="457200" y="411480"/>
            <a:ext cx="5577840" cy="182880"/>
          </a:xfrm>
        </p:spPr>
        <p:txBody>
          <a:bodyPr/>
          <a:lstStyle>
            <a:lvl1pPr marL="0" indent="0">
              <a:buNone/>
              <a:defRPr sz="1200">
                <a:solidFill>
                  <a:schemeClr val="bg1"/>
                </a:solidFill>
              </a:defRPr>
            </a:lvl1pPr>
            <a:lvl2pPr marL="228600" indent="0">
              <a:buNone/>
              <a:defRPr/>
            </a:lvl2pPr>
          </a:lstStyle>
          <a:p>
            <a:pPr lvl="0"/>
            <a:r>
              <a:rPr lang="en-US"/>
              <a:t>Click to edit Master text styles</a:t>
            </a:r>
          </a:p>
        </p:txBody>
      </p:sp>
      <p:sp>
        <p:nvSpPr>
          <p:cNvPr id="10" name="Footer Placeholder 5">
            <a:extLst>
              <a:ext uri="{FF2B5EF4-FFF2-40B4-BE49-F238E27FC236}">
                <a16:creationId xmlns:a16="http://schemas.microsoft.com/office/drawing/2014/main" id="{75E21BF5-1C28-9640-B0A2-58B5610505D8}"/>
              </a:ext>
            </a:extLst>
          </p:cNvPr>
          <p:cNvSpPr>
            <a:spLocks noGrp="1"/>
          </p:cNvSpPr>
          <p:nvPr>
            <p:ph type="ftr" sz="quarter" idx="14"/>
          </p:nvPr>
        </p:nvSpPr>
        <p:spPr/>
        <p:txBody>
          <a:bodyPr/>
          <a:lstStyle>
            <a:lvl1pPr>
              <a:defRPr>
                <a:solidFill>
                  <a:schemeClr val="bg1"/>
                </a:solidFill>
              </a:defRPr>
            </a:lvl1pPr>
          </a:lstStyle>
          <a:p>
            <a:pPr>
              <a:defRPr/>
            </a:pPr>
            <a:r>
              <a:rPr lang="en-US"/>
              <a:t>Copyright © 2023 Comcast Business. All rights reserved.</a:t>
            </a:r>
          </a:p>
        </p:txBody>
      </p:sp>
      <p:sp>
        <p:nvSpPr>
          <p:cNvPr id="11" name="Slide Number Placeholder 6">
            <a:extLst>
              <a:ext uri="{FF2B5EF4-FFF2-40B4-BE49-F238E27FC236}">
                <a16:creationId xmlns:a16="http://schemas.microsoft.com/office/drawing/2014/main" id="{F1FA2EA2-39E6-FF47-A90C-F61387C3C840}"/>
              </a:ext>
            </a:extLst>
          </p:cNvPr>
          <p:cNvSpPr>
            <a:spLocks noGrp="1"/>
          </p:cNvSpPr>
          <p:nvPr>
            <p:ph type="sldNum" sz="quarter" idx="15"/>
          </p:nvPr>
        </p:nvSpPr>
        <p:spPr/>
        <p:txBody>
          <a:bodyPr/>
          <a:lstStyle>
            <a:lvl1pPr>
              <a:defRPr smtClean="0">
                <a:solidFill>
                  <a:schemeClr val="tx1"/>
                </a:solidFill>
              </a:defRPr>
            </a:lvl1pPr>
          </a:lstStyle>
          <a:p>
            <a:pPr>
              <a:defRPr/>
            </a:pPr>
            <a:fld id="{8AE35DE5-84F3-A241-9214-F619D5BA1C50}" type="slidenum">
              <a:rPr lang="en-US"/>
              <a:pPr>
                <a:defRPr/>
              </a:pPr>
              <a:t>‹#›</a:t>
            </a:fld>
            <a:endParaRPr lang="en-US"/>
          </a:p>
        </p:txBody>
      </p:sp>
      <p:pic>
        <p:nvPicPr>
          <p:cNvPr id="13" name="Picture 12">
            <a:extLst>
              <a:ext uri="{FF2B5EF4-FFF2-40B4-BE49-F238E27FC236}">
                <a16:creationId xmlns:a16="http://schemas.microsoft.com/office/drawing/2014/main" id="{E2422CAE-50C4-774C-99F8-A142855F931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48454" y="6436967"/>
            <a:ext cx="3001668" cy="189380"/>
          </a:xfrm>
          <a:prstGeom prst="rect">
            <a:avLst/>
          </a:prstGeom>
        </p:spPr>
      </p:pic>
    </p:spTree>
    <p:extLst>
      <p:ext uri="{BB962C8B-B14F-4D97-AF65-F5344CB8AC3E}">
        <p14:creationId xmlns:p14="http://schemas.microsoft.com/office/powerpoint/2010/main" val="11818092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Slide - 3 Col">
    <p:spTree>
      <p:nvGrpSpPr>
        <p:cNvPr id="1" name=""/>
        <p:cNvGrpSpPr/>
        <p:nvPr/>
      </p:nvGrpSpPr>
      <p:grpSpPr>
        <a:xfrm>
          <a:off x="0" y="0"/>
          <a:ext cx="0" cy="0"/>
          <a:chOff x="0" y="0"/>
          <a:chExt cx="0" cy="0"/>
        </a:xfrm>
      </p:grpSpPr>
      <p:sp>
        <p:nvSpPr>
          <p:cNvPr id="19" name="Text Placeholder 5">
            <a:extLst>
              <a:ext uri="{FF2B5EF4-FFF2-40B4-BE49-F238E27FC236}">
                <a16:creationId xmlns:a16="http://schemas.microsoft.com/office/drawing/2014/main" id="{3F686C8C-E081-5242-90B9-38796068D595}"/>
              </a:ext>
            </a:extLst>
          </p:cNvPr>
          <p:cNvSpPr>
            <a:spLocks noGrp="1"/>
          </p:cNvSpPr>
          <p:nvPr>
            <p:ph type="body" sz="quarter" idx="26"/>
          </p:nvPr>
        </p:nvSpPr>
        <p:spPr>
          <a:xfrm>
            <a:off x="463550" y="1097280"/>
            <a:ext cx="3377719" cy="4872162"/>
          </a:xfrm>
          <a:prstGeom prst="rect">
            <a:avLst/>
          </a:prstGeom>
        </p:spPr>
        <p:txBody>
          <a:bodyPr lIns="0" tIns="0" rIns="0" bIns="0"/>
          <a:lstStyle>
            <a:lvl1pPr marL="0" indent="0" algn="l">
              <a:buNone/>
              <a:defRPr sz="1800" b="0" i="0">
                <a:latin typeface="Montserrat Light" pitchFamily="2" charset="77"/>
                <a:cs typeface="Montserrat Light" pitchFamily="2" charset="77"/>
              </a:defRPr>
            </a:lvl1pPr>
            <a:lvl2pPr marL="174625" indent="-174625" algn="l">
              <a:spcBef>
                <a:spcPts val="1200"/>
              </a:spcBef>
              <a:buFont typeface="Arial" panose="020B0604020202020204" pitchFamily="34" charset="0"/>
              <a:buChar char="•"/>
              <a:tabLst/>
              <a:defRPr sz="1800" b="0" i="0">
                <a:latin typeface="Montserrat Light" pitchFamily="2" charset="77"/>
                <a:cs typeface="Montserrat Light" pitchFamily="2" charset="77"/>
              </a:defRPr>
            </a:lvl2pPr>
            <a:lvl3pPr marL="560070" indent="-285750" algn="l">
              <a:spcBef>
                <a:spcPts val="1200"/>
              </a:spcBef>
              <a:buFont typeface="Montserrat" panose="00000500000000000000" pitchFamily="2" charset="0"/>
              <a:buChar char="–"/>
              <a:defRPr sz="1800" b="0" i="0">
                <a:latin typeface="Montserrat Light" pitchFamily="2" charset="77"/>
                <a:cs typeface="Montserrat Light" pitchFamily="2" charset="77"/>
              </a:defRPr>
            </a:lvl3pPr>
            <a:lvl4pPr marL="834390" indent="-285750" algn="l">
              <a:spcBef>
                <a:spcPts val="1200"/>
              </a:spcBef>
              <a:buFont typeface="Courier New" panose="02070309020205020404" pitchFamily="49" charset="0"/>
              <a:buChar char="o"/>
              <a:defRPr sz="1600" b="0" i="0">
                <a:latin typeface="Montserrat Light" pitchFamily="2" charset="77"/>
                <a:cs typeface="Montserrat Light" pitchFamily="2" charset="77"/>
              </a:defRPr>
            </a:lvl4pPr>
            <a:lvl5pPr marL="1108710" indent="-285750" algn="l">
              <a:defRPr lang="en-US" sz="1400" b="0" i="0" u="none" strike="noStrike" cap="none" spc="0" baseline="0" dirty="0">
                <a:solidFill>
                  <a:srgbClr val="000000"/>
                </a:solidFill>
                <a:uFillTx/>
                <a:latin typeface="Montserrat Light" pitchFamily="2" charset="77"/>
                <a:ea typeface="Montserrat" panose="00000500000000000000" pitchFamily="2" charset="0"/>
                <a:cs typeface="Montserrat Light" pitchFamily="2" charset="77"/>
                <a:sym typeface="Montserrat"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a:extLst>
              <a:ext uri="{FF2B5EF4-FFF2-40B4-BE49-F238E27FC236}">
                <a16:creationId xmlns:a16="http://schemas.microsoft.com/office/drawing/2014/main" id="{F21AE09E-697C-FC45-9E96-2E45E76886AB}"/>
              </a:ext>
            </a:extLst>
          </p:cNvPr>
          <p:cNvSpPr>
            <a:spLocks noGrp="1"/>
          </p:cNvSpPr>
          <p:nvPr>
            <p:ph type="title"/>
          </p:nvPr>
        </p:nvSpPr>
        <p:spPr>
          <a:xfrm>
            <a:off x="463548" y="514928"/>
            <a:ext cx="11271251" cy="368157"/>
          </a:xfrm>
          <a:prstGeom prst="rect">
            <a:avLst/>
          </a:prstGeom>
        </p:spPr>
        <p:txBody>
          <a:bodyPr lIns="0" tIns="0" rIns="0" bIns="0" anchor="t"/>
          <a:lstStyle>
            <a:lvl1pPr marL="0" marR="0" indent="0" algn="l" defTabSz="412750" rtl="0" latinLnBrk="0">
              <a:lnSpc>
                <a:spcPct val="100000"/>
              </a:lnSpc>
              <a:spcBef>
                <a:spcPts val="0"/>
              </a:spcBef>
              <a:spcAft>
                <a:spcPts val="0"/>
              </a:spcAft>
              <a:buClrTx/>
              <a:buSzTx/>
              <a:buFontTx/>
              <a:buNone/>
              <a:tabLst/>
              <a:defRPr lang="en-US" sz="2200" b="1" i="0" u="none" strike="noStrike" cap="none" spc="0" baseline="0" dirty="0" smtClean="0">
                <a:solidFill>
                  <a:srgbClr val="000000"/>
                </a:solidFill>
                <a:uFillTx/>
                <a:latin typeface="Montserrat" panose="00000500000000000000" pitchFamily="2" charset="0"/>
                <a:ea typeface="Montserrat" panose="00000500000000000000" pitchFamily="2" charset="0"/>
                <a:cs typeface="Montserrat" panose="00000500000000000000" pitchFamily="2" charset="0"/>
                <a:sym typeface="Montserrat" panose="00000500000000000000" pitchFamily="2" charset="0"/>
              </a:defRPr>
            </a:lvl1pPr>
          </a:lstStyle>
          <a:p>
            <a:r>
              <a:rPr lang="en-US"/>
              <a:t>Click to edit Master title style</a:t>
            </a:r>
          </a:p>
        </p:txBody>
      </p:sp>
      <p:sp>
        <p:nvSpPr>
          <p:cNvPr id="10" name="Text Placeholder 2">
            <a:extLst>
              <a:ext uri="{FF2B5EF4-FFF2-40B4-BE49-F238E27FC236}">
                <a16:creationId xmlns:a16="http://schemas.microsoft.com/office/drawing/2014/main" id="{E4AEF971-9BCB-1E42-9E22-F8D1F1044C95}"/>
              </a:ext>
            </a:extLst>
          </p:cNvPr>
          <p:cNvSpPr>
            <a:spLocks noGrp="1"/>
          </p:cNvSpPr>
          <p:nvPr>
            <p:ph type="body" sz="quarter" idx="25" hasCustomPrompt="1"/>
          </p:nvPr>
        </p:nvSpPr>
        <p:spPr>
          <a:xfrm>
            <a:off x="463548" y="255612"/>
            <a:ext cx="11271251" cy="201168"/>
          </a:xfrm>
          <a:prstGeom prst="rect">
            <a:avLst/>
          </a:prstGeom>
        </p:spPr>
        <p:txBody>
          <a:bodyPr lIns="0" tIns="0" rIns="0" bIns="0" anchor="ctr"/>
          <a:lstStyle>
            <a:lvl1pPr marL="0" indent="0" algn="l">
              <a:buNone/>
              <a:defRPr lang="en-US" sz="1000" b="0" i="0" cap="all" spc="200" baseline="0" dirty="0">
                <a:solidFill>
                  <a:schemeClr val="accent1"/>
                </a:solidFill>
                <a:latin typeface="Montserrat" panose="00000500000000000000" pitchFamily="2" charset="0"/>
                <a:ea typeface="Montserrat" panose="00000500000000000000" pitchFamily="2" charset="0"/>
                <a:cs typeface="Montserrat" panose="00000500000000000000" pitchFamily="2" charset="0"/>
              </a:defRPr>
            </a:lvl1pPr>
          </a:lstStyle>
          <a:p>
            <a:pPr lvl="0" algn="l"/>
            <a:r>
              <a:rPr lang="en-US"/>
              <a:t>OPTIONAL BREADCRUMB HERE</a:t>
            </a:r>
          </a:p>
        </p:txBody>
      </p:sp>
      <p:sp>
        <p:nvSpPr>
          <p:cNvPr id="8" name="Slide Number Placeholder 5">
            <a:extLst>
              <a:ext uri="{FF2B5EF4-FFF2-40B4-BE49-F238E27FC236}">
                <a16:creationId xmlns:a16="http://schemas.microsoft.com/office/drawing/2014/main" id="{3DB84E04-7731-345F-77EA-3F29E135A0BC}"/>
              </a:ext>
            </a:extLst>
          </p:cNvPr>
          <p:cNvSpPr txBox="1">
            <a:spLocks/>
          </p:cNvSpPr>
          <p:nvPr userDrawn="1"/>
        </p:nvSpPr>
        <p:spPr>
          <a:xfrm>
            <a:off x="11341100" y="6424613"/>
            <a:ext cx="393700" cy="200025"/>
          </a:xfrm>
          <a:prstGeom prst="rect">
            <a:avLst/>
          </a:prstGeom>
        </p:spPr>
        <p:txBody>
          <a:bodyPr vert="horz" lIns="0" tIns="0" rIns="0" bIns="0" rtlCol="0" anchor="ctr">
            <a:noAutofit/>
          </a:bodyPr>
          <a:lstStyle>
            <a:defPPr>
              <a:defRPr lang="en-US"/>
            </a:defPPr>
            <a:lvl1pPr algn="r" rtl="0" eaLnBrk="1" fontAlgn="auto" hangingPunct="1">
              <a:spcBef>
                <a:spcPts val="0"/>
              </a:spcBef>
              <a:spcAft>
                <a:spcPts val="0"/>
              </a:spcAft>
              <a:defRPr sz="800" kern="1200">
                <a:solidFill>
                  <a:schemeClr val="tx2"/>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fld id="{5F05AE8C-CF5F-4A4E-B69B-C9D8FA4EC18A}" type="slidenum">
              <a:rPr lang="en-US" smtClean="0">
                <a:solidFill>
                  <a:srgbClr val="112F64"/>
                </a:solidFill>
                <a:latin typeface="Montserrat" panose="00000500000000000000" pitchFamily="2" charset="0"/>
              </a:rPr>
              <a:pPr>
                <a:defRPr/>
              </a:pPr>
              <a:t>‹#›</a:t>
            </a:fld>
            <a:endParaRPr lang="en-US">
              <a:solidFill>
                <a:srgbClr val="112F64"/>
              </a:solidFill>
              <a:latin typeface="Montserrat" panose="00000500000000000000" pitchFamily="2" charset="0"/>
            </a:endParaRPr>
          </a:p>
        </p:txBody>
      </p:sp>
      <p:sp>
        <p:nvSpPr>
          <p:cNvPr id="11" name="Footer Placeholder 4">
            <a:extLst>
              <a:ext uri="{FF2B5EF4-FFF2-40B4-BE49-F238E27FC236}">
                <a16:creationId xmlns:a16="http://schemas.microsoft.com/office/drawing/2014/main" id="{75064991-9187-8694-627F-2FECE8244915}"/>
              </a:ext>
            </a:extLst>
          </p:cNvPr>
          <p:cNvSpPr txBox="1">
            <a:spLocks/>
          </p:cNvSpPr>
          <p:nvPr userDrawn="1"/>
        </p:nvSpPr>
        <p:spPr>
          <a:xfrm>
            <a:off x="463550" y="6427788"/>
            <a:ext cx="4114800" cy="198437"/>
          </a:xfrm>
          <a:prstGeom prst="rect">
            <a:avLst/>
          </a:prstGeom>
        </p:spPr>
        <p:txBody>
          <a:bodyPr vert="horz" lIns="0" tIns="0" rIns="0" bIns="0" rtlCol="0" anchor="ctr">
            <a:noAutofit/>
          </a:bodyPr>
          <a:lstStyle>
            <a:defPPr>
              <a:defRPr lang="en-US"/>
            </a:defPPr>
            <a:lvl1pPr algn="l" rtl="0" eaLnBrk="1" fontAlgn="auto" hangingPunct="1">
              <a:spcBef>
                <a:spcPts val="0"/>
              </a:spcBef>
              <a:spcAft>
                <a:spcPts val="0"/>
              </a:spcAft>
              <a:defRPr sz="800" kern="1200">
                <a:solidFill>
                  <a:schemeClr val="tx1"/>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r>
              <a:rPr lang="en-US">
                <a:solidFill>
                  <a:srgbClr val="000000"/>
                </a:solidFill>
                <a:latin typeface="Montserrat" panose="00000500000000000000" pitchFamily="2" charset="0"/>
              </a:rPr>
              <a:t>© 2024 Comcast. All rights reserved.</a:t>
            </a:r>
          </a:p>
        </p:txBody>
      </p:sp>
      <p:sp>
        <p:nvSpPr>
          <p:cNvPr id="2" name="Text Placeholder 5">
            <a:extLst>
              <a:ext uri="{FF2B5EF4-FFF2-40B4-BE49-F238E27FC236}">
                <a16:creationId xmlns:a16="http://schemas.microsoft.com/office/drawing/2014/main" id="{BCB3DDCC-4426-368A-BBF2-922CA573617E}"/>
              </a:ext>
            </a:extLst>
          </p:cNvPr>
          <p:cNvSpPr>
            <a:spLocks noGrp="1"/>
          </p:cNvSpPr>
          <p:nvPr>
            <p:ph type="body" sz="quarter" idx="27"/>
          </p:nvPr>
        </p:nvSpPr>
        <p:spPr>
          <a:xfrm>
            <a:off x="4410315" y="1097280"/>
            <a:ext cx="3377719" cy="4872162"/>
          </a:xfrm>
          <a:prstGeom prst="rect">
            <a:avLst/>
          </a:prstGeom>
        </p:spPr>
        <p:txBody>
          <a:bodyPr lIns="0" tIns="0" rIns="0" bIns="0"/>
          <a:lstStyle>
            <a:lvl1pPr marL="0" indent="0" algn="l">
              <a:buNone/>
              <a:defRPr sz="1800" b="0" i="0">
                <a:latin typeface="Montserrat Light" pitchFamily="2" charset="77"/>
                <a:cs typeface="Montserrat Light" pitchFamily="2" charset="77"/>
              </a:defRPr>
            </a:lvl1pPr>
            <a:lvl2pPr marL="174625" indent="-174625" algn="l">
              <a:spcBef>
                <a:spcPts val="1200"/>
              </a:spcBef>
              <a:buFont typeface="Arial" panose="020B0604020202020204" pitchFamily="34" charset="0"/>
              <a:buChar char="•"/>
              <a:tabLst/>
              <a:defRPr sz="1800" b="0" i="0">
                <a:latin typeface="Montserrat Light" pitchFamily="2" charset="77"/>
                <a:cs typeface="Montserrat Light" pitchFamily="2" charset="77"/>
              </a:defRPr>
            </a:lvl2pPr>
            <a:lvl3pPr marL="560070" indent="-285750" algn="l">
              <a:spcBef>
                <a:spcPts val="1200"/>
              </a:spcBef>
              <a:buFont typeface="Montserrat" panose="00000500000000000000" pitchFamily="2" charset="0"/>
              <a:buChar char="–"/>
              <a:defRPr sz="1800" b="0" i="0">
                <a:latin typeface="Montserrat Light" pitchFamily="2" charset="77"/>
                <a:cs typeface="Montserrat Light" pitchFamily="2" charset="77"/>
              </a:defRPr>
            </a:lvl3pPr>
            <a:lvl4pPr marL="834390" indent="-285750" algn="l">
              <a:spcBef>
                <a:spcPts val="1200"/>
              </a:spcBef>
              <a:buFont typeface="Courier New" panose="02070309020205020404" pitchFamily="49" charset="0"/>
              <a:buChar char="o"/>
              <a:defRPr sz="1600" b="0" i="0">
                <a:latin typeface="Montserrat Light" pitchFamily="2" charset="77"/>
                <a:cs typeface="Montserrat Light" pitchFamily="2" charset="77"/>
              </a:defRPr>
            </a:lvl4pPr>
            <a:lvl5pPr marL="1108710" indent="-285750" algn="l">
              <a:defRPr lang="en-US" sz="1400" b="0" i="0" u="none" strike="noStrike" cap="none" spc="0" baseline="0" dirty="0">
                <a:solidFill>
                  <a:srgbClr val="000000"/>
                </a:solidFill>
                <a:uFillTx/>
                <a:latin typeface="Montserrat Light" pitchFamily="2" charset="77"/>
                <a:ea typeface="Montserrat" panose="00000500000000000000" pitchFamily="2" charset="0"/>
                <a:cs typeface="Montserrat Light" pitchFamily="2" charset="77"/>
                <a:sym typeface="Montserrat"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5">
            <a:extLst>
              <a:ext uri="{FF2B5EF4-FFF2-40B4-BE49-F238E27FC236}">
                <a16:creationId xmlns:a16="http://schemas.microsoft.com/office/drawing/2014/main" id="{9C5DFF84-72FE-DA83-3BB4-8E059109D3A6}"/>
              </a:ext>
            </a:extLst>
          </p:cNvPr>
          <p:cNvSpPr>
            <a:spLocks noGrp="1"/>
          </p:cNvSpPr>
          <p:nvPr>
            <p:ph type="body" sz="quarter" idx="28"/>
          </p:nvPr>
        </p:nvSpPr>
        <p:spPr>
          <a:xfrm>
            <a:off x="8357081" y="1097280"/>
            <a:ext cx="3377719" cy="4872162"/>
          </a:xfrm>
          <a:prstGeom prst="rect">
            <a:avLst/>
          </a:prstGeom>
        </p:spPr>
        <p:txBody>
          <a:bodyPr lIns="0" tIns="0" rIns="0" bIns="0"/>
          <a:lstStyle>
            <a:lvl1pPr marL="0" indent="0" algn="l">
              <a:buNone/>
              <a:defRPr sz="1800" b="0" i="0">
                <a:latin typeface="Montserrat Light" pitchFamily="2" charset="77"/>
                <a:cs typeface="Montserrat Light" pitchFamily="2" charset="77"/>
              </a:defRPr>
            </a:lvl1pPr>
            <a:lvl2pPr marL="174625" indent="-174625" algn="l">
              <a:spcBef>
                <a:spcPts val="1200"/>
              </a:spcBef>
              <a:buFont typeface="Arial" panose="020B0604020202020204" pitchFamily="34" charset="0"/>
              <a:buChar char="•"/>
              <a:tabLst/>
              <a:defRPr sz="1800" b="0" i="0">
                <a:latin typeface="Montserrat Light" pitchFamily="2" charset="77"/>
                <a:cs typeface="Montserrat Light" pitchFamily="2" charset="77"/>
              </a:defRPr>
            </a:lvl2pPr>
            <a:lvl3pPr marL="560070" indent="-285750" algn="l">
              <a:spcBef>
                <a:spcPts val="1200"/>
              </a:spcBef>
              <a:buFont typeface="Montserrat" panose="00000500000000000000" pitchFamily="2" charset="0"/>
              <a:buChar char="–"/>
              <a:defRPr sz="1800" b="0" i="0">
                <a:latin typeface="Montserrat Light" pitchFamily="2" charset="77"/>
                <a:cs typeface="Montserrat Light" pitchFamily="2" charset="77"/>
              </a:defRPr>
            </a:lvl3pPr>
            <a:lvl4pPr marL="834390" indent="-285750" algn="l">
              <a:spcBef>
                <a:spcPts val="1200"/>
              </a:spcBef>
              <a:buFont typeface="Courier New" panose="02070309020205020404" pitchFamily="49" charset="0"/>
              <a:buChar char="o"/>
              <a:defRPr sz="1600" b="0" i="0">
                <a:latin typeface="Montserrat Light" pitchFamily="2" charset="77"/>
                <a:cs typeface="Montserrat Light" pitchFamily="2" charset="77"/>
              </a:defRPr>
            </a:lvl4pPr>
            <a:lvl5pPr marL="1108710" indent="-285750" algn="l">
              <a:defRPr lang="en-US" sz="1400" b="0" i="0" u="none" strike="noStrike" cap="none" spc="0" baseline="0" dirty="0">
                <a:solidFill>
                  <a:srgbClr val="000000"/>
                </a:solidFill>
                <a:uFillTx/>
                <a:latin typeface="Montserrat Light" pitchFamily="2" charset="77"/>
                <a:ea typeface="Montserrat" panose="00000500000000000000" pitchFamily="2" charset="0"/>
                <a:cs typeface="Montserrat Light" pitchFamily="2" charset="77"/>
                <a:sym typeface="Montserrat"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2552677"/>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432">
          <p15:clr>
            <a:srgbClr val="FBAE40"/>
          </p15:clr>
        </p15:guide>
        <p15:guide id="3" pos="7248">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Split 1">
    <p:bg>
      <p:bgPr>
        <a:solidFill>
          <a:schemeClr val="accent1"/>
        </a:solidFill>
        <a:effectLst/>
      </p:bgPr>
    </p:bg>
    <p:spTree>
      <p:nvGrpSpPr>
        <p:cNvPr id="1" name=""/>
        <p:cNvGrpSpPr/>
        <p:nvPr/>
      </p:nvGrpSpPr>
      <p:grpSpPr>
        <a:xfrm>
          <a:off x="0" y="0"/>
          <a:ext cx="0" cy="0"/>
          <a:chOff x="0" y="0"/>
          <a:chExt cx="0" cy="0"/>
        </a:xfrm>
      </p:grpSpPr>
      <p:sp>
        <p:nvSpPr>
          <p:cNvPr id="6" name="Rectangle: Single Corner Rounded 9">
            <a:extLst>
              <a:ext uri="{FF2B5EF4-FFF2-40B4-BE49-F238E27FC236}">
                <a16:creationId xmlns:a16="http://schemas.microsoft.com/office/drawing/2014/main" id="{5A918B39-F6A9-8744-BB09-392094D50E4C}"/>
              </a:ext>
            </a:extLst>
          </p:cNvPr>
          <p:cNvSpPr/>
          <p:nvPr/>
        </p:nvSpPr>
        <p:spPr>
          <a:xfrm flipH="1">
            <a:off x="6448425" y="2286000"/>
            <a:ext cx="5768975" cy="4579938"/>
          </a:xfrm>
          <a:prstGeom prst="round1Rect">
            <a:avLst>
              <a:gd name="adj" fmla="val 5325"/>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 name="Title 1"/>
          <p:cNvSpPr>
            <a:spLocks noGrp="1"/>
          </p:cNvSpPr>
          <p:nvPr>
            <p:ph type="title"/>
          </p:nvPr>
        </p:nvSpPr>
        <p:spPr>
          <a:xfrm>
            <a:off x="429488" y="685800"/>
            <a:ext cx="11305313" cy="822960"/>
          </a:xfrm>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sz="half" idx="1"/>
          </p:nvPr>
        </p:nvSpPr>
        <p:spPr>
          <a:xfrm>
            <a:off x="448205" y="1645920"/>
            <a:ext cx="5486400" cy="466344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8"/>
          <p:cNvSpPr>
            <a:spLocks noGrp="1"/>
          </p:cNvSpPr>
          <p:nvPr>
            <p:ph type="body" sz="quarter" idx="13"/>
          </p:nvPr>
        </p:nvSpPr>
        <p:spPr>
          <a:xfrm>
            <a:off x="457200" y="411480"/>
            <a:ext cx="6400800" cy="182880"/>
          </a:xfrm>
        </p:spPr>
        <p:txBody>
          <a:bodyPr/>
          <a:lstStyle>
            <a:lvl1pPr marL="0" indent="0">
              <a:buNone/>
              <a:defRPr sz="1200">
                <a:solidFill>
                  <a:schemeClr val="bg1"/>
                </a:solidFill>
              </a:defRPr>
            </a:lvl1pPr>
            <a:lvl2pPr marL="228600" indent="0">
              <a:buNone/>
              <a:defRPr/>
            </a:lvl2pPr>
          </a:lstStyle>
          <a:p>
            <a:pPr lvl="0"/>
            <a:r>
              <a:rPr lang="en-US"/>
              <a:t>Click to edit Master text styles</a:t>
            </a:r>
          </a:p>
        </p:txBody>
      </p:sp>
      <p:sp>
        <p:nvSpPr>
          <p:cNvPr id="4" name="Content Placeholder 3"/>
          <p:cNvSpPr>
            <a:spLocks noGrp="1"/>
          </p:cNvSpPr>
          <p:nvPr>
            <p:ph sz="half" idx="2"/>
          </p:nvPr>
        </p:nvSpPr>
        <p:spPr>
          <a:xfrm>
            <a:off x="6705601" y="2560320"/>
            <a:ext cx="5029200" cy="3749040"/>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Footer Placeholder 5">
            <a:extLst>
              <a:ext uri="{FF2B5EF4-FFF2-40B4-BE49-F238E27FC236}">
                <a16:creationId xmlns:a16="http://schemas.microsoft.com/office/drawing/2014/main" id="{ECBC9383-D104-7547-A93C-68D61E9A99F4}"/>
              </a:ext>
            </a:extLst>
          </p:cNvPr>
          <p:cNvSpPr>
            <a:spLocks noGrp="1"/>
          </p:cNvSpPr>
          <p:nvPr>
            <p:ph type="ftr" sz="quarter" idx="14"/>
          </p:nvPr>
        </p:nvSpPr>
        <p:spPr/>
        <p:txBody>
          <a:bodyPr/>
          <a:lstStyle>
            <a:lvl1pPr>
              <a:defRPr>
                <a:solidFill>
                  <a:schemeClr val="bg1"/>
                </a:solidFill>
              </a:defRPr>
            </a:lvl1pPr>
          </a:lstStyle>
          <a:p>
            <a:pPr>
              <a:defRPr/>
            </a:pPr>
            <a:r>
              <a:rPr lang="en-US"/>
              <a:t>Copyright © 2023 Comcast Business. All rights reserved.</a:t>
            </a:r>
          </a:p>
        </p:txBody>
      </p:sp>
      <p:sp>
        <p:nvSpPr>
          <p:cNvPr id="12" name="Slide Number Placeholder 6">
            <a:extLst>
              <a:ext uri="{FF2B5EF4-FFF2-40B4-BE49-F238E27FC236}">
                <a16:creationId xmlns:a16="http://schemas.microsoft.com/office/drawing/2014/main" id="{760AA386-73B3-8941-A681-E7009EBB3793}"/>
              </a:ext>
            </a:extLst>
          </p:cNvPr>
          <p:cNvSpPr>
            <a:spLocks noGrp="1"/>
          </p:cNvSpPr>
          <p:nvPr>
            <p:ph type="sldNum" sz="quarter" idx="15"/>
          </p:nvPr>
        </p:nvSpPr>
        <p:spPr/>
        <p:txBody>
          <a:bodyPr/>
          <a:lstStyle>
            <a:lvl1pPr>
              <a:defRPr smtClean="0">
                <a:solidFill>
                  <a:schemeClr val="tx1"/>
                </a:solidFill>
              </a:defRPr>
            </a:lvl1pPr>
          </a:lstStyle>
          <a:p>
            <a:pPr>
              <a:defRPr/>
            </a:pPr>
            <a:fld id="{354CBCC5-4304-844E-B517-ABEF965F0950}" type="slidenum">
              <a:rPr lang="en-US"/>
              <a:pPr>
                <a:defRPr/>
              </a:pPr>
              <a:t>‹#›</a:t>
            </a:fld>
            <a:endParaRPr lang="en-US"/>
          </a:p>
        </p:txBody>
      </p:sp>
      <p:pic>
        <p:nvPicPr>
          <p:cNvPr id="13" name="Picture 12">
            <a:extLst>
              <a:ext uri="{FF2B5EF4-FFF2-40B4-BE49-F238E27FC236}">
                <a16:creationId xmlns:a16="http://schemas.microsoft.com/office/drawing/2014/main" id="{6B6F105D-FFCE-574A-B6E5-33CD7103548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48454" y="6436967"/>
            <a:ext cx="3001668" cy="189380"/>
          </a:xfrm>
          <a:prstGeom prst="rect">
            <a:avLst/>
          </a:prstGeom>
        </p:spPr>
      </p:pic>
    </p:spTree>
    <p:extLst>
      <p:ext uri="{BB962C8B-B14F-4D97-AF65-F5344CB8AC3E}">
        <p14:creationId xmlns:p14="http://schemas.microsoft.com/office/powerpoint/2010/main" val="190504520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plit 2">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175FA29-9C2A-DD47-8DA6-FEC4769BDA55}"/>
              </a:ext>
            </a:extLst>
          </p:cNvPr>
          <p:cNvSpPr/>
          <p:nvPr/>
        </p:nvSpPr>
        <p:spPr>
          <a:xfrm>
            <a:off x="7802563" y="-9525"/>
            <a:ext cx="4389437" cy="68770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 name="Title 1"/>
          <p:cNvSpPr>
            <a:spLocks noGrp="1"/>
          </p:cNvSpPr>
          <p:nvPr>
            <p:ph type="title"/>
          </p:nvPr>
        </p:nvSpPr>
        <p:spPr>
          <a:xfrm>
            <a:off x="429489" y="685800"/>
            <a:ext cx="7132320" cy="2286000"/>
          </a:xfrm>
        </p:spPr>
        <p:txBody>
          <a:bodyPr/>
          <a:lstStyle>
            <a:lvl1pPr>
              <a:defRPr>
                <a:solidFill>
                  <a:schemeClr val="accent1"/>
                </a:solidFill>
              </a:defRPr>
            </a:lvl1pPr>
          </a:lstStyle>
          <a:p>
            <a:r>
              <a:rPr lang="en-US"/>
              <a:t>Click to edit Master title style</a:t>
            </a:r>
          </a:p>
        </p:txBody>
      </p:sp>
      <p:sp>
        <p:nvSpPr>
          <p:cNvPr id="8" name="Text Placeholder 8"/>
          <p:cNvSpPr>
            <a:spLocks noGrp="1"/>
          </p:cNvSpPr>
          <p:nvPr>
            <p:ph type="body" sz="quarter" idx="13"/>
          </p:nvPr>
        </p:nvSpPr>
        <p:spPr>
          <a:xfrm>
            <a:off x="457200" y="411480"/>
            <a:ext cx="6400800" cy="182880"/>
          </a:xfrm>
        </p:spPr>
        <p:txBody>
          <a:bodyPr/>
          <a:lstStyle>
            <a:lvl1pPr marL="0" indent="0">
              <a:buNone/>
              <a:defRPr sz="1200">
                <a:solidFill>
                  <a:schemeClr val="accent1"/>
                </a:solidFill>
              </a:defRPr>
            </a:lvl1pPr>
            <a:lvl2pPr marL="228600" indent="0">
              <a:buNone/>
              <a:defRPr/>
            </a:lvl2pPr>
          </a:lstStyle>
          <a:p>
            <a:pPr lvl="0"/>
            <a:r>
              <a:rPr lang="en-US"/>
              <a:t>Click to edit Master text styles</a:t>
            </a:r>
          </a:p>
        </p:txBody>
      </p:sp>
      <p:sp>
        <p:nvSpPr>
          <p:cNvPr id="4" name="Content Placeholder 3"/>
          <p:cNvSpPr>
            <a:spLocks noGrp="1"/>
          </p:cNvSpPr>
          <p:nvPr>
            <p:ph sz="half" idx="2"/>
          </p:nvPr>
        </p:nvSpPr>
        <p:spPr>
          <a:xfrm>
            <a:off x="8173039" y="2560320"/>
            <a:ext cx="3561762" cy="3749040"/>
          </a:xfrm>
        </p:spPr>
        <p:txBody>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5">
            <a:extLst>
              <a:ext uri="{FF2B5EF4-FFF2-40B4-BE49-F238E27FC236}">
                <a16:creationId xmlns:a16="http://schemas.microsoft.com/office/drawing/2014/main" id="{29B801D2-6C74-DD4B-8AC6-D01C4B8AAD68}"/>
              </a:ext>
            </a:extLst>
          </p:cNvPr>
          <p:cNvSpPr>
            <a:spLocks noGrp="1"/>
          </p:cNvSpPr>
          <p:nvPr>
            <p:ph type="ftr" sz="quarter" idx="14"/>
          </p:nvPr>
        </p:nvSpPr>
        <p:spPr/>
        <p:txBody>
          <a:bodyPr/>
          <a:lstStyle>
            <a:lvl1pPr>
              <a:defRPr>
                <a:solidFill>
                  <a:schemeClr val="tx1"/>
                </a:solidFill>
              </a:defRPr>
            </a:lvl1pPr>
          </a:lstStyle>
          <a:p>
            <a:pPr>
              <a:defRPr/>
            </a:pPr>
            <a:r>
              <a:rPr lang="en-US"/>
              <a:t>Copyright © 2023 Comcast Business. All rights reserved.</a:t>
            </a:r>
          </a:p>
        </p:txBody>
      </p:sp>
      <p:sp>
        <p:nvSpPr>
          <p:cNvPr id="9" name="Slide Number Placeholder 6">
            <a:extLst>
              <a:ext uri="{FF2B5EF4-FFF2-40B4-BE49-F238E27FC236}">
                <a16:creationId xmlns:a16="http://schemas.microsoft.com/office/drawing/2014/main" id="{4D8ACE4C-2A13-2747-B462-C608D77E985B}"/>
              </a:ext>
            </a:extLst>
          </p:cNvPr>
          <p:cNvSpPr>
            <a:spLocks noGrp="1"/>
          </p:cNvSpPr>
          <p:nvPr>
            <p:ph type="sldNum" sz="quarter" idx="15"/>
          </p:nvPr>
        </p:nvSpPr>
        <p:spPr/>
        <p:txBody>
          <a:bodyPr/>
          <a:lstStyle>
            <a:lvl1pPr>
              <a:defRPr smtClean="0">
                <a:solidFill>
                  <a:schemeClr val="bg1"/>
                </a:solidFill>
              </a:defRPr>
            </a:lvl1pPr>
          </a:lstStyle>
          <a:p>
            <a:pPr>
              <a:defRPr/>
            </a:pPr>
            <a:fld id="{8AC17F3B-8999-3E42-BE91-731EC1375BFC}" type="slidenum">
              <a:rPr lang="en-US"/>
              <a:pPr>
                <a:defRPr/>
              </a:pPr>
              <a:t>‹#›</a:t>
            </a:fld>
            <a:endParaRPr lang="en-US"/>
          </a:p>
        </p:txBody>
      </p:sp>
      <p:pic>
        <p:nvPicPr>
          <p:cNvPr id="10" name="Picture 9">
            <a:extLst>
              <a:ext uri="{FF2B5EF4-FFF2-40B4-BE49-F238E27FC236}">
                <a16:creationId xmlns:a16="http://schemas.microsoft.com/office/drawing/2014/main" id="{505D1F40-7316-8A4E-80C3-C9C07D70ED8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50172" y="6424613"/>
            <a:ext cx="3109375" cy="196175"/>
          </a:xfrm>
          <a:prstGeom prst="rect">
            <a:avLst/>
          </a:prstGeom>
        </p:spPr>
      </p:pic>
    </p:spTree>
    <p:extLst>
      <p:ext uri="{BB962C8B-B14F-4D97-AF65-F5344CB8AC3E}">
        <p14:creationId xmlns:p14="http://schemas.microsoft.com/office/powerpoint/2010/main" val="186037859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mp; Content, Sidebar Lt">
    <p:spTree>
      <p:nvGrpSpPr>
        <p:cNvPr id="1" name=""/>
        <p:cNvGrpSpPr/>
        <p:nvPr/>
      </p:nvGrpSpPr>
      <p:grpSpPr>
        <a:xfrm>
          <a:off x="0" y="0"/>
          <a:ext cx="0" cy="0"/>
          <a:chOff x="0" y="0"/>
          <a:chExt cx="0" cy="0"/>
        </a:xfrm>
      </p:grpSpPr>
      <p:sp>
        <p:nvSpPr>
          <p:cNvPr id="2" name="Title 1"/>
          <p:cNvSpPr>
            <a:spLocks noGrp="1"/>
          </p:cNvSpPr>
          <p:nvPr>
            <p:ph type="title"/>
          </p:nvPr>
        </p:nvSpPr>
        <p:spPr>
          <a:xfrm>
            <a:off x="429488" y="685800"/>
            <a:ext cx="11305313" cy="822960"/>
          </a:xfrm>
        </p:spPr>
        <p:txBody>
          <a:bodyPr/>
          <a:lstStyle>
            <a:lvl1pPr>
              <a:defRPr/>
            </a:lvl1pPr>
          </a:lstStyle>
          <a:p>
            <a:r>
              <a:rPr lang="en-US"/>
              <a:t>Click to edit Master title style</a:t>
            </a:r>
          </a:p>
        </p:txBody>
      </p:sp>
      <p:sp>
        <p:nvSpPr>
          <p:cNvPr id="3" name="Content Placeholder 2"/>
          <p:cNvSpPr>
            <a:spLocks noGrp="1"/>
          </p:cNvSpPr>
          <p:nvPr>
            <p:ph sz="half" idx="1"/>
          </p:nvPr>
        </p:nvSpPr>
        <p:spPr>
          <a:xfrm>
            <a:off x="445206" y="1700784"/>
            <a:ext cx="2578101" cy="4611116"/>
          </a:xfrm>
        </p:spPr>
        <p:txBody>
          <a:bodyPr/>
          <a:lstStyle>
            <a:lvl1pPr marL="0" indent="0">
              <a:lnSpc>
                <a:spcPct val="100000"/>
              </a:lnSpc>
              <a:buNone/>
              <a:defRPr sz="1400"/>
            </a:lvl1pPr>
          </a:lstStyle>
          <a:p>
            <a:pPr lvl="0"/>
            <a:r>
              <a:rPr lang="en-US"/>
              <a:t>Click to edit Master text styles</a:t>
            </a:r>
          </a:p>
        </p:txBody>
      </p:sp>
      <p:sp>
        <p:nvSpPr>
          <p:cNvPr id="4" name="Content Placeholder 3"/>
          <p:cNvSpPr>
            <a:spLocks noGrp="1"/>
          </p:cNvSpPr>
          <p:nvPr>
            <p:ph sz="half" idx="2"/>
          </p:nvPr>
        </p:nvSpPr>
        <p:spPr>
          <a:xfrm>
            <a:off x="3355974" y="1645920"/>
            <a:ext cx="8375775" cy="4663440"/>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8"/>
          <p:cNvSpPr>
            <a:spLocks noGrp="1"/>
          </p:cNvSpPr>
          <p:nvPr>
            <p:ph type="body" sz="quarter" idx="13"/>
          </p:nvPr>
        </p:nvSpPr>
        <p:spPr>
          <a:xfrm>
            <a:off x="457200" y="411480"/>
            <a:ext cx="6400800" cy="182880"/>
          </a:xfrm>
        </p:spPr>
        <p:txBody>
          <a:bodyPr/>
          <a:lstStyle>
            <a:lvl1pPr marL="0" indent="0">
              <a:buNone/>
              <a:defRPr sz="1200">
                <a:solidFill>
                  <a:schemeClr val="accent1"/>
                </a:solidFill>
              </a:defRPr>
            </a:lvl1pPr>
            <a:lvl2pPr marL="228600" indent="0">
              <a:buNone/>
              <a:defRPr/>
            </a:lvl2pPr>
          </a:lstStyle>
          <a:p>
            <a:pPr lvl="0"/>
            <a:r>
              <a:rPr lang="en-US"/>
              <a:t>Click to edit Master text styles</a:t>
            </a:r>
          </a:p>
        </p:txBody>
      </p:sp>
      <p:sp>
        <p:nvSpPr>
          <p:cNvPr id="6" name="Footer Placeholder 5">
            <a:extLst>
              <a:ext uri="{FF2B5EF4-FFF2-40B4-BE49-F238E27FC236}">
                <a16:creationId xmlns:a16="http://schemas.microsoft.com/office/drawing/2014/main" id="{131B7C15-3889-1643-A2F1-388D5C0C717B}"/>
              </a:ext>
            </a:extLst>
          </p:cNvPr>
          <p:cNvSpPr>
            <a:spLocks noGrp="1"/>
          </p:cNvSpPr>
          <p:nvPr>
            <p:ph type="ftr" sz="quarter" idx="14"/>
          </p:nvPr>
        </p:nvSpPr>
        <p:spPr/>
        <p:txBody>
          <a:bodyPr/>
          <a:lstStyle>
            <a:lvl1pPr>
              <a:defRPr/>
            </a:lvl1pPr>
          </a:lstStyle>
          <a:p>
            <a:pPr>
              <a:defRPr/>
            </a:pPr>
            <a:r>
              <a:rPr lang="en-US"/>
              <a:t>Copyright © 2023 Comcast Business. All rights reserved.</a:t>
            </a:r>
          </a:p>
        </p:txBody>
      </p:sp>
      <p:sp>
        <p:nvSpPr>
          <p:cNvPr id="7" name="Slide Number Placeholder 6">
            <a:extLst>
              <a:ext uri="{FF2B5EF4-FFF2-40B4-BE49-F238E27FC236}">
                <a16:creationId xmlns:a16="http://schemas.microsoft.com/office/drawing/2014/main" id="{CB9EC6EE-52A1-6F48-8305-11ED37716E36}"/>
              </a:ext>
            </a:extLst>
          </p:cNvPr>
          <p:cNvSpPr>
            <a:spLocks noGrp="1"/>
          </p:cNvSpPr>
          <p:nvPr>
            <p:ph type="sldNum" sz="quarter" idx="15"/>
          </p:nvPr>
        </p:nvSpPr>
        <p:spPr/>
        <p:txBody>
          <a:bodyPr/>
          <a:lstStyle>
            <a:lvl1pPr>
              <a:defRPr/>
            </a:lvl1pPr>
          </a:lstStyle>
          <a:p>
            <a:pPr>
              <a:defRPr/>
            </a:pPr>
            <a:fld id="{B34F3EB4-A808-A741-9D89-4CFB2FCDD13A}" type="slidenum">
              <a:rPr lang="en-US"/>
              <a:pPr>
                <a:defRPr/>
              </a:pPr>
              <a:t>‹#›</a:t>
            </a:fld>
            <a:endParaRPr lang="en-US"/>
          </a:p>
        </p:txBody>
      </p:sp>
    </p:spTree>
    <p:extLst>
      <p:ext uri="{BB962C8B-B14F-4D97-AF65-F5344CB8AC3E}">
        <p14:creationId xmlns:p14="http://schemas.microsoft.com/office/powerpoint/2010/main" val="235632450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mp; Content, Sidebar Rt">
    <p:spTree>
      <p:nvGrpSpPr>
        <p:cNvPr id="1" name=""/>
        <p:cNvGrpSpPr/>
        <p:nvPr/>
      </p:nvGrpSpPr>
      <p:grpSpPr>
        <a:xfrm>
          <a:off x="0" y="0"/>
          <a:ext cx="0" cy="0"/>
          <a:chOff x="0" y="0"/>
          <a:chExt cx="0" cy="0"/>
        </a:xfrm>
      </p:grpSpPr>
      <p:sp>
        <p:nvSpPr>
          <p:cNvPr id="2" name="Title 1"/>
          <p:cNvSpPr>
            <a:spLocks noGrp="1"/>
          </p:cNvSpPr>
          <p:nvPr>
            <p:ph type="title"/>
          </p:nvPr>
        </p:nvSpPr>
        <p:spPr>
          <a:xfrm>
            <a:off x="429488" y="685800"/>
            <a:ext cx="11305313" cy="822960"/>
          </a:xfrm>
        </p:spPr>
        <p:txBody>
          <a:bodyPr/>
          <a:lstStyle>
            <a:lvl1pPr>
              <a:defRPr/>
            </a:lvl1pPr>
          </a:lstStyle>
          <a:p>
            <a:r>
              <a:rPr lang="en-US"/>
              <a:t>Click to edit Master title style</a:t>
            </a:r>
          </a:p>
        </p:txBody>
      </p:sp>
      <p:sp>
        <p:nvSpPr>
          <p:cNvPr id="3" name="Content Placeholder 2"/>
          <p:cNvSpPr>
            <a:spLocks noGrp="1"/>
          </p:cNvSpPr>
          <p:nvPr>
            <p:ph sz="half" idx="1"/>
          </p:nvPr>
        </p:nvSpPr>
        <p:spPr>
          <a:xfrm>
            <a:off x="9155113" y="1700784"/>
            <a:ext cx="2576639" cy="4608576"/>
          </a:xfrm>
        </p:spPr>
        <p:txBody>
          <a:bodyPr/>
          <a:lstStyle>
            <a:lvl1pPr marL="0" indent="0">
              <a:lnSpc>
                <a:spcPct val="100000"/>
              </a:lnSpc>
              <a:buNone/>
              <a:defRPr sz="1400"/>
            </a:lvl1pPr>
          </a:lstStyle>
          <a:p>
            <a:pPr lvl="0"/>
            <a:r>
              <a:rPr lang="en-US"/>
              <a:t>Click to edit Master text styles</a:t>
            </a:r>
          </a:p>
        </p:txBody>
      </p:sp>
      <p:sp>
        <p:nvSpPr>
          <p:cNvPr id="4" name="Content Placeholder 3"/>
          <p:cNvSpPr>
            <a:spLocks noGrp="1"/>
          </p:cNvSpPr>
          <p:nvPr>
            <p:ph sz="half" idx="2"/>
          </p:nvPr>
        </p:nvSpPr>
        <p:spPr>
          <a:xfrm>
            <a:off x="445207" y="1645920"/>
            <a:ext cx="8377239" cy="4663440"/>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8"/>
          <p:cNvSpPr>
            <a:spLocks noGrp="1"/>
          </p:cNvSpPr>
          <p:nvPr>
            <p:ph type="body" sz="quarter" idx="13"/>
          </p:nvPr>
        </p:nvSpPr>
        <p:spPr>
          <a:xfrm>
            <a:off x="457200" y="411480"/>
            <a:ext cx="6400800" cy="182880"/>
          </a:xfrm>
        </p:spPr>
        <p:txBody>
          <a:bodyPr/>
          <a:lstStyle>
            <a:lvl1pPr marL="0" indent="0">
              <a:buNone/>
              <a:defRPr sz="1200">
                <a:solidFill>
                  <a:schemeClr val="accent1"/>
                </a:solidFill>
              </a:defRPr>
            </a:lvl1pPr>
            <a:lvl2pPr marL="228600" indent="0">
              <a:buNone/>
              <a:defRPr/>
            </a:lvl2pPr>
          </a:lstStyle>
          <a:p>
            <a:pPr lvl="0"/>
            <a:r>
              <a:rPr lang="en-US"/>
              <a:t>Click to edit Master text styles</a:t>
            </a:r>
          </a:p>
        </p:txBody>
      </p:sp>
      <p:sp>
        <p:nvSpPr>
          <p:cNvPr id="6" name="Footer Placeholder 5">
            <a:extLst>
              <a:ext uri="{FF2B5EF4-FFF2-40B4-BE49-F238E27FC236}">
                <a16:creationId xmlns:a16="http://schemas.microsoft.com/office/drawing/2014/main" id="{A4A81C50-EA8C-E749-B006-CFCB49C98092}"/>
              </a:ext>
            </a:extLst>
          </p:cNvPr>
          <p:cNvSpPr>
            <a:spLocks noGrp="1"/>
          </p:cNvSpPr>
          <p:nvPr>
            <p:ph type="ftr" sz="quarter" idx="14"/>
          </p:nvPr>
        </p:nvSpPr>
        <p:spPr/>
        <p:txBody>
          <a:bodyPr/>
          <a:lstStyle>
            <a:lvl1pPr>
              <a:defRPr/>
            </a:lvl1pPr>
          </a:lstStyle>
          <a:p>
            <a:pPr>
              <a:defRPr/>
            </a:pPr>
            <a:r>
              <a:rPr lang="en-US"/>
              <a:t>Copyright © 2023 Comcast Business. All rights reserved.</a:t>
            </a:r>
          </a:p>
        </p:txBody>
      </p:sp>
      <p:sp>
        <p:nvSpPr>
          <p:cNvPr id="7" name="Slide Number Placeholder 6">
            <a:extLst>
              <a:ext uri="{FF2B5EF4-FFF2-40B4-BE49-F238E27FC236}">
                <a16:creationId xmlns:a16="http://schemas.microsoft.com/office/drawing/2014/main" id="{D9025C71-E866-1943-82D6-5BABDFCC2B37}"/>
              </a:ext>
            </a:extLst>
          </p:cNvPr>
          <p:cNvSpPr>
            <a:spLocks noGrp="1"/>
          </p:cNvSpPr>
          <p:nvPr>
            <p:ph type="sldNum" sz="quarter" idx="15"/>
          </p:nvPr>
        </p:nvSpPr>
        <p:spPr/>
        <p:txBody>
          <a:bodyPr/>
          <a:lstStyle>
            <a:lvl1pPr>
              <a:defRPr/>
            </a:lvl1pPr>
          </a:lstStyle>
          <a:p>
            <a:pPr>
              <a:defRPr/>
            </a:pPr>
            <a:fld id="{BF7BA084-1588-1D4E-B733-B7B59B1BA980}" type="slidenum">
              <a:rPr lang="en-US"/>
              <a:pPr>
                <a:defRPr/>
              </a:pPr>
              <a:t>‹#›</a:t>
            </a:fld>
            <a:endParaRPr lang="en-US"/>
          </a:p>
        </p:txBody>
      </p:sp>
    </p:spTree>
    <p:extLst>
      <p:ext uri="{BB962C8B-B14F-4D97-AF65-F5344CB8AC3E}">
        <p14:creationId xmlns:p14="http://schemas.microsoft.com/office/powerpoint/2010/main" val="157450894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ntent, Bleed Rt">
    <p:spTree>
      <p:nvGrpSpPr>
        <p:cNvPr id="1" name=""/>
        <p:cNvGrpSpPr/>
        <p:nvPr/>
      </p:nvGrpSpPr>
      <p:grpSpPr>
        <a:xfrm>
          <a:off x="0" y="0"/>
          <a:ext cx="0" cy="0"/>
          <a:chOff x="0" y="0"/>
          <a:chExt cx="0" cy="0"/>
        </a:xfrm>
      </p:grpSpPr>
      <p:sp>
        <p:nvSpPr>
          <p:cNvPr id="2" name="Title 1"/>
          <p:cNvSpPr>
            <a:spLocks noGrp="1"/>
          </p:cNvSpPr>
          <p:nvPr>
            <p:ph type="title"/>
          </p:nvPr>
        </p:nvSpPr>
        <p:spPr>
          <a:xfrm>
            <a:off x="429488" y="685800"/>
            <a:ext cx="11305313" cy="822960"/>
          </a:xfrm>
        </p:spPr>
        <p:txBody>
          <a:bodyPr/>
          <a:lstStyle>
            <a:lvl1pPr>
              <a:defRPr/>
            </a:lvl1pPr>
          </a:lstStyle>
          <a:p>
            <a:r>
              <a:rPr lang="en-US"/>
              <a:t>Click to edit Master title style</a:t>
            </a:r>
          </a:p>
        </p:txBody>
      </p:sp>
      <p:sp>
        <p:nvSpPr>
          <p:cNvPr id="3" name="Content Placeholder 2"/>
          <p:cNvSpPr>
            <a:spLocks noGrp="1"/>
          </p:cNvSpPr>
          <p:nvPr>
            <p:ph sz="half" idx="1"/>
          </p:nvPr>
        </p:nvSpPr>
        <p:spPr>
          <a:xfrm>
            <a:off x="445207" y="1645920"/>
            <a:ext cx="5486400" cy="4663440"/>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p:cNvSpPr>
            <a:spLocks noGrp="1"/>
          </p:cNvSpPr>
          <p:nvPr>
            <p:ph type="pic" sz="quarter" idx="13"/>
          </p:nvPr>
        </p:nvSpPr>
        <p:spPr>
          <a:xfrm>
            <a:off x="6254496" y="1645920"/>
            <a:ext cx="5943600" cy="4663440"/>
          </a:xfrm>
          <a:solidFill>
            <a:schemeClr val="bg1">
              <a:lumMod val="95000"/>
            </a:schemeClr>
          </a:solidFill>
        </p:spPr>
        <p:txBody>
          <a:bodyPr lIns="1920240" tIns="1188720" rIns="1828800" rtlCol="0">
            <a:noAutofit/>
          </a:bodyPr>
          <a:lstStyle>
            <a:lvl1pPr marL="0" indent="0">
              <a:buNone/>
              <a:defRPr>
                <a:solidFill>
                  <a:schemeClr val="accent1"/>
                </a:solidFill>
              </a:defRPr>
            </a:lvl1pPr>
          </a:lstStyle>
          <a:p>
            <a:pPr lvl="0"/>
            <a:r>
              <a:rPr lang="en-US" noProof="0"/>
              <a:t>Click icon to add picture</a:t>
            </a:r>
            <a:endParaRPr lang="en-GB" noProof="0"/>
          </a:p>
        </p:txBody>
      </p:sp>
      <p:sp>
        <p:nvSpPr>
          <p:cNvPr id="9" name="Text Placeholder 8"/>
          <p:cNvSpPr>
            <a:spLocks noGrp="1"/>
          </p:cNvSpPr>
          <p:nvPr>
            <p:ph type="body" sz="quarter" idx="14"/>
          </p:nvPr>
        </p:nvSpPr>
        <p:spPr>
          <a:xfrm>
            <a:off x="457200" y="411480"/>
            <a:ext cx="6400800" cy="182880"/>
          </a:xfrm>
        </p:spPr>
        <p:txBody>
          <a:bodyPr/>
          <a:lstStyle>
            <a:lvl1pPr marL="0" indent="0">
              <a:buNone/>
              <a:defRPr sz="1200">
                <a:solidFill>
                  <a:schemeClr val="accent1"/>
                </a:solidFill>
              </a:defRPr>
            </a:lvl1pPr>
            <a:lvl2pPr marL="228600" indent="0">
              <a:buNone/>
              <a:defRPr/>
            </a:lvl2pPr>
          </a:lstStyle>
          <a:p>
            <a:pPr lvl="0"/>
            <a:r>
              <a:rPr lang="en-US"/>
              <a:t>Click to edit Master text styles</a:t>
            </a:r>
          </a:p>
        </p:txBody>
      </p:sp>
      <p:sp>
        <p:nvSpPr>
          <p:cNvPr id="6" name="Footer Placeholder 5">
            <a:extLst>
              <a:ext uri="{FF2B5EF4-FFF2-40B4-BE49-F238E27FC236}">
                <a16:creationId xmlns:a16="http://schemas.microsoft.com/office/drawing/2014/main" id="{4ECC87C6-10BF-D74D-BB64-1198021DED97}"/>
              </a:ext>
            </a:extLst>
          </p:cNvPr>
          <p:cNvSpPr>
            <a:spLocks noGrp="1"/>
          </p:cNvSpPr>
          <p:nvPr>
            <p:ph type="ftr" sz="quarter" idx="15"/>
          </p:nvPr>
        </p:nvSpPr>
        <p:spPr/>
        <p:txBody>
          <a:bodyPr/>
          <a:lstStyle>
            <a:lvl1pPr>
              <a:defRPr/>
            </a:lvl1pPr>
          </a:lstStyle>
          <a:p>
            <a:pPr>
              <a:defRPr/>
            </a:pPr>
            <a:r>
              <a:rPr lang="en-US"/>
              <a:t>Copyright © 2023 Comcast Business. All rights reserved.</a:t>
            </a:r>
          </a:p>
        </p:txBody>
      </p:sp>
      <p:sp>
        <p:nvSpPr>
          <p:cNvPr id="7" name="Slide Number Placeholder 6">
            <a:extLst>
              <a:ext uri="{FF2B5EF4-FFF2-40B4-BE49-F238E27FC236}">
                <a16:creationId xmlns:a16="http://schemas.microsoft.com/office/drawing/2014/main" id="{A9561518-562B-7F45-A0D6-2DAF729EF625}"/>
              </a:ext>
            </a:extLst>
          </p:cNvPr>
          <p:cNvSpPr>
            <a:spLocks noGrp="1"/>
          </p:cNvSpPr>
          <p:nvPr>
            <p:ph type="sldNum" sz="quarter" idx="16"/>
          </p:nvPr>
        </p:nvSpPr>
        <p:spPr/>
        <p:txBody>
          <a:bodyPr/>
          <a:lstStyle>
            <a:lvl1pPr>
              <a:defRPr/>
            </a:lvl1pPr>
          </a:lstStyle>
          <a:p>
            <a:pPr>
              <a:defRPr/>
            </a:pPr>
            <a:fld id="{AE9A2FA3-4C5C-CB4D-943F-DCE01C1F164B}" type="slidenum">
              <a:rPr lang="en-US"/>
              <a:pPr>
                <a:defRPr/>
              </a:pPr>
              <a:t>‹#›</a:t>
            </a:fld>
            <a:endParaRPr lang="en-US"/>
          </a:p>
        </p:txBody>
      </p:sp>
    </p:spTree>
    <p:extLst>
      <p:ext uri="{BB962C8B-B14F-4D97-AF65-F5344CB8AC3E}">
        <p14:creationId xmlns:p14="http://schemas.microsoft.com/office/powerpoint/2010/main" val="10288907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Content, Bleed Lt">
    <p:spTree>
      <p:nvGrpSpPr>
        <p:cNvPr id="1" name=""/>
        <p:cNvGrpSpPr/>
        <p:nvPr/>
      </p:nvGrpSpPr>
      <p:grpSpPr>
        <a:xfrm>
          <a:off x="0" y="0"/>
          <a:ext cx="0" cy="0"/>
          <a:chOff x="0" y="0"/>
          <a:chExt cx="0" cy="0"/>
        </a:xfrm>
      </p:grpSpPr>
      <p:sp>
        <p:nvSpPr>
          <p:cNvPr id="2" name="Title 1"/>
          <p:cNvSpPr>
            <a:spLocks noGrp="1"/>
          </p:cNvSpPr>
          <p:nvPr>
            <p:ph type="title"/>
          </p:nvPr>
        </p:nvSpPr>
        <p:spPr>
          <a:xfrm>
            <a:off x="429488" y="685800"/>
            <a:ext cx="11305313" cy="822960"/>
          </a:xfrm>
        </p:spPr>
        <p:txBody>
          <a:bodyPr/>
          <a:lstStyle>
            <a:lvl1pPr>
              <a:defRPr/>
            </a:lvl1pPr>
          </a:lstStyle>
          <a:p>
            <a:r>
              <a:rPr lang="en-US"/>
              <a:t>Click to edit Master title style</a:t>
            </a:r>
          </a:p>
        </p:txBody>
      </p:sp>
      <p:sp>
        <p:nvSpPr>
          <p:cNvPr id="4" name="Content Placeholder 3"/>
          <p:cNvSpPr>
            <a:spLocks noGrp="1"/>
          </p:cNvSpPr>
          <p:nvPr>
            <p:ph sz="half" idx="2"/>
          </p:nvPr>
        </p:nvSpPr>
        <p:spPr>
          <a:xfrm>
            <a:off x="6245350" y="1645920"/>
            <a:ext cx="5486400" cy="4663440"/>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p:cNvSpPr>
            <a:spLocks noGrp="1"/>
          </p:cNvSpPr>
          <p:nvPr>
            <p:ph type="pic" sz="quarter" idx="13"/>
          </p:nvPr>
        </p:nvSpPr>
        <p:spPr>
          <a:xfrm>
            <a:off x="-9144" y="1645920"/>
            <a:ext cx="5943600" cy="4663440"/>
          </a:xfrm>
          <a:solidFill>
            <a:schemeClr val="bg1">
              <a:lumMod val="95000"/>
            </a:schemeClr>
          </a:solidFill>
        </p:spPr>
        <p:txBody>
          <a:bodyPr lIns="1920240" tIns="1188720" rIns="1828800" rtlCol="0">
            <a:noAutofit/>
          </a:bodyPr>
          <a:lstStyle>
            <a:lvl1pPr marL="0" indent="0">
              <a:buNone/>
              <a:defRPr>
                <a:solidFill>
                  <a:schemeClr val="accent1"/>
                </a:solidFill>
              </a:defRPr>
            </a:lvl1pPr>
          </a:lstStyle>
          <a:p>
            <a:pPr lvl="0"/>
            <a:r>
              <a:rPr lang="en-US" noProof="0"/>
              <a:t>Click icon to add picture</a:t>
            </a:r>
            <a:endParaRPr lang="en-GB" noProof="0"/>
          </a:p>
        </p:txBody>
      </p:sp>
      <p:sp>
        <p:nvSpPr>
          <p:cNvPr id="9" name="Text Placeholder 8"/>
          <p:cNvSpPr>
            <a:spLocks noGrp="1"/>
          </p:cNvSpPr>
          <p:nvPr>
            <p:ph type="body" sz="quarter" idx="14"/>
          </p:nvPr>
        </p:nvSpPr>
        <p:spPr>
          <a:xfrm>
            <a:off x="457200" y="411480"/>
            <a:ext cx="6400800" cy="182880"/>
          </a:xfrm>
        </p:spPr>
        <p:txBody>
          <a:bodyPr/>
          <a:lstStyle>
            <a:lvl1pPr marL="0" indent="0">
              <a:buNone/>
              <a:defRPr sz="1200">
                <a:solidFill>
                  <a:schemeClr val="accent1"/>
                </a:solidFill>
              </a:defRPr>
            </a:lvl1pPr>
            <a:lvl2pPr marL="228600" indent="0">
              <a:buNone/>
              <a:defRPr/>
            </a:lvl2pPr>
          </a:lstStyle>
          <a:p>
            <a:pPr lvl="0"/>
            <a:r>
              <a:rPr lang="en-US"/>
              <a:t>Click to edit Master text styles</a:t>
            </a:r>
          </a:p>
        </p:txBody>
      </p:sp>
      <p:sp>
        <p:nvSpPr>
          <p:cNvPr id="6" name="Footer Placeholder 5">
            <a:extLst>
              <a:ext uri="{FF2B5EF4-FFF2-40B4-BE49-F238E27FC236}">
                <a16:creationId xmlns:a16="http://schemas.microsoft.com/office/drawing/2014/main" id="{2D288F51-2439-1247-B535-BCA72B0BAAB6}"/>
              </a:ext>
            </a:extLst>
          </p:cNvPr>
          <p:cNvSpPr>
            <a:spLocks noGrp="1"/>
          </p:cNvSpPr>
          <p:nvPr>
            <p:ph type="ftr" sz="quarter" idx="15"/>
          </p:nvPr>
        </p:nvSpPr>
        <p:spPr/>
        <p:txBody>
          <a:bodyPr/>
          <a:lstStyle>
            <a:lvl1pPr>
              <a:defRPr/>
            </a:lvl1pPr>
          </a:lstStyle>
          <a:p>
            <a:pPr>
              <a:defRPr/>
            </a:pPr>
            <a:r>
              <a:rPr lang="en-US"/>
              <a:t>Copyright © 2023 Comcast Business. All rights reserved.</a:t>
            </a:r>
          </a:p>
        </p:txBody>
      </p:sp>
      <p:sp>
        <p:nvSpPr>
          <p:cNvPr id="7" name="Slide Number Placeholder 6">
            <a:extLst>
              <a:ext uri="{FF2B5EF4-FFF2-40B4-BE49-F238E27FC236}">
                <a16:creationId xmlns:a16="http://schemas.microsoft.com/office/drawing/2014/main" id="{9CA815BE-6F46-2240-BC03-F2924B9B1B03}"/>
              </a:ext>
            </a:extLst>
          </p:cNvPr>
          <p:cNvSpPr>
            <a:spLocks noGrp="1"/>
          </p:cNvSpPr>
          <p:nvPr>
            <p:ph type="sldNum" sz="quarter" idx="16"/>
          </p:nvPr>
        </p:nvSpPr>
        <p:spPr/>
        <p:txBody>
          <a:bodyPr/>
          <a:lstStyle>
            <a:lvl1pPr>
              <a:defRPr/>
            </a:lvl1pPr>
          </a:lstStyle>
          <a:p>
            <a:pPr>
              <a:defRPr/>
            </a:pPr>
            <a:fld id="{EC8F534A-EF9C-534F-8CBD-B90770FAA4DA}" type="slidenum">
              <a:rPr lang="en-US"/>
              <a:pPr>
                <a:defRPr/>
              </a:pPr>
              <a:t>‹#›</a:t>
            </a:fld>
            <a:endParaRPr lang="en-US"/>
          </a:p>
        </p:txBody>
      </p:sp>
    </p:spTree>
    <p:extLst>
      <p:ext uri="{BB962C8B-B14F-4D97-AF65-F5344CB8AC3E}">
        <p14:creationId xmlns:p14="http://schemas.microsoft.com/office/powerpoint/2010/main" val="340859745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a:xfrm>
            <a:off x="429488" y="685800"/>
            <a:ext cx="11305313" cy="822960"/>
          </a:xfrm>
        </p:spPr>
        <p:txBody>
          <a:bodyPr/>
          <a:lstStyle>
            <a:lvl1pPr>
              <a:defRPr/>
            </a:lvl1pPr>
          </a:lstStyle>
          <a:p>
            <a:r>
              <a:rPr lang="en-US"/>
              <a:t>Click to edit Master title style</a:t>
            </a:r>
          </a:p>
        </p:txBody>
      </p:sp>
      <p:sp>
        <p:nvSpPr>
          <p:cNvPr id="3" name="Content Placeholder 2"/>
          <p:cNvSpPr>
            <a:spLocks noGrp="1"/>
          </p:cNvSpPr>
          <p:nvPr>
            <p:ph sz="half" idx="1"/>
          </p:nvPr>
        </p:nvSpPr>
        <p:spPr>
          <a:xfrm>
            <a:off x="445207" y="1673352"/>
            <a:ext cx="3520440" cy="4663440"/>
          </a:xfrm>
        </p:spPr>
        <p:txBody>
          <a:bodyPr/>
          <a:lstStyle>
            <a:lvl1pPr>
              <a:defRPr sz="1800"/>
            </a:lvl1pPr>
            <a:lvl2pPr>
              <a:defRPr sz="1600"/>
            </a:lvl2pPr>
            <a:lvl3pPr>
              <a:defRPr sz="1400"/>
            </a:lvl3pPr>
            <a:lvl4pPr>
              <a:defRPr sz="1200"/>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334255" y="1673352"/>
            <a:ext cx="3520440" cy="4663440"/>
          </a:xfrm>
        </p:spPr>
        <p:txBody>
          <a:bodyPr/>
          <a:lstStyle>
            <a:lvl1pPr>
              <a:defRPr sz="1800"/>
            </a:lvl1pPr>
            <a:lvl2pPr>
              <a:defRPr sz="1600"/>
            </a:lvl2pPr>
            <a:lvl3pPr>
              <a:defRPr sz="1400"/>
            </a:lvl3pPr>
            <a:lvl4pPr>
              <a:defRPr sz="1200"/>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3"/>
          <p:cNvSpPr>
            <a:spLocks noGrp="1"/>
          </p:cNvSpPr>
          <p:nvPr>
            <p:ph sz="half" idx="13"/>
          </p:nvPr>
        </p:nvSpPr>
        <p:spPr>
          <a:xfrm>
            <a:off x="8211310" y="1673352"/>
            <a:ext cx="3520440" cy="4663440"/>
          </a:xfrm>
        </p:spPr>
        <p:txBody>
          <a:bodyPr/>
          <a:lstStyle>
            <a:lvl1pPr>
              <a:defRPr sz="1800"/>
            </a:lvl1pPr>
            <a:lvl2pPr>
              <a:defRPr sz="1600"/>
            </a:lvl2pPr>
            <a:lvl3pPr>
              <a:defRPr sz="1400"/>
            </a:lvl3pPr>
            <a:lvl4pPr>
              <a:defRPr sz="1200"/>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p:cNvSpPr>
            <a:spLocks noGrp="1"/>
          </p:cNvSpPr>
          <p:nvPr>
            <p:ph type="body" sz="quarter" idx="14"/>
          </p:nvPr>
        </p:nvSpPr>
        <p:spPr>
          <a:xfrm>
            <a:off x="457200" y="411480"/>
            <a:ext cx="6400800" cy="182880"/>
          </a:xfrm>
        </p:spPr>
        <p:txBody>
          <a:bodyPr/>
          <a:lstStyle>
            <a:lvl1pPr marL="0" indent="0">
              <a:buNone/>
              <a:defRPr sz="1200">
                <a:solidFill>
                  <a:schemeClr val="accent1"/>
                </a:solidFill>
              </a:defRPr>
            </a:lvl1pPr>
            <a:lvl2pPr marL="228600" indent="0">
              <a:buNone/>
              <a:defRPr/>
            </a:lvl2pPr>
          </a:lstStyle>
          <a:p>
            <a:pPr lvl="0"/>
            <a:r>
              <a:rPr lang="en-US"/>
              <a:t>Click to edit Master text styles</a:t>
            </a:r>
          </a:p>
        </p:txBody>
      </p:sp>
      <p:sp>
        <p:nvSpPr>
          <p:cNvPr id="7" name="Footer Placeholder 5">
            <a:extLst>
              <a:ext uri="{FF2B5EF4-FFF2-40B4-BE49-F238E27FC236}">
                <a16:creationId xmlns:a16="http://schemas.microsoft.com/office/drawing/2014/main" id="{62D0EFE6-A36E-CE4B-92B0-D8738AA02E7B}"/>
              </a:ext>
            </a:extLst>
          </p:cNvPr>
          <p:cNvSpPr>
            <a:spLocks noGrp="1"/>
          </p:cNvSpPr>
          <p:nvPr>
            <p:ph type="ftr" sz="quarter" idx="15"/>
          </p:nvPr>
        </p:nvSpPr>
        <p:spPr/>
        <p:txBody>
          <a:bodyPr/>
          <a:lstStyle>
            <a:lvl1pPr>
              <a:defRPr/>
            </a:lvl1pPr>
          </a:lstStyle>
          <a:p>
            <a:pPr>
              <a:defRPr/>
            </a:pPr>
            <a:r>
              <a:rPr lang="en-US"/>
              <a:t>Copyright © 2023 Comcast Business. All rights reserved.</a:t>
            </a:r>
          </a:p>
        </p:txBody>
      </p:sp>
      <p:sp>
        <p:nvSpPr>
          <p:cNvPr id="10" name="Slide Number Placeholder 6">
            <a:extLst>
              <a:ext uri="{FF2B5EF4-FFF2-40B4-BE49-F238E27FC236}">
                <a16:creationId xmlns:a16="http://schemas.microsoft.com/office/drawing/2014/main" id="{478F9C79-8F3A-D94F-82B2-33619B032B3E}"/>
              </a:ext>
            </a:extLst>
          </p:cNvPr>
          <p:cNvSpPr>
            <a:spLocks noGrp="1"/>
          </p:cNvSpPr>
          <p:nvPr>
            <p:ph type="sldNum" sz="quarter" idx="16"/>
          </p:nvPr>
        </p:nvSpPr>
        <p:spPr/>
        <p:txBody>
          <a:bodyPr/>
          <a:lstStyle>
            <a:lvl1pPr>
              <a:defRPr/>
            </a:lvl1pPr>
          </a:lstStyle>
          <a:p>
            <a:pPr>
              <a:defRPr/>
            </a:pPr>
            <a:fld id="{7D50C949-8898-1246-B706-0FFF86AB3417}" type="slidenum">
              <a:rPr lang="en-US"/>
              <a:pPr>
                <a:defRPr/>
              </a:pPr>
              <a:t>‹#›</a:t>
            </a:fld>
            <a:endParaRPr lang="en-US"/>
          </a:p>
        </p:txBody>
      </p:sp>
    </p:spTree>
    <p:extLst>
      <p:ext uri="{BB962C8B-B14F-4D97-AF65-F5344CB8AC3E}">
        <p14:creationId xmlns:p14="http://schemas.microsoft.com/office/powerpoint/2010/main" val="146505171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Four Content">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9488" y="685800"/>
            <a:ext cx="11305313" cy="822960"/>
          </a:xfrm>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sz="half" idx="1"/>
          </p:nvPr>
        </p:nvSpPr>
        <p:spPr>
          <a:xfrm>
            <a:off x="454412" y="1709240"/>
            <a:ext cx="2560320" cy="4617720"/>
          </a:xfrm>
        </p:spPr>
        <p:txBody>
          <a:bodyPr/>
          <a:lstStyle>
            <a:lvl1pPr>
              <a:defRPr sz="1400">
                <a:solidFill>
                  <a:schemeClr val="bg1"/>
                </a:solidFill>
              </a:defRPr>
            </a:lvl1pPr>
            <a:lvl2pPr>
              <a:defRPr sz="1200">
                <a:solidFill>
                  <a:schemeClr val="bg1"/>
                </a:solidFill>
              </a:defRPr>
            </a:lvl2pPr>
            <a:lvl3pPr>
              <a:defRPr sz="1100">
                <a:solidFill>
                  <a:schemeClr val="bg1"/>
                </a:solidFill>
              </a:defRPr>
            </a:lvl3pPr>
            <a:lvl4pPr>
              <a:defRPr sz="1100">
                <a:solidFill>
                  <a:schemeClr val="bg1"/>
                </a:solidFill>
              </a:defRPr>
            </a:lvl4pPr>
            <a:lvl5pPr>
              <a:defRPr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362960" y="1709241"/>
            <a:ext cx="2560320" cy="4617720"/>
          </a:xfrm>
        </p:spPr>
        <p:txBody>
          <a:bodyPr/>
          <a:lstStyle>
            <a:lvl1pPr>
              <a:defRPr sz="1400">
                <a:solidFill>
                  <a:schemeClr val="bg1"/>
                </a:solidFill>
              </a:defRPr>
            </a:lvl1pPr>
            <a:lvl2pPr>
              <a:defRPr sz="1200">
                <a:solidFill>
                  <a:schemeClr val="bg1"/>
                </a:solidFill>
              </a:defRPr>
            </a:lvl2pPr>
            <a:lvl3pPr>
              <a:defRPr sz="1100">
                <a:solidFill>
                  <a:schemeClr val="bg1"/>
                </a:solidFill>
              </a:defRPr>
            </a:lvl3pPr>
            <a:lvl4pPr>
              <a:defRPr sz="1100">
                <a:solidFill>
                  <a:schemeClr val="bg1"/>
                </a:solidFill>
              </a:defRPr>
            </a:lvl4pPr>
            <a:lvl5pPr>
              <a:defRPr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3"/>
          <p:cNvSpPr>
            <a:spLocks noGrp="1"/>
          </p:cNvSpPr>
          <p:nvPr>
            <p:ph sz="half" idx="13"/>
          </p:nvPr>
        </p:nvSpPr>
        <p:spPr>
          <a:xfrm>
            <a:off x="9174481" y="1709241"/>
            <a:ext cx="2560320" cy="4617720"/>
          </a:xfrm>
        </p:spPr>
        <p:txBody>
          <a:bodyPr/>
          <a:lstStyle>
            <a:lvl1pPr>
              <a:defRPr sz="1400">
                <a:solidFill>
                  <a:schemeClr val="bg1"/>
                </a:solidFill>
              </a:defRPr>
            </a:lvl1pPr>
            <a:lvl2pPr>
              <a:defRPr sz="1200">
                <a:solidFill>
                  <a:schemeClr val="bg1"/>
                </a:solidFill>
              </a:defRPr>
            </a:lvl2pPr>
            <a:lvl3pPr>
              <a:defRPr sz="1100">
                <a:solidFill>
                  <a:schemeClr val="bg1"/>
                </a:solidFill>
              </a:defRPr>
            </a:lvl3pPr>
            <a:lvl4pPr>
              <a:defRPr sz="1100">
                <a:solidFill>
                  <a:schemeClr val="bg1"/>
                </a:solidFill>
              </a:defRPr>
            </a:lvl4pPr>
            <a:lvl5pPr>
              <a:defRPr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p:cNvSpPr>
            <a:spLocks noGrp="1"/>
          </p:cNvSpPr>
          <p:nvPr>
            <p:ph type="body" sz="quarter" idx="14"/>
          </p:nvPr>
        </p:nvSpPr>
        <p:spPr>
          <a:xfrm>
            <a:off x="457200" y="411480"/>
            <a:ext cx="6400800" cy="182880"/>
          </a:xfrm>
        </p:spPr>
        <p:txBody>
          <a:bodyPr/>
          <a:lstStyle>
            <a:lvl1pPr marL="0" indent="0">
              <a:buNone/>
              <a:defRPr sz="1200">
                <a:solidFill>
                  <a:schemeClr val="bg1"/>
                </a:solidFill>
              </a:defRPr>
            </a:lvl1pPr>
            <a:lvl2pPr marL="228600" indent="0">
              <a:buNone/>
              <a:defRPr/>
            </a:lvl2pPr>
          </a:lstStyle>
          <a:p>
            <a:pPr lvl="0"/>
            <a:r>
              <a:rPr lang="en-US"/>
              <a:t>Click to edit Master text styles</a:t>
            </a:r>
          </a:p>
        </p:txBody>
      </p:sp>
      <p:sp>
        <p:nvSpPr>
          <p:cNvPr id="10" name="Content Placeholder 3"/>
          <p:cNvSpPr>
            <a:spLocks noGrp="1"/>
          </p:cNvSpPr>
          <p:nvPr>
            <p:ph sz="half" idx="15"/>
          </p:nvPr>
        </p:nvSpPr>
        <p:spPr>
          <a:xfrm>
            <a:off x="6268721" y="1709241"/>
            <a:ext cx="2560320" cy="4617720"/>
          </a:xfrm>
        </p:spPr>
        <p:txBody>
          <a:bodyPr/>
          <a:lstStyle>
            <a:lvl1pPr>
              <a:defRPr sz="1400">
                <a:solidFill>
                  <a:schemeClr val="bg1"/>
                </a:solidFill>
              </a:defRPr>
            </a:lvl1pPr>
            <a:lvl2pPr>
              <a:defRPr sz="1200">
                <a:solidFill>
                  <a:schemeClr val="bg1"/>
                </a:solidFill>
              </a:defRPr>
            </a:lvl2pPr>
            <a:lvl3pPr>
              <a:defRPr sz="1100">
                <a:solidFill>
                  <a:schemeClr val="bg1"/>
                </a:solidFill>
              </a:defRPr>
            </a:lvl3pPr>
            <a:lvl4pPr>
              <a:defRPr sz="1100">
                <a:solidFill>
                  <a:schemeClr val="bg1"/>
                </a:solidFill>
              </a:defRPr>
            </a:lvl4pPr>
            <a:lvl5pPr>
              <a:defRPr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5">
            <a:extLst>
              <a:ext uri="{FF2B5EF4-FFF2-40B4-BE49-F238E27FC236}">
                <a16:creationId xmlns:a16="http://schemas.microsoft.com/office/drawing/2014/main" id="{E41F79C3-0DE9-8D41-9BAF-0EB378662573}"/>
              </a:ext>
            </a:extLst>
          </p:cNvPr>
          <p:cNvSpPr>
            <a:spLocks noGrp="1"/>
          </p:cNvSpPr>
          <p:nvPr>
            <p:ph type="ftr" sz="quarter" idx="16"/>
          </p:nvPr>
        </p:nvSpPr>
        <p:spPr/>
        <p:txBody>
          <a:bodyPr/>
          <a:lstStyle>
            <a:lvl1pPr>
              <a:defRPr>
                <a:solidFill>
                  <a:schemeClr val="bg1"/>
                </a:solidFill>
              </a:defRPr>
            </a:lvl1pPr>
          </a:lstStyle>
          <a:p>
            <a:pPr>
              <a:defRPr/>
            </a:pPr>
            <a:r>
              <a:rPr lang="en-US"/>
              <a:t>Copyright © 2023 Comcast Business. All rights reserved.</a:t>
            </a:r>
          </a:p>
        </p:txBody>
      </p:sp>
      <p:sp>
        <p:nvSpPr>
          <p:cNvPr id="13" name="Slide Number Placeholder 6">
            <a:extLst>
              <a:ext uri="{FF2B5EF4-FFF2-40B4-BE49-F238E27FC236}">
                <a16:creationId xmlns:a16="http://schemas.microsoft.com/office/drawing/2014/main" id="{6C00B0B8-3E82-3941-856B-E539EC7827D2}"/>
              </a:ext>
            </a:extLst>
          </p:cNvPr>
          <p:cNvSpPr>
            <a:spLocks noGrp="1"/>
          </p:cNvSpPr>
          <p:nvPr>
            <p:ph type="sldNum" sz="quarter" idx="17"/>
          </p:nvPr>
        </p:nvSpPr>
        <p:spPr/>
        <p:txBody>
          <a:bodyPr/>
          <a:lstStyle>
            <a:lvl1pPr>
              <a:defRPr smtClean="0">
                <a:solidFill>
                  <a:schemeClr val="bg1"/>
                </a:solidFill>
              </a:defRPr>
            </a:lvl1pPr>
          </a:lstStyle>
          <a:p>
            <a:pPr>
              <a:defRPr/>
            </a:pPr>
            <a:fld id="{B513D46C-75B9-8B4B-98E1-79489A6543AE}" type="slidenum">
              <a:rPr lang="en-US"/>
              <a:pPr>
                <a:defRPr/>
              </a:pPr>
              <a:t>‹#›</a:t>
            </a:fld>
            <a:endParaRPr lang="en-US"/>
          </a:p>
        </p:txBody>
      </p:sp>
      <p:pic>
        <p:nvPicPr>
          <p:cNvPr id="14" name="Picture 13">
            <a:extLst>
              <a:ext uri="{FF2B5EF4-FFF2-40B4-BE49-F238E27FC236}">
                <a16:creationId xmlns:a16="http://schemas.microsoft.com/office/drawing/2014/main" id="{CC97D8FE-4898-4448-9D9E-92FF360F990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50172" y="6424613"/>
            <a:ext cx="3109375" cy="196175"/>
          </a:xfrm>
          <a:prstGeom prst="rect">
            <a:avLst/>
          </a:prstGeom>
        </p:spPr>
      </p:pic>
    </p:spTree>
    <p:extLst>
      <p:ext uri="{BB962C8B-B14F-4D97-AF65-F5344CB8AC3E}">
        <p14:creationId xmlns:p14="http://schemas.microsoft.com/office/powerpoint/2010/main" val="211718510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6" name="Text Placeholder 8"/>
          <p:cNvSpPr>
            <a:spLocks noGrp="1"/>
          </p:cNvSpPr>
          <p:nvPr>
            <p:ph type="body" sz="quarter" idx="13"/>
          </p:nvPr>
        </p:nvSpPr>
        <p:spPr>
          <a:xfrm>
            <a:off x="457200" y="411480"/>
            <a:ext cx="6400800" cy="182880"/>
          </a:xfrm>
        </p:spPr>
        <p:txBody>
          <a:bodyPr/>
          <a:lstStyle>
            <a:lvl1pPr marL="0" indent="0">
              <a:buNone/>
              <a:defRPr sz="1200">
                <a:solidFill>
                  <a:schemeClr val="accent1"/>
                </a:solidFill>
              </a:defRPr>
            </a:lvl1pPr>
            <a:lvl2pPr marL="228600" indent="0">
              <a:buNone/>
              <a:defRPr/>
            </a:lvl2pPr>
          </a:lstStyle>
          <a:p>
            <a:pPr lvl="0"/>
            <a:r>
              <a:rPr lang="en-US"/>
              <a:t>Click to edit Master text styles</a:t>
            </a:r>
          </a:p>
        </p:txBody>
      </p:sp>
      <p:sp>
        <p:nvSpPr>
          <p:cNvPr id="4" name="Footer Placeholder 3">
            <a:extLst>
              <a:ext uri="{FF2B5EF4-FFF2-40B4-BE49-F238E27FC236}">
                <a16:creationId xmlns:a16="http://schemas.microsoft.com/office/drawing/2014/main" id="{BCEA8E2D-8510-D24B-9048-54BC0D2AF439}"/>
              </a:ext>
            </a:extLst>
          </p:cNvPr>
          <p:cNvSpPr>
            <a:spLocks noGrp="1"/>
          </p:cNvSpPr>
          <p:nvPr>
            <p:ph type="ftr" sz="quarter" idx="14"/>
          </p:nvPr>
        </p:nvSpPr>
        <p:spPr/>
        <p:txBody>
          <a:bodyPr/>
          <a:lstStyle>
            <a:lvl1pPr>
              <a:defRPr/>
            </a:lvl1pPr>
          </a:lstStyle>
          <a:p>
            <a:pPr>
              <a:defRPr/>
            </a:pPr>
            <a:r>
              <a:rPr lang="en-US"/>
              <a:t>Copyright © 2023 Comcast Business. All rights reserved.</a:t>
            </a:r>
          </a:p>
        </p:txBody>
      </p:sp>
      <p:sp>
        <p:nvSpPr>
          <p:cNvPr id="5" name="Slide Number Placeholder 4">
            <a:extLst>
              <a:ext uri="{FF2B5EF4-FFF2-40B4-BE49-F238E27FC236}">
                <a16:creationId xmlns:a16="http://schemas.microsoft.com/office/drawing/2014/main" id="{F894364B-C660-904E-9DF1-E754BF24AA9A}"/>
              </a:ext>
            </a:extLst>
          </p:cNvPr>
          <p:cNvSpPr>
            <a:spLocks noGrp="1"/>
          </p:cNvSpPr>
          <p:nvPr>
            <p:ph type="sldNum" sz="quarter" idx="15"/>
          </p:nvPr>
        </p:nvSpPr>
        <p:spPr/>
        <p:txBody>
          <a:bodyPr/>
          <a:lstStyle>
            <a:lvl1pPr>
              <a:defRPr/>
            </a:lvl1pPr>
          </a:lstStyle>
          <a:p>
            <a:pPr>
              <a:defRPr/>
            </a:pPr>
            <a:fld id="{6EEC6B15-2C34-5B40-83BB-B8A2F76D0181}" type="slidenum">
              <a:rPr lang="en-US"/>
              <a:pPr>
                <a:defRPr/>
              </a:pPr>
              <a:t>‹#›</a:t>
            </a:fld>
            <a:endParaRPr lang="en-US"/>
          </a:p>
        </p:txBody>
      </p:sp>
    </p:spTree>
    <p:extLst>
      <p:ext uri="{BB962C8B-B14F-4D97-AF65-F5344CB8AC3E}">
        <p14:creationId xmlns:p14="http://schemas.microsoft.com/office/powerpoint/2010/main" val="125988615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2">
            <a:extLst>
              <a:ext uri="{FF2B5EF4-FFF2-40B4-BE49-F238E27FC236}">
                <a16:creationId xmlns:a16="http://schemas.microsoft.com/office/drawing/2014/main" id="{D08B26EE-5D31-AE43-9A62-67E3BFA8D8D7}"/>
              </a:ext>
            </a:extLst>
          </p:cNvPr>
          <p:cNvSpPr>
            <a:spLocks noGrp="1"/>
          </p:cNvSpPr>
          <p:nvPr>
            <p:ph type="ftr" sz="quarter" idx="10"/>
          </p:nvPr>
        </p:nvSpPr>
        <p:spPr/>
        <p:txBody>
          <a:bodyPr/>
          <a:lstStyle>
            <a:lvl1pPr>
              <a:defRPr/>
            </a:lvl1pPr>
          </a:lstStyle>
          <a:p>
            <a:pPr>
              <a:defRPr/>
            </a:pPr>
            <a:r>
              <a:rPr lang="en-US"/>
              <a:t>Copyright © 2023 Comcast Business. All rights reserved.</a:t>
            </a:r>
          </a:p>
        </p:txBody>
      </p:sp>
      <p:sp>
        <p:nvSpPr>
          <p:cNvPr id="3" name="Slide Number Placeholder 3">
            <a:extLst>
              <a:ext uri="{FF2B5EF4-FFF2-40B4-BE49-F238E27FC236}">
                <a16:creationId xmlns:a16="http://schemas.microsoft.com/office/drawing/2014/main" id="{AF70058C-5CF2-9043-A809-F45263DA899D}"/>
              </a:ext>
            </a:extLst>
          </p:cNvPr>
          <p:cNvSpPr>
            <a:spLocks noGrp="1"/>
          </p:cNvSpPr>
          <p:nvPr>
            <p:ph type="sldNum" sz="quarter" idx="11"/>
          </p:nvPr>
        </p:nvSpPr>
        <p:spPr/>
        <p:txBody>
          <a:bodyPr/>
          <a:lstStyle>
            <a:lvl1pPr>
              <a:defRPr/>
            </a:lvl1pPr>
          </a:lstStyle>
          <a:p>
            <a:pPr>
              <a:defRPr/>
            </a:pPr>
            <a:fld id="{51BE507C-9BF2-6E4A-A584-ED0778864ACF}" type="slidenum">
              <a:rPr lang="en-US"/>
              <a:pPr>
                <a:defRPr/>
              </a:pPr>
              <a:t>‹#›</a:t>
            </a:fld>
            <a:endParaRPr lang="en-US"/>
          </a:p>
        </p:txBody>
      </p:sp>
    </p:spTree>
    <p:extLst>
      <p:ext uri="{BB962C8B-B14F-4D97-AF65-F5344CB8AC3E}">
        <p14:creationId xmlns:p14="http://schemas.microsoft.com/office/powerpoint/2010/main" val="68637318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Slide - 2 Col w/Image Right">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6BF55EDC-BBBD-F836-4AB9-EC5630072DD8}"/>
              </a:ext>
            </a:extLst>
          </p:cNvPr>
          <p:cNvSpPr>
            <a:spLocks noGrp="1"/>
          </p:cNvSpPr>
          <p:nvPr>
            <p:ph type="pic" sz="quarter" idx="27" hasCustomPrompt="1"/>
          </p:nvPr>
        </p:nvSpPr>
        <p:spPr>
          <a:xfrm>
            <a:off x="6580832" y="1363248"/>
            <a:ext cx="5611169" cy="4606194"/>
          </a:xfrm>
          <a:custGeom>
            <a:avLst/>
            <a:gdLst>
              <a:gd name="connsiteX0" fmla="*/ 2303097 w 5611169"/>
              <a:gd name="connsiteY0" fmla="*/ 0 h 4606194"/>
              <a:gd name="connsiteX1" fmla="*/ 5611169 w 5611169"/>
              <a:gd name="connsiteY1" fmla="*/ 0 h 4606194"/>
              <a:gd name="connsiteX2" fmla="*/ 5611169 w 5611169"/>
              <a:gd name="connsiteY2" fmla="*/ 4606194 h 4606194"/>
              <a:gd name="connsiteX3" fmla="*/ 2303097 w 5611169"/>
              <a:gd name="connsiteY3" fmla="*/ 4606194 h 4606194"/>
              <a:gd name="connsiteX4" fmla="*/ 0 w 5611169"/>
              <a:gd name="connsiteY4" fmla="*/ 2303097 h 4606194"/>
              <a:gd name="connsiteX5" fmla="*/ 2303097 w 5611169"/>
              <a:gd name="connsiteY5" fmla="*/ 0 h 4606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11169" h="4606194">
                <a:moveTo>
                  <a:pt x="2303097" y="0"/>
                </a:moveTo>
                <a:lnTo>
                  <a:pt x="5611169" y="0"/>
                </a:lnTo>
                <a:lnTo>
                  <a:pt x="5611169" y="4606194"/>
                </a:lnTo>
                <a:lnTo>
                  <a:pt x="2303097" y="4606194"/>
                </a:lnTo>
                <a:cubicBezTo>
                  <a:pt x="1031132" y="4606194"/>
                  <a:pt x="0" y="3575062"/>
                  <a:pt x="0" y="2303097"/>
                </a:cubicBezTo>
                <a:cubicBezTo>
                  <a:pt x="0" y="1031132"/>
                  <a:pt x="1031132" y="0"/>
                  <a:pt x="2303097" y="0"/>
                </a:cubicBezTo>
                <a:close/>
              </a:path>
            </a:pathLst>
          </a:custGeom>
          <a:solidFill>
            <a:schemeClr val="bg1">
              <a:lumMod val="95000"/>
            </a:schemeClr>
          </a:solidFill>
        </p:spPr>
        <p:txBody>
          <a:bodyPr wrap="square" bIns="1371600" anchor="ctr">
            <a:noAutofit/>
          </a:bodyPr>
          <a:lstStyle>
            <a:lvl1pPr marL="0" marR="0" indent="0" algn="ctr" defTabSz="914400" rtl="0" eaLnBrk="1" fontAlgn="base" latinLnBrk="0" hangingPunct="1">
              <a:lnSpc>
                <a:spcPct val="95000"/>
              </a:lnSpc>
              <a:spcBef>
                <a:spcPts val="1000"/>
              </a:spcBef>
              <a:spcAft>
                <a:spcPct val="0"/>
              </a:spcAft>
              <a:buClrTx/>
              <a:buSzTx/>
              <a:buFont typeface="Arial" panose="020B0604020202020204" pitchFamily="34" charset="0"/>
              <a:buNone/>
              <a:tabLst/>
              <a:defRPr>
                <a:solidFill>
                  <a:schemeClr val="accent1"/>
                </a:solidFill>
              </a:defRPr>
            </a:lvl1pPr>
          </a:lstStyle>
          <a:p>
            <a:r>
              <a:rPr lang="en-US"/>
              <a:t>Drag picture to placeholder</a:t>
            </a:r>
            <a:br>
              <a:rPr lang="en-US"/>
            </a:br>
            <a:r>
              <a:rPr lang="en-US"/>
              <a:t>or click icon to add.</a:t>
            </a:r>
          </a:p>
        </p:txBody>
      </p:sp>
      <p:sp>
        <p:nvSpPr>
          <p:cNvPr id="19" name="Text Placeholder 5">
            <a:extLst>
              <a:ext uri="{FF2B5EF4-FFF2-40B4-BE49-F238E27FC236}">
                <a16:creationId xmlns:a16="http://schemas.microsoft.com/office/drawing/2014/main" id="{3F686C8C-E081-5242-90B9-38796068D595}"/>
              </a:ext>
            </a:extLst>
          </p:cNvPr>
          <p:cNvSpPr>
            <a:spLocks noGrp="1"/>
          </p:cNvSpPr>
          <p:nvPr>
            <p:ph type="body" sz="quarter" idx="26"/>
          </p:nvPr>
        </p:nvSpPr>
        <p:spPr>
          <a:xfrm>
            <a:off x="463550" y="1363248"/>
            <a:ext cx="5632450" cy="4606194"/>
          </a:xfrm>
          <a:prstGeom prst="rect">
            <a:avLst/>
          </a:prstGeom>
        </p:spPr>
        <p:txBody>
          <a:bodyPr lIns="0" tIns="0" rIns="0" bIns="0" anchor="t"/>
          <a:lstStyle>
            <a:lvl1pPr marL="0" indent="0" algn="l">
              <a:buNone/>
              <a:defRPr sz="1800" b="0" i="0">
                <a:latin typeface="Montserrat Light" pitchFamily="2" charset="77"/>
                <a:cs typeface="Montserrat Light" pitchFamily="2" charset="77"/>
              </a:defRPr>
            </a:lvl1pPr>
            <a:lvl2pPr marL="174625" indent="-174625" algn="l">
              <a:spcBef>
                <a:spcPts val="1200"/>
              </a:spcBef>
              <a:buFont typeface="Arial" panose="020B0604020202020204" pitchFamily="34" charset="0"/>
              <a:buChar char="•"/>
              <a:tabLst/>
              <a:defRPr sz="1800" b="0" i="0">
                <a:latin typeface="Montserrat Light" pitchFamily="2" charset="77"/>
                <a:cs typeface="Montserrat Light" pitchFamily="2" charset="77"/>
              </a:defRPr>
            </a:lvl2pPr>
            <a:lvl3pPr marL="560070" indent="-285750" algn="l">
              <a:spcBef>
                <a:spcPts val="1200"/>
              </a:spcBef>
              <a:buFont typeface="Montserrat" panose="00000500000000000000" pitchFamily="2" charset="0"/>
              <a:buChar char="–"/>
              <a:defRPr sz="1800" b="0" i="0">
                <a:latin typeface="Montserrat Light" pitchFamily="2" charset="77"/>
                <a:cs typeface="Montserrat Light" pitchFamily="2" charset="77"/>
              </a:defRPr>
            </a:lvl3pPr>
            <a:lvl4pPr marL="834390" indent="-285750" algn="l">
              <a:spcBef>
                <a:spcPts val="1200"/>
              </a:spcBef>
              <a:buFont typeface="Courier New" panose="02070309020205020404" pitchFamily="49" charset="0"/>
              <a:buChar char="o"/>
              <a:defRPr sz="1600" b="0" i="0">
                <a:latin typeface="Montserrat Light" pitchFamily="2" charset="77"/>
                <a:cs typeface="Montserrat Light" pitchFamily="2" charset="77"/>
              </a:defRPr>
            </a:lvl4pPr>
            <a:lvl5pPr marL="1108710" indent="-285750" algn="l">
              <a:defRPr lang="en-US" sz="1400" b="0" i="0" u="none" strike="noStrike" cap="none" spc="0" baseline="0" dirty="0">
                <a:solidFill>
                  <a:srgbClr val="000000"/>
                </a:solidFill>
                <a:uFillTx/>
                <a:latin typeface="Montserrat Light" pitchFamily="2" charset="77"/>
                <a:ea typeface="Montserrat" panose="00000500000000000000" pitchFamily="2" charset="0"/>
                <a:cs typeface="Montserrat Light" pitchFamily="2" charset="77"/>
                <a:sym typeface="Montserrat"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a:extLst>
              <a:ext uri="{FF2B5EF4-FFF2-40B4-BE49-F238E27FC236}">
                <a16:creationId xmlns:a16="http://schemas.microsoft.com/office/drawing/2014/main" id="{F21AE09E-697C-FC45-9E96-2E45E76886AB}"/>
              </a:ext>
            </a:extLst>
          </p:cNvPr>
          <p:cNvSpPr>
            <a:spLocks noGrp="1"/>
          </p:cNvSpPr>
          <p:nvPr>
            <p:ph type="title"/>
          </p:nvPr>
        </p:nvSpPr>
        <p:spPr>
          <a:xfrm>
            <a:off x="463548" y="514928"/>
            <a:ext cx="11271251" cy="365760"/>
          </a:xfrm>
          <a:prstGeom prst="rect">
            <a:avLst/>
          </a:prstGeom>
        </p:spPr>
        <p:txBody>
          <a:bodyPr lIns="0" tIns="0" rIns="0" bIns="0" anchor="t"/>
          <a:lstStyle>
            <a:lvl1pPr marL="0" marR="0" indent="0" algn="l" defTabSz="412750" rtl="0" latinLnBrk="0">
              <a:lnSpc>
                <a:spcPct val="100000"/>
              </a:lnSpc>
              <a:spcBef>
                <a:spcPts val="0"/>
              </a:spcBef>
              <a:spcAft>
                <a:spcPts val="0"/>
              </a:spcAft>
              <a:buClrTx/>
              <a:buSzTx/>
              <a:buFontTx/>
              <a:buNone/>
              <a:tabLst/>
              <a:defRPr lang="en-US" sz="2200" b="1" i="0" u="none" strike="noStrike" cap="none" spc="0" baseline="0" dirty="0" smtClean="0">
                <a:solidFill>
                  <a:srgbClr val="000000"/>
                </a:solidFill>
                <a:uFillTx/>
                <a:latin typeface="Montserrat" panose="00000500000000000000" pitchFamily="2" charset="0"/>
                <a:ea typeface="Montserrat" panose="00000500000000000000" pitchFamily="2" charset="0"/>
                <a:cs typeface="Montserrat" panose="00000500000000000000" pitchFamily="2" charset="0"/>
                <a:sym typeface="Montserrat" panose="00000500000000000000" pitchFamily="2" charset="0"/>
              </a:defRPr>
            </a:lvl1pPr>
          </a:lstStyle>
          <a:p>
            <a:r>
              <a:rPr lang="en-US"/>
              <a:t>Click to edit Master title style</a:t>
            </a:r>
          </a:p>
        </p:txBody>
      </p:sp>
      <p:sp>
        <p:nvSpPr>
          <p:cNvPr id="10" name="Text Placeholder 2">
            <a:extLst>
              <a:ext uri="{FF2B5EF4-FFF2-40B4-BE49-F238E27FC236}">
                <a16:creationId xmlns:a16="http://schemas.microsoft.com/office/drawing/2014/main" id="{E4AEF971-9BCB-1E42-9E22-F8D1F1044C95}"/>
              </a:ext>
            </a:extLst>
          </p:cNvPr>
          <p:cNvSpPr>
            <a:spLocks noGrp="1"/>
          </p:cNvSpPr>
          <p:nvPr>
            <p:ph type="body" sz="quarter" idx="25" hasCustomPrompt="1"/>
          </p:nvPr>
        </p:nvSpPr>
        <p:spPr>
          <a:xfrm>
            <a:off x="463548" y="255612"/>
            <a:ext cx="11271251" cy="201168"/>
          </a:xfrm>
          <a:prstGeom prst="rect">
            <a:avLst/>
          </a:prstGeom>
        </p:spPr>
        <p:txBody>
          <a:bodyPr lIns="0" tIns="0" rIns="0" bIns="0" anchor="ctr"/>
          <a:lstStyle>
            <a:lvl1pPr marL="0" indent="0" algn="l">
              <a:buNone/>
              <a:defRPr lang="en-US" sz="1000" b="0" i="0" cap="all" spc="200" baseline="0" dirty="0">
                <a:solidFill>
                  <a:schemeClr val="accent1"/>
                </a:solidFill>
                <a:latin typeface="Montserrat" panose="00000500000000000000" pitchFamily="2" charset="0"/>
                <a:ea typeface="Montserrat" panose="00000500000000000000" pitchFamily="2" charset="0"/>
                <a:cs typeface="Montserrat" panose="00000500000000000000" pitchFamily="2" charset="0"/>
              </a:defRPr>
            </a:lvl1pPr>
          </a:lstStyle>
          <a:p>
            <a:pPr lvl="0" algn="l"/>
            <a:r>
              <a:rPr lang="en-US"/>
              <a:t>OPTIONAL BREADCRUMB HERE</a:t>
            </a:r>
          </a:p>
        </p:txBody>
      </p:sp>
      <p:sp>
        <p:nvSpPr>
          <p:cNvPr id="8" name="Slide Number Placeholder 5">
            <a:extLst>
              <a:ext uri="{FF2B5EF4-FFF2-40B4-BE49-F238E27FC236}">
                <a16:creationId xmlns:a16="http://schemas.microsoft.com/office/drawing/2014/main" id="{3DB84E04-7731-345F-77EA-3F29E135A0BC}"/>
              </a:ext>
            </a:extLst>
          </p:cNvPr>
          <p:cNvSpPr txBox="1">
            <a:spLocks/>
          </p:cNvSpPr>
          <p:nvPr userDrawn="1"/>
        </p:nvSpPr>
        <p:spPr>
          <a:xfrm>
            <a:off x="11341100" y="6424613"/>
            <a:ext cx="393700" cy="200025"/>
          </a:xfrm>
          <a:prstGeom prst="rect">
            <a:avLst/>
          </a:prstGeom>
        </p:spPr>
        <p:txBody>
          <a:bodyPr vert="horz" lIns="0" tIns="0" rIns="0" bIns="0" rtlCol="0" anchor="ctr">
            <a:noAutofit/>
          </a:bodyPr>
          <a:lstStyle>
            <a:defPPr>
              <a:defRPr lang="en-US"/>
            </a:defPPr>
            <a:lvl1pPr algn="r" rtl="0" eaLnBrk="1" fontAlgn="auto" hangingPunct="1">
              <a:spcBef>
                <a:spcPts val="0"/>
              </a:spcBef>
              <a:spcAft>
                <a:spcPts val="0"/>
              </a:spcAft>
              <a:defRPr sz="800" kern="1200">
                <a:solidFill>
                  <a:schemeClr val="tx2"/>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fld id="{5F05AE8C-CF5F-4A4E-B69B-C9D8FA4EC18A}" type="slidenum">
              <a:rPr lang="en-US" smtClean="0">
                <a:solidFill>
                  <a:srgbClr val="112F64"/>
                </a:solidFill>
                <a:latin typeface="Montserrat" panose="00000500000000000000" pitchFamily="2" charset="0"/>
              </a:rPr>
              <a:pPr>
                <a:defRPr/>
              </a:pPr>
              <a:t>‹#›</a:t>
            </a:fld>
            <a:endParaRPr lang="en-US">
              <a:solidFill>
                <a:srgbClr val="112F64"/>
              </a:solidFill>
              <a:latin typeface="Montserrat" panose="00000500000000000000" pitchFamily="2" charset="0"/>
            </a:endParaRPr>
          </a:p>
        </p:txBody>
      </p:sp>
      <p:sp>
        <p:nvSpPr>
          <p:cNvPr id="11" name="Footer Placeholder 4">
            <a:extLst>
              <a:ext uri="{FF2B5EF4-FFF2-40B4-BE49-F238E27FC236}">
                <a16:creationId xmlns:a16="http://schemas.microsoft.com/office/drawing/2014/main" id="{75064991-9187-8694-627F-2FECE8244915}"/>
              </a:ext>
            </a:extLst>
          </p:cNvPr>
          <p:cNvSpPr txBox="1">
            <a:spLocks/>
          </p:cNvSpPr>
          <p:nvPr userDrawn="1"/>
        </p:nvSpPr>
        <p:spPr>
          <a:xfrm>
            <a:off x="463550" y="6427788"/>
            <a:ext cx="4114800" cy="198437"/>
          </a:xfrm>
          <a:prstGeom prst="rect">
            <a:avLst/>
          </a:prstGeom>
        </p:spPr>
        <p:txBody>
          <a:bodyPr vert="horz" lIns="0" tIns="0" rIns="0" bIns="0" rtlCol="0" anchor="ctr">
            <a:noAutofit/>
          </a:bodyPr>
          <a:lstStyle>
            <a:defPPr>
              <a:defRPr lang="en-US"/>
            </a:defPPr>
            <a:lvl1pPr algn="l" rtl="0" eaLnBrk="1" fontAlgn="auto" hangingPunct="1">
              <a:spcBef>
                <a:spcPts val="0"/>
              </a:spcBef>
              <a:spcAft>
                <a:spcPts val="0"/>
              </a:spcAft>
              <a:defRPr sz="800" kern="1200">
                <a:solidFill>
                  <a:schemeClr val="tx1"/>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r>
              <a:rPr lang="en-US">
                <a:solidFill>
                  <a:srgbClr val="000000"/>
                </a:solidFill>
                <a:latin typeface="Montserrat" panose="00000500000000000000" pitchFamily="2" charset="0"/>
              </a:rPr>
              <a:t>© 2024 Comcast. All rights reserved.</a:t>
            </a:r>
          </a:p>
        </p:txBody>
      </p:sp>
    </p:spTree>
    <p:extLst>
      <p:ext uri="{BB962C8B-B14F-4D97-AF65-F5344CB8AC3E}">
        <p14:creationId xmlns:p14="http://schemas.microsoft.com/office/powerpoint/2010/main" val="3199747930"/>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432">
          <p15:clr>
            <a:srgbClr val="FBAE40"/>
          </p15:clr>
        </p15:guide>
        <p15:guide id="3" pos="7248">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p:cSld name="Closing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74091" y="1234440"/>
            <a:ext cx="6583680" cy="3200400"/>
          </a:xfrm>
        </p:spPr>
        <p:txBody>
          <a:bodyPr anchor="b">
            <a:noAutofit/>
          </a:bodyPr>
          <a:lstStyle>
            <a:lvl1pPr algn="l">
              <a:defRPr sz="6000">
                <a:solidFill>
                  <a:schemeClr val="bg1"/>
                </a:solidFill>
              </a:defRPr>
            </a:lvl1pPr>
          </a:lstStyle>
          <a:p>
            <a:r>
              <a:rPr lang="en-US"/>
              <a:t>Click to edit Master title style</a:t>
            </a:r>
            <a:endParaRPr lang="en-GB"/>
          </a:p>
        </p:txBody>
      </p:sp>
      <p:sp>
        <p:nvSpPr>
          <p:cNvPr id="10" name="Picture Placeholder 9"/>
          <p:cNvSpPr>
            <a:spLocks noGrp="1" noChangeAspect="1"/>
          </p:cNvSpPr>
          <p:nvPr>
            <p:ph type="pic" sz="quarter" idx="15"/>
          </p:nvPr>
        </p:nvSpPr>
        <p:spPr>
          <a:xfrm>
            <a:off x="7159752" y="-9144"/>
            <a:ext cx="5039057" cy="6876288"/>
          </a:xfrm>
          <a:custGeom>
            <a:avLst/>
            <a:gdLst>
              <a:gd name="connsiteX0" fmla="*/ 3420147 w 5025656"/>
              <a:gd name="connsiteY0" fmla="*/ 0 h 6858001"/>
              <a:gd name="connsiteX1" fmla="*/ 4791747 w 5025656"/>
              <a:gd name="connsiteY1" fmla="*/ 0 h 6858001"/>
              <a:gd name="connsiteX2" fmla="*/ 4791747 w 5025656"/>
              <a:gd name="connsiteY2" fmla="*/ 1 h 6858001"/>
              <a:gd name="connsiteX3" fmla="*/ 5025656 w 5025656"/>
              <a:gd name="connsiteY3" fmla="*/ 1 h 6858001"/>
              <a:gd name="connsiteX4" fmla="*/ 5025656 w 5025656"/>
              <a:gd name="connsiteY4" fmla="*/ 6858001 h 6858001"/>
              <a:gd name="connsiteX5" fmla="*/ 3844556 w 5025656"/>
              <a:gd name="connsiteY5" fmla="*/ 6858001 h 6858001"/>
              <a:gd name="connsiteX6" fmla="*/ 3844556 w 5025656"/>
              <a:gd name="connsiteY6" fmla="*/ 6858000 h 6858001"/>
              <a:gd name="connsiteX7" fmla="*/ 3420147 w 5025656"/>
              <a:gd name="connsiteY7" fmla="*/ 6858000 h 6858001"/>
              <a:gd name="connsiteX8" fmla="*/ 3420147 w 5025656"/>
              <a:gd name="connsiteY8" fmla="*/ 6857394 h 6858001"/>
              <a:gd name="connsiteX9" fmla="*/ 3210950 w 5025656"/>
              <a:gd name="connsiteY9" fmla="*/ 6851085 h 6858001"/>
              <a:gd name="connsiteX10" fmla="*/ 462976 w 5025656"/>
              <a:gd name="connsiteY10" fmla="*/ 5149683 h 6858001"/>
              <a:gd name="connsiteX11" fmla="*/ 457614 w 5025656"/>
              <a:gd name="connsiteY11" fmla="*/ 1717595 h 6858001"/>
              <a:gd name="connsiteX12" fmla="*/ 3200258 w 5025656"/>
              <a:gd name="connsiteY12" fmla="*/ 7617 h 6858001"/>
              <a:gd name="connsiteX13" fmla="*/ 3420147 w 5025656"/>
              <a:gd name="connsiteY13" fmla="*/ 297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25656" h="6858001">
                <a:moveTo>
                  <a:pt x="3420147" y="0"/>
                </a:moveTo>
                <a:lnTo>
                  <a:pt x="4791747" y="0"/>
                </a:lnTo>
                <a:lnTo>
                  <a:pt x="4791747" y="1"/>
                </a:lnTo>
                <a:lnTo>
                  <a:pt x="5025656" y="1"/>
                </a:lnTo>
                <a:lnTo>
                  <a:pt x="5025656" y="6858001"/>
                </a:lnTo>
                <a:lnTo>
                  <a:pt x="3844556" y="6858001"/>
                </a:lnTo>
                <a:lnTo>
                  <a:pt x="3844556" y="6858000"/>
                </a:lnTo>
                <a:lnTo>
                  <a:pt x="3420147" y="6858000"/>
                </a:lnTo>
                <a:lnTo>
                  <a:pt x="3420147" y="6857394"/>
                </a:lnTo>
                <a:lnTo>
                  <a:pt x="3210950" y="6851085"/>
                </a:lnTo>
                <a:cubicBezTo>
                  <a:pt x="2073531" y="6778796"/>
                  <a:pt x="1039896" y="6144147"/>
                  <a:pt x="462976" y="5149683"/>
                </a:cubicBezTo>
                <a:cubicBezTo>
                  <a:pt x="-152405" y="4088921"/>
                  <a:pt x="-154449" y="2780275"/>
                  <a:pt x="457614" y="1717595"/>
                </a:cubicBezTo>
                <a:cubicBezTo>
                  <a:pt x="1031423" y="721334"/>
                  <a:pt x="2063071" y="83459"/>
                  <a:pt x="3200258" y="7617"/>
                </a:cubicBezTo>
                <a:lnTo>
                  <a:pt x="3420147" y="297"/>
                </a:lnTo>
                <a:close/>
              </a:path>
            </a:pathLst>
          </a:custGeom>
          <a:solidFill>
            <a:schemeClr val="bg1">
              <a:lumMod val="95000"/>
            </a:schemeClr>
          </a:solidFill>
        </p:spPr>
        <p:txBody>
          <a:bodyPr lIns="1554480" tIns="2194560" rIns="1188720" rtlCol="0">
            <a:noAutofit/>
          </a:bodyPr>
          <a:lstStyle>
            <a:lvl1pPr marL="0" indent="0">
              <a:buNone/>
              <a:defRPr>
                <a:solidFill>
                  <a:schemeClr val="accent1"/>
                </a:solidFill>
              </a:defRPr>
            </a:lvl1pPr>
          </a:lstStyle>
          <a:p>
            <a:pPr lvl="0"/>
            <a:r>
              <a:rPr lang="en-US" noProof="0"/>
              <a:t>Click icon to add picture</a:t>
            </a:r>
          </a:p>
        </p:txBody>
      </p:sp>
      <p:sp>
        <p:nvSpPr>
          <p:cNvPr id="5" name="Date Placeholder 3">
            <a:extLst>
              <a:ext uri="{FF2B5EF4-FFF2-40B4-BE49-F238E27FC236}">
                <a16:creationId xmlns:a16="http://schemas.microsoft.com/office/drawing/2014/main" id="{666EF524-5B37-E246-94ED-0696D4962AA5}"/>
              </a:ext>
            </a:extLst>
          </p:cNvPr>
          <p:cNvSpPr>
            <a:spLocks noGrp="1"/>
          </p:cNvSpPr>
          <p:nvPr>
            <p:ph type="dt" sz="half" idx="16"/>
          </p:nvPr>
        </p:nvSpPr>
        <p:spPr>
          <a:xfrm>
            <a:off x="457200" y="487363"/>
            <a:ext cx="4114800" cy="274637"/>
          </a:xfrm>
        </p:spPr>
        <p:txBody>
          <a:bodyPr/>
          <a:lstStyle>
            <a:lvl1pPr>
              <a:defRPr sz="1400" dirty="0">
                <a:solidFill>
                  <a:schemeClr val="accent2"/>
                </a:solidFill>
              </a:defRPr>
            </a:lvl1pPr>
          </a:lstStyle>
          <a:p>
            <a:pPr>
              <a:defRPr/>
            </a:pPr>
            <a:endParaRPr lang="en-US"/>
          </a:p>
        </p:txBody>
      </p:sp>
      <p:pic>
        <p:nvPicPr>
          <p:cNvPr id="6" name="Picture 5" descr="A black and white logo&#10;&#10;Description automatically generated with low confidence">
            <a:extLst>
              <a:ext uri="{FF2B5EF4-FFF2-40B4-BE49-F238E27FC236}">
                <a16:creationId xmlns:a16="http://schemas.microsoft.com/office/drawing/2014/main" id="{8172D21A-FC2A-A740-953B-7E114EA9292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4025" y="5962288"/>
            <a:ext cx="2235674" cy="339531"/>
          </a:xfrm>
          <a:prstGeom prst="rect">
            <a:avLst/>
          </a:prstGeom>
        </p:spPr>
      </p:pic>
    </p:spTree>
    <p:extLst>
      <p:ext uri="{BB962C8B-B14F-4D97-AF65-F5344CB8AC3E}">
        <p14:creationId xmlns:p14="http://schemas.microsoft.com/office/powerpoint/2010/main" val="345487748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p:cSld name="Open / Close 1">
    <p:spTree>
      <p:nvGrpSpPr>
        <p:cNvPr id="1" name=""/>
        <p:cNvGrpSpPr/>
        <p:nvPr/>
      </p:nvGrpSpPr>
      <p:grpSpPr>
        <a:xfrm>
          <a:off x="0" y="0"/>
          <a:ext cx="0" cy="0"/>
          <a:chOff x="0" y="0"/>
          <a:chExt cx="0" cy="0"/>
        </a:xfrm>
      </p:grpSpPr>
      <p:sp>
        <p:nvSpPr>
          <p:cNvPr id="2" name="Title 1"/>
          <p:cNvSpPr>
            <a:spLocks noGrp="1"/>
          </p:cNvSpPr>
          <p:nvPr>
            <p:ph type="ctrTitle"/>
          </p:nvPr>
        </p:nvSpPr>
        <p:spPr>
          <a:xfrm>
            <a:off x="419286" y="1870075"/>
            <a:ext cx="8735827" cy="2286000"/>
          </a:xfrm>
        </p:spPr>
        <p:txBody>
          <a:bodyPr anchor="ctr">
            <a:noAutofit/>
          </a:bodyPr>
          <a:lstStyle>
            <a:lvl1pPr algn="l">
              <a:defRPr sz="8000">
                <a:solidFill>
                  <a:schemeClr val="accent1"/>
                </a:solidFill>
              </a:defRPr>
            </a:lvl1pPr>
          </a:lstStyle>
          <a:p>
            <a:r>
              <a:rPr lang="en-US"/>
              <a:t>Click to edit Master title style</a:t>
            </a:r>
          </a:p>
        </p:txBody>
      </p:sp>
      <p:pic>
        <p:nvPicPr>
          <p:cNvPr id="7" name="Picture 6" descr="A picture containing text, light&#10;&#10;Description automatically generated">
            <a:extLst>
              <a:ext uri="{FF2B5EF4-FFF2-40B4-BE49-F238E27FC236}">
                <a16:creationId xmlns:a16="http://schemas.microsoft.com/office/drawing/2014/main" id="{843E0E24-651A-794A-9208-10CA7C0F420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6994" y="5964629"/>
            <a:ext cx="2235674" cy="339530"/>
          </a:xfrm>
          <a:prstGeom prst="rect">
            <a:avLst/>
          </a:prstGeom>
        </p:spPr>
      </p:pic>
    </p:spTree>
    <p:extLst>
      <p:ext uri="{BB962C8B-B14F-4D97-AF65-F5344CB8AC3E}">
        <p14:creationId xmlns:p14="http://schemas.microsoft.com/office/powerpoint/2010/main" val="79153510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p:cSld name="Open / Clos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19286" y="1870075"/>
            <a:ext cx="8735827" cy="2286000"/>
          </a:xfrm>
        </p:spPr>
        <p:txBody>
          <a:bodyPr anchor="ctr">
            <a:noAutofit/>
          </a:bodyPr>
          <a:lstStyle>
            <a:lvl1pPr algn="l">
              <a:defRPr sz="8000">
                <a:solidFill>
                  <a:schemeClr val="bg1"/>
                </a:solidFill>
              </a:defRPr>
            </a:lvl1pPr>
          </a:lstStyle>
          <a:p>
            <a:r>
              <a:rPr lang="en-US"/>
              <a:t>Click to edit Master title style</a:t>
            </a:r>
          </a:p>
        </p:txBody>
      </p:sp>
      <p:pic>
        <p:nvPicPr>
          <p:cNvPr id="6" name="Picture 5" descr="A black and white logo&#10;&#10;Description automatically generated with low confidence">
            <a:extLst>
              <a:ext uri="{FF2B5EF4-FFF2-40B4-BE49-F238E27FC236}">
                <a16:creationId xmlns:a16="http://schemas.microsoft.com/office/drawing/2014/main" id="{26D4D13A-57A8-C54A-839D-AF50BB3F051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4025" y="5962288"/>
            <a:ext cx="2235674" cy="339531"/>
          </a:xfrm>
          <a:prstGeom prst="rect">
            <a:avLst/>
          </a:prstGeom>
        </p:spPr>
      </p:pic>
    </p:spTree>
    <p:extLst>
      <p:ext uri="{BB962C8B-B14F-4D97-AF65-F5344CB8AC3E}">
        <p14:creationId xmlns:p14="http://schemas.microsoft.com/office/powerpoint/2010/main" val="122587540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p:cSld name="Open / Close 3">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19286" y="1870075"/>
            <a:ext cx="8735827" cy="2286000"/>
          </a:xfrm>
        </p:spPr>
        <p:txBody>
          <a:bodyPr anchor="ctr">
            <a:noAutofit/>
          </a:bodyPr>
          <a:lstStyle>
            <a:lvl1pPr algn="l">
              <a:defRPr sz="8000">
                <a:solidFill>
                  <a:schemeClr val="accent2"/>
                </a:solidFill>
              </a:defRPr>
            </a:lvl1pPr>
          </a:lstStyle>
          <a:p>
            <a:r>
              <a:rPr lang="en-US"/>
              <a:t>Click to edit Master title style</a:t>
            </a:r>
          </a:p>
        </p:txBody>
      </p:sp>
      <p:pic>
        <p:nvPicPr>
          <p:cNvPr id="4" name="Picture 3" descr="A black and white logo&#10;&#10;Description automatically generated with low confidence">
            <a:extLst>
              <a:ext uri="{FF2B5EF4-FFF2-40B4-BE49-F238E27FC236}">
                <a16:creationId xmlns:a16="http://schemas.microsoft.com/office/drawing/2014/main" id="{7F5CE5E3-36DF-1448-B042-F02CB5FD440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4025" y="5962288"/>
            <a:ext cx="2235674" cy="339531"/>
          </a:xfrm>
          <a:prstGeom prst="rect">
            <a:avLst/>
          </a:prstGeom>
        </p:spPr>
      </p:pic>
    </p:spTree>
    <p:extLst>
      <p:ext uri="{BB962C8B-B14F-4D97-AF65-F5344CB8AC3E}">
        <p14:creationId xmlns:p14="http://schemas.microsoft.com/office/powerpoint/2010/main" val="195096856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Open / Close 4 (light image, no text)">
    <p:spTree>
      <p:nvGrpSpPr>
        <p:cNvPr id="1" name=""/>
        <p:cNvGrpSpPr/>
        <p:nvPr/>
      </p:nvGrpSpPr>
      <p:grpSpPr>
        <a:xfrm>
          <a:off x="0" y="0"/>
          <a:ext cx="0" cy="0"/>
          <a:chOff x="0" y="0"/>
          <a:chExt cx="0" cy="0"/>
        </a:xfrm>
      </p:grpSpPr>
      <p:grpSp>
        <p:nvGrpSpPr>
          <p:cNvPr id="3" name="Group 4">
            <a:extLst>
              <a:ext uri="{FF2B5EF4-FFF2-40B4-BE49-F238E27FC236}">
                <a16:creationId xmlns:a16="http://schemas.microsoft.com/office/drawing/2014/main" id="{9C7AF76A-2CE9-2342-A863-520CD6A37857}"/>
              </a:ext>
            </a:extLst>
          </p:cNvPr>
          <p:cNvGrpSpPr>
            <a:grpSpLocks noChangeAspect="1"/>
          </p:cNvGrpSpPr>
          <p:nvPr/>
        </p:nvGrpSpPr>
        <p:grpSpPr bwMode="auto">
          <a:xfrm>
            <a:off x="5305425" y="5518150"/>
            <a:ext cx="1581150" cy="804863"/>
            <a:chOff x="1436" y="934"/>
            <a:chExt cx="4800" cy="2442"/>
          </a:xfrm>
        </p:grpSpPr>
        <p:sp>
          <p:nvSpPr>
            <p:cNvPr id="4" name="Freeform 5">
              <a:extLst>
                <a:ext uri="{FF2B5EF4-FFF2-40B4-BE49-F238E27FC236}">
                  <a16:creationId xmlns:a16="http://schemas.microsoft.com/office/drawing/2014/main" id="{B9FBAEFB-493D-6C49-98D2-1580B0A539E1}"/>
                </a:ext>
              </a:extLst>
            </p:cNvPr>
            <p:cNvSpPr>
              <a:spLocks noEditPoints="1"/>
            </p:cNvSpPr>
            <p:nvPr/>
          </p:nvSpPr>
          <p:spPr bwMode="auto">
            <a:xfrm>
              <a:off x="1436" y="934"/>
              <a:ext cx="4794" cy="2442"/>
            </a:xfrm>
            <a:custGeom>
              <a:avLst/>
              <a:gdLst>
                <a:gd name="T0" fmla="*/ 4595 w 9986"/>
                <a:gd name="T1" fmla="*/ 73 h 5085"/>
                <a:gd name="T2" fmla="*/ 3281 w 9986"/>
                <a:gd name="T3" fmla="*/ 444 h 5085"/>
                <a:gd name="T4" fmla="*/ 3310 w 9986"/>
                <a:gd name="T5" fmla="*/ 375 h 5085"/>
                <a:gd name="T6" fmla="*/ 1561 w 9986"/>
                <a:gd name="T7" fmla="*/ 710 h 5085"/>
                <a:gd name="T8" fmla="*/ 2187 w 9986"/>
                <a:gd name="T9" fmla="*/ 26 h 5085"/>
                <a:gd name="T10" fmla="*/ 2401 w 9986"/>
                <a:gd name="T11" fmla="*/ 355 h 5085"/>
                <a:gd name="T12" fmla="*/ 605 w 9986"/>
                <a:gd name="T13" fmla="*/ 154 h 5085"/>
                <a:gd name="T14" fmla="*/ 354 w 9986"/>
                <a:gd name="T15" fmla="*/ 639 h 5085"/>
                <a:gd name="T16" fmla="*/ 4211 w 9986"/>
                <a:gd name="T17" fmla="*/ 76 h 5085"/>
                <a:gd name="T18" fmla="*/ 3866 w 9986"/>
                <a:gd name="T19" fmla="*/ 559 h 5085"/>
                <a:gd name="T20" fmla="*/ 1434 w 9986"/>
                <a:gd name="T21" fmla="*/ 355 h 5085"/>
                <a:gd name="T22" fmla="*/ 4711 w 9986"/>
                <a:gd name="T23" fmla="*/ 2120 h 5085"/>
                <a:gd name="T24" fmla="*/ 4761 w 9986"/>
                <a:gd name="T25" fmla="*/ 2039 h 5085"/>
                <a:gd name="T26" fmla="*/ 4590 w 9986"/>
                <a:gd name="T27" fmla="*/ 2052 h 5085"/>
                <a:gd name="T28" fmla="*/ 4517 w 9986"/>
                <a:gd name="T29" fmla="*/ 2296 h 5085"/>
                <a:gd name="T30" fmla="*/ 4503 w 9986"/>
                <a:gd name="T31" fmla="*/ 2136 h 5085"/>
                <a:gd name="T32" fmla="*/ 4507 w 9986"/>
                <a:gd name="T33" fmla="*/ 2243 h 5085"/>
                <a:gd name="T34" fmla="*/ 4281 w 9986"/>
                <a:gd name="T35" fmla="*/ 2177 h 5085"/>
                <a:gd name="T36" fmla="*/ 4321 w 9986"/>
                <a:gd name="T37" fmla="*/ 2322 h 5085"/>
                <a:gd name="T38" fmla="*/ 4282 w 9986"/>
                <a:gd name="T39" fmla="*/ 2145 h 5085"/>
                <a:gd name="T40" fmla="*/ 4026 w 9986"/>
                <a:gd name="T41" fmla="*/ 2076 h 5085"/>
                <a:gd name="T42" fmla="*/ 3976 w 9986"/>
                <a:gd name="T43" fmla="*/ 2343 h 5085"/>
                <a:gd name="T44" fmla="*/ 3862 w 9986"/>
                <a:gd name="T45" fmla="*/ 2082 h 5085"/>
                <a:gd name="T46" fmla="*/ 3950 w 9986"/>
                <a:gd name="T47" fmla="*/ 2330 h 5085"/>
                <a:gd name="T48" fmla="*/ 3739 w 9986"/>
                <a:gd name="T49" fmla="*/ 2061 h 5085"/>
                <a:gd name="T50" fmla="*/ 3665 w 9986"/>
                <a:gd name="T51" fmla="*/ 2039 h 5085"/>
                <a:gd name="T52" fmla="*/ 3523 w 9986"/>
                <a:gd name="T53" fmla="*/ 2076 h 5085"/>
                <a:gd name="T54" fmla="*/ 3394 w 9986"/>
                <a:gd name="T55" fmla="*/ 2321 h 5085"/>
                <a:gd name="T56" fmla="*/ 3278 w 9986"/>
                <a:gd name="T57" fmla="*/ 2290 h 5085"/>
                <a:gd name="T58" fmla="*/ 3353 w 9986"/>
                <a:gd name="T59" fmla="*/ 2359 h 5085"/>
                <a:gd name="T60" fmla="*/ 3353 w 9986"/>
                <a:gd name="T61" fmla="*/ 2130 h 5085"/>
                <a:gd name="T62" fmla="*/ 3125 w 9986"/>
                <a:gd name="T63" fmla="*/ 2046 h 5085"/>
                <a:gd name="T64" fmla="*/ 2903 w 9986"/>
                <a:gd name="T65" fmla="*/ 2307 h 5085"/>
                <a:gd name="T66" fmla="*/ 2909 w 9986"/>
                <a:gd name="T67" fmla="*/ 2230 h 5085"/>
                <a:gd name="T68" fmla="*/ 2927 w 9986"/>
                <a:gd name="T69" fmla="*/ 2193 h 5085"/>
                <a:gd name="T70" fmla="*/ 2928 w 9986"/>
                <a:gd name="T71" fmla="*/ 2351 h 5085"/>
                <a:gd name="T72" fmla="*/ 2800 w 9986"/>
                <a:gd name="T73" fmla="*/ 2265 h 5085"/>
                <a:gd name="T74" fmla="*/ 2839 w 9986"/>
                <a:gd name="T75" fmla="*/ 2175 h 5085"/>
                <a:gd name="T76" fmla="*/ 2859 w 9986"/>
                <a:gd name="T77" fmla="*/ 2295 h 5085"/>
                <a:gd name="T78" fmla="*/ 2533 w 9986"/>
                <a:gd name="T79" fmla="*/ 2157 h 5085"/>
                <a:gd name="T80" fmla="*/ 2433 w 9986"/>
                <a:gd name="T81" fmla="*/ 2303 h 5085"/>
                <a:gd name="T82" fmla="*/ 2592 w 9986"/>
                <a:gd name="T83" fmla="*/ 2345 h 5085"/>
                <a:gd name="T84" fmla="*/ 2269 w 9986"/>
                <a:gd name="T85" fmla="*/ 2235 h 5085"/>
                <a:gd name="T86" fmla="*/ 2158 w 9986"/>
                <a:gd name="T87" fmla="*/ 2057 h 5085"/>
                <a:gd name="T88" fmla="*/ 1803 w 9986"/>
                <a:gd name="T89" fmla="*/ 2167 h 5085"/>
                <a:gd name="T90" fmla="*/ 1934 w 9986"/>
                <a:gd name="T91" fmla="*/ 2415 h 5085"/>
                <a:gd name="T92" fmla="*/ 1931 w 9986"/>
                <a:gd name="T93" fmla="*/ 2305 h 5085"/>
                <a:gd name="T94" fmla="*/ 1895 w 9986"/>
                <a:gd name="T95" fmla="*/ 2141 h 5085"/>
                <a:gd name="T96" fmla="*/ 1635 w 9986"/>
                <a:gd name="T97" fmla="*/ 2176 h 5085"/>
                <a:gd name="T98" fmla="*/ 1539 w 9986"/>
                <a:gd name="T99" fmla="*/ 2141 h 5085"/>
                <a:gd name="T100" fmla="*/ 1365 w 9986"/>
                <a:gd name="T101" fmla="*/ 2061 h 5085"/>
                <a:gd name="T102" fmla="*/ 1322 w 9986"/>
                <a:gd name="T103" fmla="*/ 2130 h 5085"/>
                <a:gd name="T104" fmla="*/ 1237 w 9986"/>
                <a:gd name="T105" fmla="*/ 2176 h 5085"/>
                <a:gd name="T106" fmla="*/ 961 w 9986"/>
                <a:gd name="T107" fmla="*/ 2254 h 5085"/>
                <a:gd name="T108" fmla="*/ 945 w 9986"/>
                <a:gd name="T109" fmla="*/ 2303 h 5085"/>
                <a:gd name="T110" fmla="*/ 918 w 9986"/>
                <a:gd name="T111" fmla="*/ 2132 h 5085"/>
                <a:gd name="T112" fmla="*/ 720 w 9986"/>
                <a:gd name="T113" fmla="*/ 2132 h 5085"/>
                <a:gd name="T114" fmla="*/ 463 w 9986"/>
                <a:gd name="T115" fmla="*/ 2167 h 5085"/>
                <a:gd name="T116" fmla="*/ 361 w 9986"/>
                <a:gd name="T117" fmla="*/ 2345 h 5085"/>
                <a:gd name="T118" fmla="*/ 520 w 9986"/>
                <a:gd name="T119" fmla="*/ 2303 h 5085"/>
                <a:gd name="T120" fmla="*/ 76 w 9986"/>
                <a:gd name="T121" fmla="*/ 2235 h 5085"/>
                <a:gd name="T122" fmla="*/ 45 w 9986"/>
                <a:gd name="T123" fmla="*/ 2357 h 508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9986" h="5085">
                  <a:moveTo>
                    <a:pt x="9986" y="81"/>
                  </a:moveTo>
                  <a:cubicBezTo>
                    <a:pt x="9986" y="41"/>
                    <a:pt x="9953" y="8"/>
                    <a:pt x="9913" y="8"/>
                  </a:cubicBezTo>
                  <a:lnTo>
                    <a:pt x="9093" y="8"/>
                  </a:lnTo>
                  <a:cubicBezTo>
                    <a:pt x="9053" y="8"/>
                    <a:pt x="9020" y="40"/>
                    <a:pt x="9020" y="81"/>
                  </a:cubicBezTo>
                  <a:cubicBezTo>
                    <a:pt x="9020" y="121"/>
                    <a:pt x="9051" y="153"/>
                    <a:pt x="9093" y="153"/>
                  </a:cubicBezTo>
                  <a:lnTo>
                    <a:pt x="9438" y="153"/>
                  </a:lnTo>
                  <a:lnTo>
                    <a:pt x="9438" y="1468"/>
                  </a:lnTo>
                  <a:lnTo>
                    <a:pt x="9572" y="1468"/>
                  </a:lnTo>
                  <a:lnTo>
                    <a:pt x="9572" y="153"/>
                  </a:lnTo>
                  <a:lnTo>
                    <a:pt x="9915" y="153"/>
                  </a:lnTo>
                  <a:cubicBezTo>
                    <a:pt x="9955" y="155"/>
                    <a:pt x="9986" y="121"/>
                    <a:pt x="9986" y="81"/>
                  </a:cubicBezTo>
                  <a:close/>
                  <a:moveTo>
                    <a:pt x="7113" y="1"/>
                  </a:moveTo>
                  <a:cubicBezTo>
                    <a:pt x="7085" y="1"/>
                    <a:pt x="7065" y="20"/>
                    <a:pt x="7051" y="43"/>
                  </a:cubicBezTo>
                  <a:cubicBezTo>
                    <a:pt x="7040" y="66"/>
                    <a:pt x="6505" y="1386"/>
                    <a:pt x="6505" y="1386"/>
                  </a:cubicBezTo>
                  <a:cubicBezTo>
                    <a:pt x="6501" y="1395"/>
                    <a:pt x="6500" y="1403"/>
                    <a:pt x="6500" y="1411"/>
                  </a:cubicBezTo>
                  <a:cubicBezTo>
                    <a:pt x="6500" y="1448"/>
                    <a:pt x="6528" y="1476"/>
                    <a:pt x="6565" y="1476"/>
                  </a:cubicBezTo>
                  <a:cubicBezTo>
                    <a:pt x="6593" y="1476"/>
                    <a:pt x="6617" y="1460"/>
                    <a:pt x="6626" y="1435"/>
                  </a:cubicBezTo>
                  <a:lnTo>
                    <a:pt x="6835" y="925"/>
                  </a:lnTo>
                  <a:lnTo>
                    <a:pt x="7393" y="925"/>
                  </a:lnTo>
                  <a:lnTo>
                    <a:pt x="7615" y="1468"/>
                  </a:lnTo>
                  <a:lnTo>
                    <a:pt x="7756" y="1468"/>
                  </a:lnTo>
                  <a:cubicBezTo>
                    <a:pt x="7756" y="1468"/>
                    <a:pt x="7188" y="65"/>
                    <a:pt x="7176" y="41"/>
                  </a:cubicBezTo>
                  <a:cubicBezTo>
                    <a:pt x="7163" y="20"/>
                    <a:pt x="7142" y="1"/>
                    <a:pt x="7113" y="1"/>
                  </a:cubicBezTo>
                  <a:moveTo>
                    <a:pt x="6895" y="780"/>
                  </a:moveTo>
                  <a:lnTo>
                    <a:pt x="7115" y="240"/>
                  </a:lnTo>
                  <a:lnTo>
                    <a:pt x="7335" y="780"/>
                  </a:lnTo>
                  <a:lnTo>
                    <a:pt x="6895" y="780"/>
                  </a:lnTo>
                  <a:close/>
                  <a:moveTo>
                    <a:pt x="4490" y="1"/>
                  </a:moveTo>
                  <a:cubicBezTo>
                    <a:pt x="4463" y="1"/>
                    <a:pt x="4441" y="20"/>
                    <a:pt x="4430" y="41"/>
                  </a:cubicBezTo>
                  <a:cubicBezTo>
                    <a:pt x="4418" y="65"/>
                    <a:pt x="3995" y="1108"/>
                    <a:pt x="3995" y="1108"/>
                  </a:cubicBezTo>
                  <a:cubicBezTo>
                    <a:pt x="3995" y="1108"/>
                    <a:pt x="3572" y="63"/>
                    <a:pt x="3560" y="41"/>
                  </a:cubicBezTo>
                  <a:cubicBezTo>
                    <a:pt x="3548" y="18"/>
                    <a:pt x="3526" y="1"/>
                    <a:pt x="3500" y="1"/>
                  </a:cubicBezTo>
                  <a:cubicBezTo>
                    <a:pt x="3468" y="1"/>
                    <a:pt x="3443" y="25"/>
                    <a:pt x="3435" y="55"/>
                  </a:cubicBezTo>
                  <a:cubicBezTo>
                    <a:pt x="3426" y="85"/>
                    <a:pt x="3188" y="1400"/>
                    <a:pt x="3188" y="1400"/>
                  </a:cubicBezTo>
                  <a:cubicBezTo>
                    <a:pt x="3188" y="1405"/>
                    <a:pt x="3186" y="1408"/>
                    <a:pt x="3186" y="1413"/>
                  </a:cubicBezTo>
                  <a:cubicBezTo>
                    <a:pt x="3186" y="1450"/>
                    <a:pt x="3216" y="1478"/>
                    <a:pt x="3251" y="1478"/>
                  </a:cubicBezTo>
                  <a:cubicBezTo>
                    <a:pt x="3283" y="1478"/>
                    <a:pt x="3310" y="1455"/>
                    <a:pt x="3316" y="1425"/>
                  </a:cubicBezTo>
                  <a:lnTo>
                    <a:pt x="3523" y="300"/>
                  </a:lnTo>
                  <a:cubicBezTo>
                    <a:pt x="3523" y="300"/>
                    <a:pt x="3921" y="1283"/>
                    <a:pt x="3933" y="1306"/>
                  </a:cubicBezTo>
                  <a:cubicBezTo>
                    <a:pt x="3945" y="1330"/>
                    <a:pt x="3966" y="1348"/>
                    <a:pt x="3995" y="1348"/>
                  </a:cubicBezTo>
                  <a:cubicBezTo>
                    <a:pt x="4022" y="1348"/>
                    <a:pt x="4045" y="1330"/>
                    <a:pt x="4056" y="1306"/>
                  </a:cubicBezTo>
                  <a:cubicBezTo>
                    <a:pt x="4068" y="1283"/>
                    <a:pt x="4466" y="300"/>
                    <a:pt x="4466" y="300"/>
                  </a:cubicBezTo>
                  <a:lnTo>
                    <a:pt x="4681" y="1470"/>
                  </a:lnTo>
                  <a:lnTo>
                    <a:pt x="4815" y="1470"/>
                  </a:lnTo>
                  <a:cubicBezTo>
                    <a:pt x="4815" y="1470"/>
                    <a:pt x="4563" y="85"/>
                    <a:pt x="4555" y="55"/>
                  </a:cubicBezTo>
                  <a:cubicBezTo>
                    <a:pt x="4545" y="25"/>
                    <a:pt x="4522" y="1"/>
                    <a:pt x="4490" y="1"/>
                  </a:cubicBezTo>
                  <a:moveTo>
                    <a:pt x="5740" y="146"/>
                  </a:moveTo>
                  <a:cubicBezTo>
                    <a:pt x="5898" y="146"/>
                    <a:pt x="6047" y="208"/>
                    <a:pt x="6158" y="320"/>
                  </a:cubicBezTo>
                  <a:cubicBezTo>
                    <a:pt x="6185" y="346"/>
                    <a:pt x="6235" y="346"/>
                    <a:pt x="6261" y="320"/>
                  </a:cubicBezTo>
                  <a:cubicBezTo>
                    <a:pt x="6275" y="306"/>
                    <a:pt x="6283" y="288"/>
                    <a:pt x="6283" y="268"/>
                  </a:cubicBezTo>
                  <a:cubicBezTo>
                    <a:pt x="6283" y="248"/>
                    <a:pt x="6275" y="230"/>
                    <a:pt x="6261" y="216"/>
                  </a:cubicBezTo>
                  <a:lnTo>
                    <a:pt x="6253" y="208"/>
                  </a:lnTo>
                  <a:cubicBezTo>
                    <a:pt x="6115" y="75"/>
                    <a:pt x="5933" y="1"/>
                    <a:pt x="5740" y="1"/>
                  </a:cubicBezTo>
                  <a:cubicBezTo>
                    <a:pt x="5333" y="1"/>
                    <a:pt x="5001" y="333"/>
                    <a:pt x="5001" y="740"/>
                  </a:cubicBezTo>
                  <a:cubicBezTo>
                    <a:pt x="5001" y="1146"/>
                    <a:pt x="5333" y="1478"/>
                    <a:pt x="5740" y="1478"/>
                  </a:cubicBezTo>
                  <a:cubicBezTo>
                    <a:pt x="5955" y="1478"/>
                    <a:pt x="6148" y="1386"/>
                    <a:pt x="6283" y="1238"/>
                  </a:cubicBezTo>
                  <a:lnTo>
                    <a:pt x="6180" y="1135"/>
                  </a:lnTo>
                  <a:cubicBezTo>
                    <a:pt x="6072" y="1255"/>
                    <a:pt x="5915" y="1331"/>
                    <a:pt x="5740" y="1331"/>
                  </a:cubicBezTo>
                  <a:cubicBezTo>
                    <a:pt x="5413" y="1331"/>
                    <a:pt x="5147" y="1065"/>
                    <a:pt x="5147" y="738"/>
                  </a:cubicBezTo>
                  <a:cubicBezTo>
                    <a:pt x="5147" y="413"/>
                    <a:pt x="5413" y="146"/>
                    <a:pt x="5740" y="146"/>
                  </a:cubicBezTo>
                  <a:moveTo>
                    <a:pt x="736" y="146"/>
                  </a:moveTo>
                  <a:cubicBezTo>
                    <a:pt x="895" y="146"/>
                    <a:pt x="1043" y="208"/>
                    <a:pt x="1156" y="320"/>
                  </a:cubicBezTo>
                  <a:cubicBezTo>
                    <a:pt x="1183" y="346"/>
                    <a:pt x="1233" y="346"/>
                    <a:pt x="1260" y="320"/>
                  </a:cubicBezTo>
                  <a:cubicBezTo>
                    <a:pt x="1273" y="306"/>
                    <a:pt x="1281" y="288"/>
                    <a:pt x="1281" y="268"/>
                  </a:cubicBezTo>
                  <a:cubicBezTo>
                    <a:pt x="1281" y="248"/>
                    <a:pt x="1275" y="230"/>
                    <a:pt x="1260" y="216"/>
                  </a:cubicBezTo>
                  <a:lnTo>
                    <a:pt x="1251" y="208"/>
                  </a:lnTo>
                  <a:cubicBezTo>
                    <a:pt x="1113" y="75"/>
                    <a:pt x="931" y="1"/>
                    <a:pt x="738" y="1"/>
                  </a:cubicBezTo>
                  <a:cubicBezTo>
                    <a:pt x="331" y="1"/>
                    <a:pt x="0" y="333"/>
                    <a:pt x="0" y="740"/>
                  </a:cubicBezTo>
                  <a:cubicBezTo>
                    <a:pt x="0" y="1146"/>
                    <a:pt x="331" y="1478"/>
                    <a:pt x="738" y="1478"/>
                  </a:cubicBezTo>
                  <a:cubicBezTo>
                    <a:pt x="953" y="1478"/>
                    <a:pt x="1147" y="1386"/>
                    <a:pt x="1281" y="1238"/>
                  </a:cubicBezTo>
                  <a:lnTo>
                    <a:pt x="1178" y="1135"/>
                  </a:lnTo>
                  <a:cubicBezTo>
                    <a:pt x="1070" y="1255"/>
                    <a:pt x="911" y="1331"/>
                    <a:pt x="738" y="1331"/>
                  </a:cubicBezTo>
                  <a:cubicBezTo>
                    <a:pt x="411" y="1331"/>
                    <a:pt x="145" y="1065"/>
                    <a:pt x="145" y="738"/>
                  </a:cubicBezTo>
                  <a:cubicBezTo>
                    <a:pt x="143" y="413"/>
                    <a:pt x="410" y="146"/>
                    <a:pt x="736" y="146"/>
                  </a:cubicBezTo>
                  <a:moveTo>
                    <a:pt x="8613" y="748"/>
                  </a:moveTo>
                  <a:cubicBezTo>
                    <a:pt x="8573" y="728"/>
                    <a:pt x="8333" y="603"/>
                    <a:pt x="8298" y="585"/>
                  </a:cubicBezTo>
                  <a:cubicBezTo>
                    <a:pt x="8172" y="520"/>
                    <a:pt x="8126" y="463"/>
                    <a:pt x="8126" y="366"/>
                  </a:cubicBezTo>
                  <a:cubicBezTo>
                    <a:pt x="8126" y="231"/>
                    <a:pt x="8236" y="145"/>
                    <a:pt x="8408" y="145"/>
                  </a:cubicBezTo>
                  <a:cubicBezTo>
                    <a:pt x="8508" y="145"/>
                    <a:pt x="8606" y="188"/>
                    <a:pt x="8663" y="221"/>
                  </a:cubicBezTo>
                  <a:cubicBezTo>
                    <a:pt x="8673" y="226"/>
                    <a:pt x="8686" y="230"/>
                    <a:pt x="8698" y="230"/>
                  </a:cubicBezTo>
                  <a:cubicBezTo>
                    <a:pt x="8738" y="230"/>
                    <a:pt x="8772" y="198"/>
                    <a:pt x="8772" y="158"/>
                  </a:cubicBezTo>
                  <a:cubicBezTo>
                    <a:pt x="8772" y="131"/>
                    <a:pt x="8756" y="108"/>
                    <a:pt x="8735" y="95"/>
                  </a:cubicBezTo>
                  <a:cubicBezTo>
                    <a:pt x="8663" y="55"/>
                    <a:pt x="8542" y="0"/>
                    <a:pt x="8410" y="0"/>
                  </a:cubicBezTo>
                  <a:cubicBezTo>
                    <a:pt x="8158" y="0"/>
                    <a:pt x="7983" y="150"/>
                    <a:pt x="7983" y="366"/>
                  </a:cubicBezTo>
                  <a:cubicBezTo>
                    <a:pt x="7983" y="560"/>
                    <a:pt x="8110" y="651"/>
                    <a:pt x="8235" y="715"/>
                  </a:cubicBezTo>
                  <a:cubicBezTo>
                    <a:pt x="8270" y="733"/>
                    <a:pt x="8513" y="858"/>
                    <a:pt x="8550" y="878"/>
                  </a:cubicBezTo>
                  <a:cubicBezTo>
                    <a:pt x="8647" y="928"/>
                    <a:pt x="8700" y="1005"/>
                    <a:pt x="8700" y="1091"/>
                  </a:cubicBezTo>
                  <a:cubicBezTo>
                    <a:pt x="8700" y="1208"/>
                    <a:pt x="8601" y="1331"/>
                    <a:pt x="8418" y="1331"/>
                  </a:cubicBezTo>
                  <a:cubicBezTo>
                    <a:pt x="8240" y="1331"/>
                    <a:pt x="8101" y="1211"/>
                    <a:pt x="8065" y="1175"/>
                  </a:cubicBezTo>
                  <a:lnTo>
                    <a:pt x="8053" y="1163"/>
                  </a:lnTo>
                  <a:lnTo>
                    <a:pt x="7945" y="1261"/>
                  </a:lnTo>
                  <a:lnTo>
                    <a:pt x="7958" y="1273"/>
                  </a:lnTo>
                  <a:cubicBezTo>
                    <a:pt x="8006" y="1320"/>
                    <a:pt x="8180" y="1475"/>
                    <a:pt x="8418" y="1475"/>
                  </a:cubicBezTo>
                  <a:cubicBezTo>
                    <a:pt x="8685" y="1475"/>
                    <a:pt x="8845" y="1278"/>
                    <a:pt x="8845" y="1088"/>
                  </a:cubicBezTo>
                  <a:cubicBezTo>
                    <a:pt x="8843" y="950"/>
                    <a:pt x="8760" y="825"/>
                    <a:pt x="8613" y="748"/>
                  </a:cubicBezTo>
                  <a:moveTo>
                    <a:pt x="2250" y="1"/>
                  </a:moveTo>
                  <a:cubicBezTo>
                    <a:pt x="1843" y="1"/>
                    <a:pt x="1511" y="333"/>
                    <a:pt x="1511" y="740"/>
                  </a:cubicBezTo>
                  <a:cubicBezTo>
                    <a:pt x="1511" y="1146"/>
                    <a:pt x="1843" y="1478"/>
                    <a:pt x="2250" y="1478"/>
                  </a:cubicBezTo>
                  <a:cubicBezTo>
                    <a:pt x="2656" y="1478"/>
                    <a:pt x="2988" y="1146"/>
                    <a:pt x="2988" y="740"/>
                  </a:cubicBezTo>
                  <a:cubicBezTo>
                    <a:pt x="2988" y="333"/>
                    <a:pt x="2656" y="1"/>
                    <a:pt x="2250" y="1"/>
                  </a:cubicBezTo>
                  <a:moveTo>
                    <a:pt x="2250" y="1331"/>
                  </a:moveTo>
                  <a:cubicBezTo>
                    <a:pt x="1923" y="1331"/>
                    <a:pt x="1656" y="1065"/>
                    <a:pt x="1656" y="738"/>
                  </a:cubicBezTo>
                  <a:cubicBezTo>
                    <a:pt x="1656" y="411"/>
                    <a:pt x="1923" y="145"/>
                    <a:pt x="2250" y="145"/>
                  </a:cubicBezTo>
                  <a:cubicBezTo>
                    <a:pt x="2576" y="145"/>
                    <a:pt x="2843" y="411"/>
                    <a:pt x="2843" y="738"/>
                  </a:cubicBezTo>
                  <a:cubicBezTo>
                    <a:pt x="2841" y="1066"/>
                    <a:pt x="2576" y="1331"/>
                    <a:pt x="2250" y="1331"/>
                  </a:cubicBezTo>
                  <a:close/>
                  <a:moveTo>
                    <a:pt x="9887" y="4438"/>
                  </a:moveTo>
                  <a:lnTo>
                    <a:pt x="9886" y="4303"/>
                  </a:lnTo>
                  <a:lnTo>
                    <a:pt x="9814" y="4415"/>
                  </a:lnTo>
                  <a:lnTo>
                    <a:pt x="9799" y="4415"/>
                  </a:lnTo>
                  <a:lnTo>
                    <a:pt x="9726" y="4306"/>
                  </a:lnTo>
                  <a:lnTo>
                    <a:pt x="9726" y="4438"/>
                  </a:lnTo>
                  <a:lnTo>
                    <a:pt x="9694" y="4438"/>
                  </a:lnTo>
                  <a:lnTo>
                    <a:pt x="9694" y="4246"/>
                  </a:lnTo>
                  <a:lnTo>
                    <a:pt x="9721" y="4246"/>
                  </a:lnTo>
                  <a:lnTo>
                    <a:pt x="9807" y="4377"/>
                  </a:lnTo>
                  <a:lnTo>
                    <a:pt x="9891" y="4246"/>
                  </a:lnTo>
                  <a:lnTo>
                    <a:pt x="9918" y="4246"/>
                  </a:lnTo>
                  <a:lnTo>
                    <a:pt x="9918" y="4438"/>
                  </a:lnTo>
                  <a:lnTo>
                    <a:pt x="9887" y="4438"/>
                  </a:lnTo>
                  <a:close/>
                  <a:moveTo>
                    <a:pt x="9492" y="4246"/>
                  </a:moveTo>
                  <a:lnTo>
                    <a:pt x="9666" y="4246"/>
                  </a:lnTo>
                  <a:lnTo>
                    <a:pt x="9666" y="4273"/>
                  </a:lnTo>
                  <a:lnTo>
                    <a:pt x="9596" y="4273"/>
                  </a:lnTo>
                  <a:lnTo>
                    <a:pt x="9596" y="4438"/>
                  </a:lnTo>
                  <a:lnTo>
                    <a:pt x="9562" y="4438"/>
                  </a:lnTo>
                  <a:lnTo>
                    <a:pt x="9562" y="4273"/>
                  </a:lnTo>
                  <a:lnTo>
                    <a:pt x="9492" y="4273"/>
                  </a:lnTo>
                  <a:lnTo>
                    <a:pt x="9492" y="4246"/>
                  </a:lnTo>
                  <a:close/>
                  <a:moveTo>
                    <a:pt x="9167" y="4896"/>
                  </a:moveTo>
                  <a:cubicBezTo>
                    <a:pt x="9133" y="4885"/>
                    <a:pt x="9105" y="4871"/>
                    <a:pt x="9086" y="4854"/>
                  </a:cubicBezTo>
                  <a:lnTo>
                    <a:pt x="9114" y="4804"/>
                  </a:lnTo>
                  <a:cubicBezTo>
                    <a:pt x="9134" y="4820"/>
                    <a:pt x="9159" y="4833"/>
                    <a:pt x="9188" y="4842"/>
                  </a:cubicBezTo>
                  <a:cubicBezTo>
                    <a:pt x="9218" y="4852"/>
                    <a:pt x="9249" y="4857"/>
                    <a:pt x="9281" y="4857"/>
                  </a:cubicBezTo>
                  <a:cubicBezTo>
                    <a:pt x="9324" y="4857"/>
                    <a:pt x="9356" y="4850"/>
                    <a:pt x="9377" y="4837"/>
                  </a:cubicBezTo>
                  <a:cubicBezTo>
                    <a:pt x="9397" y="4824"/>
                    <a:pt x="9408" y="4805"/>
                    <a:pt x="9408" y="4780"/>
                  </a:cubicBezTo>
                  <a:cubicBezTo>
                    <a:pt x="9408" y="4763"/>
                    <a:pt x="9402" y="4750"/>
                    <a:pt x="9390" y="4740"/>
                  </a:cubicBezTo>
                  <a:cubicBezTo>
                    <a:pt x="9379" y="4730"/>
                    <a:pt x="9365" y="4723"/>
                    <a:pt x="9348" y="4717"/>
                  </a:cubicBezTo>
                  <a:cubicBezTo>
                    <a:pt x="9330" y="4712"/>
                    <a:pt x="9307" y="4708"/>
                    <a:pt x="9279" y="4703"/>
                  </a:cubicBezTo>
                  <a:cubicBezTo>
                    <a:pt x="9241" y="4696"/>
                    <a:pt x="9210" y="4688"/>
                    <a:pt x="9187" y="4681"/>
                  </a:cubicBezTo>
                  <a:cubicBezTo>
                    <a:pt x="9163" y="4674"/>
                    <a:pt x="9144" y="4661"/>
                    <a:pt x="9127" y="4643"/>
                  </a:cubicBezTo>
                  <a:cubicBezTo>
                    <a:pt x="9111" y="4625"/>
                    <a:pt x="9103" y="4601"/>
                    <a:pt x="9103" y="4569"/>
                  </a:cubicBezTo>
                  <a:cubicBezTo>
                    <a:pt x="9103" y="4530"/>
                    <a:pt x="9119" y="4498"/>
                    <a:pt x="9152" y="4473"/>
                  </a:cubicBezTo>
                  <a:cubicBezTo>
                    <a:pt x="9185" y="4448"/>
                    <a:pt x="9230" y="4435"/>
                    <a:pt x="9289" y="4435"/>
                  </a:cubicBezTo>
                  <a:cubicBezTo>
                    <a:pt x="9319" y="4435"/>
                    <a:pt x="9349" y="4439"/>
                    <a:pt x="9380" y="4447"/>
                  </a:cubicBezTo>
                  <a:cubicBezTo>
                    <a:pt x="9410" y="4455"/>
                    <a:pt x="9435" y="4466"/>
                    <a:pt x="9455" y="4479"/>
                  </a:cubicBezTo>
                  <a:lnTo>
                    <a:pt x="9427" y="4530"/>
                  </a:lnTo>
                  <a:cubicBezTo>
                    <a:pt x="9388" y="4503"/>
                    <a:pt x="9342" y="4490"/>
                    <a:pt x="9289" y="4490"/>
                  </a:cubicBezTo>
                  <a:cubicBezTo>
                    <a:pt x="9248" y="4490"/>
                    <a:pt x="9218" y="4497"/>
                    <a:pt x="9197" y="4511"/>
                  </a:cubicBezTo>
                  <a:cubicBezTo>
                    <a:pt x="9176" y="4525"/>
                    <a:pt x="9166" y="4544"/>
                    <a:pt x="9166" y="4567"/>
                  </a:cubicBezTo>
                  <a:cubicBezTo>
                    <a:pt x="9166" y="4585"/>
                    <a:pt x="9172" y="4599"/>
                    <a:pt x="9184" y="4610"/>
                  </a:cubicBezTo>
                  <a:cubicBezTo>
                    <a:pt x="9195" y="4621"/>
                    <a:pt x="9210" y="4629"/>
                    <a:pt x="9227" y="4634"/>
                  </a:cubicBezTo>
                  <a:cubicBezTo>
                    <a:pt x="9244" y="4639"/>
                    <a:pt x="9268" y="4644"/>
                    <a:pt x="9298" y="4649"/>
                  </a:cubicBezTo>
                  <a:cubicBezTo>
                    <a:pt x="9336" y="4656"/>
                    <a:pt x="9366" y="4664"/>
                    <a:pt x="9389" y="4671"/>
                  </a:cubicBezTo>
                  <a:cubicBezTo>
                    <a:pt x="9411" y="4678"/>
                    <a:pt x="9431" y="4690"/>
                    <a:pt x="9447" y="4707"/>
                  </a:cubicBezTo>
                  <a:cubicBezTo>
                    <a:pt x="9463" y="4724"/>
                    <a:pt x="9471" y="4748"/>
                    <a:pt x="9471" y="4779"/>
                  </a:cubicBezTo>
                  <a:cubicBezTo>
                    <a:pt x="9471" y="4820"/>
                    <a:pt x="9454" y="4852"/>
                    <a:pt x="9420" y="4876"/>
                  </a:cubicBezTo>
                  <a:cubicBezTo>
                    <a:pt x="9385" y="4900"/>
                    <a:pt x="9338" y="4912"/>
                    <a:pt x="9277" y="4912"/>
                  </a:cubicBezTo>
                  <a:cubicBezTo>
                    <a:pt x="9239" y="4912"/>
                    <a:pt x="9202" y="4907"/>
                    <a:pt x="9167" y="4896"/>
                  </a:cubicBezTo>
                  <a:moveTo>
                    <a:pt x="8688" y="4533"/>
                  </a:moveTo>
                  <a:cubicBezTo>
                    <a:pt x="8658" y="4562"/>
                    <a:pt x="8640" y="4599"/>
                    <a:pt x="8636" y="4646"/>
                  </a:cubicBezTo>
                  <a:lnTo>
                    <a:pt x="8969" y="4646"/>
                  </a:lnTo>
                  <a:cubicBezTo>
                    <a:pt x="8965" y="4599"/>
                    <a:pt x="8948" y="4562"/>
                    <a:pt x="8917" y="4533"/>
                  </a:cubicBezTo>
                  <a:cubicBezTo>
                    <a:pt x="8886" y="4504"/>
                    <a:pt x="8848" y="4490"/>
                    <a:pt x="8802" y="4490"/>
                  </a:cubicBezTo>
                  <a:cubicBezTo>
                    <a:pt x="8757" y="4490"/>
                    <a:pt x="8719" y="4504"/>
                    <a:pt x="8688" y="4533"/>
                  </a:cubicBezTo>
                  <a:close/>
                  <a:moveTo>
                    <a:pt x="9029" y="4693"/>
                  </a:moveTo>
                  <a:lnTo>
                    <a:pt x="8636" y="4693"/>
                  </a:lnTo>
                  <a:cubicBezTo>
                    <a:pt x="8640" y="4742"/>
                    <a:pt x="8658" y="4781"/>
                    <a:pt x="8692" y="4811"/>
                  </a:cubicBezTo>
                  <a:cubicBezTo>
                    <a:pt x="8726" y="4841"/>
                    <a:pt x="8769" y="4856"/>
                    <a:pt x="8821" y="4856"/>
                  </a:cubicBezTo>
                  <a:cubicBezTo>
                    <a:pt x="8850" y="4856"/>
                    <a:pt x="8877" y="4851"/>
                    <a:pt x="8901" y="4841"/>
                  </a:cubicBezTo>
                  <a:cubicBezTo>
                    <a:pt x="8926" y="4830"/>
                    <a:pt x="8947" y="4815"/>
                    <a:pt x="8965" y="4795"/>
                  </a:cubicBezTo>
                  <a:lnTo>
                    <a:pt x="9001" y="4836"/>
                  </a:lnTo>
                  <a:cubicBezTo>
                    <a:pt x="8980" y="4861"/>
                    <a:pt x="8954" y="4880"/>
                    <a:pt x="8922" y="4893"/>
                  </a:cubicBezTo>
                  <a:cubicBezTo>
                    <a:pt x="8891" y="4906"/>
                    <a:pt x="8857" y="4912"/>
                    <a:pt x="8819" y="4912"/>
                  </a:cubicBezTo>
                  <a:cubicBezTo>
                    <a:pt x="8771" y="4912"/>
                    <a:pt x="8728" y="4902"/>
                    <a:pt x="8691" y="4882"/>
                  </a:cubicBezTo>
                  <a:cubicBezTo>
                    <a:pt x="8654" y="4861"/>
                    <a:pt x="8625" y="4833"/>
                    <a:pt x="8604" y="4796"/>
                  </a:cubicBezTo>
                  <a:cubicBezTo>
                    <a:pt x="8583" y="4760"/>
                    <a:pt x="8572" y="4719"/>
                    <a:pt x="8572" y="4673"/>
                  </a:cubicBezTo>
                  <a:cubicBezTo>
                    <a:pt x="8572" y="4628"/>
                    <a:pt x="8582" y="4587"/>
                    <a:pt x="8602" y="4550"/>
                  </a:cubicBezTo>
                  <a:cubicBezTo>
                    <a:pt x="8622" y="4514"/>
                    <a:pt x="8650" y="4486"/>
                    <a:pt x="8685" y="4466"/>
                  </a:cubicBezTo>
                  <a:cubicBezTo>
                    <a:pt x="8720" y="4445"/>
                    <a:pt x="8759" y="4435"/>
                    <a:pt x="8802" y="4435"/>
                  </a:cubicBezTo>
                  <a:cubicBezTo>
                    <a:pt x="8846" y="4435"/>
                    <a:pt x="8885" y="4445"/>
                    <a:pt x="8919" y="4466"/>
                  </a:cubicBezTo>
                  <a:cubicBezTo>
                    <a:pt x="8954" y="4486"/>
                    <a:pt x="8981" y="4514"/>
                    <a:pt x="9001" y="4550"/>
                  </a:cubicBezTo>
                  <a:cubicBezTo>
                    <a:pt x="9020" y="4586"/>
                    <a:pt x="9030" y="4627"/>
                    <a:pt x="9030" y="4673"/>
                  </a:cubicBezTo>
                  <a:lnTo>
                    <a:pt x="9029" y="4693"/>
                  </a:lnTo>
                  <a:close/>
                  <a:moveTo>
                    <a:pt x="8388" y="4439"/>
                  </a:moveTo>
                  <a:lnTo>
                    <a:pt x="8452" y="4439"/>
                  </a:lnTo>
                  <a:lnTo>
                    <a:pt x="8452" y="4908"/>
                  </a:lnTo>
                  <a:lnTo>
                    <a:pt x="8388" y="4908"/>
                  </a:lnTo>
                  <a:lnTo>
                    <a:pt x="8388" y="4439"/>
                  </a:lnTo>
                  <a:close/>
                  <a:moveTo>
                    <a:pt x="8387" y="4323"/>
                  </a:moveTo>
                  <a:cubicBezTo>
                    <a:pt x="8378" y="4314"/>
                    <a:pt x="8374" y="4303"/>
                    <a:pt x="8374" y="4291"/>
                  </a:cubicBezTo>
                  <a:cubicBezTo>
                    <a:pt x="8374" y="4279"/>
                    <a:pt x="8378" y="4268"/>
                    <a:pt x="8387" y="4260"/>
                  </a:cubicBezTo>
                  <a:cubicBezTo>
                    <a:pt x="8396" y="4251"/>
                    <a:pt x="8407" y="4246"/>
                    <a:pt x="8420" y="4246"/>
                  </a:cubicBezTo>
                  <a:cubicBezTo>
                    <a:pt x="8434" y="4246"/>
                    <a:pt x="8445" y="4250"/>
                    <a:pt x="8454" y="4259"/>
                  </a:cubicBezTo>
                  <a:cubicBezTo>
                    <a:pt x="8462" y="4268"/>
                    <a:pt x="8467" y="4278"/>
                    <a:pt x="8467" y="4290"/>
                  </a:cubicBezTo>
                  <a:cubicBezTo>
                    <a:pt x="8467" y="4303"/>
                    <a:pt x="8462" y="4314"/>
                    <a:pt x="8454" y="4323"/>
                  </a:cubicBezTo>
                  <a:cubicBezTo>
                    <a:pt x="8445" y="4332"/>
                    <a:pt x="8434" y="4336"/>
                    <a:pt x="8420" y="4336"/>
                  </a:cubicBezTo>
                  <a:cubicBezTo>
                    <a:pt x="8407" y="4336"/>
                    <a:pt x="8396" y="4332"/>
                    <a:pt x="8387" y="4323"/>
                  </a:cubicBezTo>
                  <a:close/>
                  <a:moveTo>
                    <a:pt x="8282" y="4879"/>
                  </a:moveTo>
                  <a:cubicBezTo>
                    <a:pt x="8270" y="4890"/>
                    <a:pt x="8255" y="4898"/>
                    <a:pt x="8238" y="4904"/>
                  </a:cubicBezTo>
                  <a:cubicBezTo>
                    <a:pt x="8220" y="4910"/>
                    <a:pt x="8202" y="4912"/>
                    <a:pt x="8183" y="4912"/>
                  </a:cubicBezTo>
                  <a:cubicBezTo>
                    <a:pt x="8139" y="4912"/>
                    <a:pt x="8105" y="4900"/>
                    <a:pt x="8081" y="4877"/>
                  </a:cubicBezTo>
                  <a:cubicBezTo>
                    <a:pt x="8057" y="4853"/>
                    <a:pt x="8045" y="4819"/>
                    <a:pt x="8045" y="4776"/>
                  </a:cubicBezTo>
                  <a:lnTo>
                    <a:pt x="8045" y="4492"/>
                  </a:lnTo>
                  <a:lnTo>
                    <a:pt x="7961" y="4492"/>
                  </a:lnTo>
                  <a:lnTo>
                    <a:pt x="7961" y="4439"/>
                  </a:lnTo>
                  <a:lnTo>
                    <a:pt x="8045" y="4439"/>
                  </a:lnTo>
                  <a:lnTo>
                    <a:pt x="8045" y="4336"/>
                  </a:lnTo>
                  <a:lnTo>
                    <a:pt x="8108" y="4336"/>
                  </a:lnTo>
                  <a:lnTo>
                    <a:pt x="8108" y="4439"/>
                  </a:lnTo>
                  <a:lnTo>
                    <a:pt x="8251" y="4439"/>
                  </a:lnTo>
                  <a:lnTo>
                    <a:pt x="8251" y="4492"/>
                  </a:lnTo>
                  <a:lnTo>
                    <a:pt x="8108" y="4492"/>
                  </a:lnTo>
                  <a:lnTo>
                    <a:pt x="8108" y="4772"/>
                  </a:lnTo>
                  <a:cubicBezTo>
                    <a:pt x="8108" y="4800"/>
                    <a:pt x="8115" y="4822"/>
                    <a:pt x="8129" y="4836"/>
                  </a:cubicBezTo>
                  <a:cubicBezTo>
                    <a:pt x="8143" y="4851"/>
                    <a:pt x="8164" y="4858"/>
                    <a:pt x="8190" y="4858"/>
                  </a:cubicBezTo>
                  <a:cubicBezTo>
                    <a:pt x="8203" y="4858"/>
                    <a:pt x="8216" y="4856"/>
                    <a:pt x="8228" y="4852"/>
                  </a:cubicBezTo>
                  <a:cubicBezTo>
                    <a:pt x="8240" y="4848"/>
                    <a:pt x="8251" y="4842"/>
                    <a:pt x="8260" y="4834"/>
                  </a:cubicBezTo>
                  <a:lnTo>
                    <a:pt x="8282" y="4879"/>
                  </a:lnTo>
                  <a:close/>
                  <a:moveTo>
                    <a:pt x="7803" y="4439"/>
                  </a:moveTo>
                  <a:lnTo>
                    <a:pt x="7866" y="4439"/>
                  </a:lnTo>
                  <a:lnTo>
                    <a:pt x="7866" y="4908"/>
                  </a:lnTo>
                  <a:lnTo>
                    <a:pt x="7803" y="4908"/>
                  </a:lnTo>
                  <a:lnTo>
                    <a:pt x="7803" y="4439"/>
                  </a:lnTo>
                  <a:close/>
                  <a:moveTo>
                    <a:pt x="7802" y="4323"/>
                  </a:moveTo>
                  <a:cubicBezTo>
                    <a:pt x="7793" y="4314"/>
                    <a:pt x="7788" y="4303"/>
                    <a:pt x="7788" y="4291"/>
                  </a:cubicBezTo>
                  <a:cubicBezTo>
                    <a:pt x="7788" y="4279"/>
                    <a:pt x="7793" y="4268"/>
                    <a:pt x="7802" y="4260"/>
                  </a:cubicBezTo>
                  <a:cubicBezTo>
                    <a:pt x="7811" y="4251"/>
                    <a:pt x="7822" y="4246"/>
                    <a:pt x="7835" y="4246"/>
                  </a:cubicBezTo>
                  <a:cubicBezTo>
                    <a:pt x="7848" y="4246"/>
                    <a:pt x="7859" y="4250"/>
                    <a:pt x="7868" y="4259"/>
                  </a:cubicBezTo>
                  <a:cubicBezTo>
                    <a:pt x="7877" y="4268"/>
                    <a:pt x="7881" y="4278"/>
                    <a:pt x="7881" y="4290"/>
                  </a:cubicBezTo>
                  <a:cubicBezTo>
                    <a:pt x="7881" y="4303"/>
                    <a:pt x="7877" y="4314"/>
                    <a:pt x="7868" y="4323"/>
                  </a:cubicBezTo>
                  <a:cubicBezTo>
                    <a:pt x="7859" y="4332"/>
                    <a:pt x="7848" y="4336"/>
                    <a:pt x="7835" y="4336"/>
                  </a:cubicBezTo>
                  <a:cubicBezTo>
                    <a:pt x="7822" y="4336"/>
                    <a:pt x="7811" y="4332"/>
                    <a:pt x="7802" y="4323"/>
                  </a:cubicBezTo>
                  <a:close/>
                  <a:moveTo>
                    <a:pt x="7571" y="4246"/>
                  </a:moveTo>
                  <a:lnTo>
                    <a:pt x="7635" y="4246"/>
                  </a:lnTo>
                  <a:lnTo>
                    <a:pt x="7635" y="4908"/>
                  </a:lnTo>
                  <a:lnTo>
                    <a:pt x="7571" y="4908"/>
                  </a:lnTo>
                  <a:lnTo>
                    <a:pt x="7571" y="4246"/>
                  </a:lnTo>
                  <a:close/>
                  <a:moveTo>
                    <a:pt x="7340" y="4439"/>
                  </a:moveTo>
                  <a:lnTo>
                    <a:pt x="7403" y="4439"/>
                  </a:lnTo>
                  <a:lnTo>
                    <a:pt x="7403" y="4908"/>
                  </a:lnTo>
                  <a:lnTo>
                    <a:pt x="7340" y="4908"/>
                  </a:lnTo>
                  <a:lnTo>
                    <a:pt x="7340" y="4439"/>
                  </a:lnTo>
                  <a:close/>
                  <a:moveTo>
                    <a:pt x="7339" y="4323"/>
                  </a:moveTo>
                  <a:cubicBezTo>
                    <a:pt x="7330" y="4314"/>
                    <a:pt x="7325" y="4303"/>
                    <a:pt x="7325" y="4291"/>
                  </a:cubicBezTo>
                  <a:cubicBezTo>
                    <a:pt x="7325" y="4279"/>
                    <a:pt x="7330" y="4268"/>
                    <a:pt x="7339" y="4260"/>
                  </a:cubicBezTo>
                  <a:cubicBezTo>
                    <a:pt x="7348" y="4251"/>
                    <a:pt x="7359" y="4246"/>
                    <a:pt x="7372" y="4246"/>
                  </a:cubicBezTo>
                  <a:cubicBezTo>
                    <a:pt x="7385" y="4246"/>
                    <a:pt x="7396" y="4250"/>
                    <a:pt x="7405" y="4259"/>
                  </a:cubicBezTo>
                  <a:cubicBezTo>
                    <a:pt x="7414" y="4268"/>
                    <a:pt x="7418" y="4278"/>
                    <a:pt x="7418" y="4290"/>
                  </a:cubicBezTo>
                  <a:cubicBezTo>
                    <a:pt x="7418" y="4303"/>
                    <a:pt x="7414" y="4314"/>
                    <a:pt x="7405" y="4323"/>
                  </a:cubicBezTo>
                  <a:cubicBezTo>
                    <a:pt x="7396" y="4332"/>
                    <a:pt x="7385" y="4336"/>
                    <a:pt x="7372" y="4336"/>
                  </a:cubicBezTo>
                  <a:cubicBezTo>
                    <a:pt x="7359" y="4336"/>
                    <a:pt x="7348" y="4332"/>
                    <a:pt x="7339" y="4323"/>
                  </a:cubicBezTo>
                  <a:close/>
                  <a:moveTo>
                    <a:pt x="7070" y="4833"/>
                  </a:moveTo>
                  <a:cubicBezTo>
                    <a:pt x="7096" y="4818"/>
                    <a:pt x="7117" y="4797"/>
                    <a:pt x="7133" y="4769"/>
                  </a:cubicBezTo>
                  <a:cubicBezTo>
                    <a:pt x="7148" y="4741"/>
                    <a:pt x="7155" y="4709"/>
                    <a:pt x="7155" y="4673"/>
                  </a:cubicBezTo>
                  <a:cubicBezTo>
                    <a:pt x="7155" y="4638"/>
                    <a:pt x="7148" y="4606"/>
                    <a:pt x="7133" y="4578"/>
                  </a:cubicBezTo>
                  <a:cubicBezTo>
                    <a:pt x="7117" y="4550"/>
                    <a:pt x="7096" y="4528"/>
                    <a:pt x="7070" y="4513"/>
                  </a:cubicBezTo>
                  <a:cubicBezTo>
                    <a:pt x="7043" y="4498"/>
                    <a:pt x="7013" y="4491"/>
                    <a:pt x="6980" y="4491"/>
                  </a:cubicBezTo>
                  <a:cubicBezTo>
                    <a:pt x="6947" y="4491"/>
                    <a:pt x="6917" y="4498"/>
                    <a:pt x="6890" y="4513"/>
                  </a:cubicBezTo>
                  <a:cubicBezTo>
                    <a:pt x="6864" y="4528"/>
                    <a:pt x="6843" y="4550"/>
                    <a:pt x="6828" y="4578"/>
                  </a:cubicBezTo>
                  <a:cubicBezTo>
                    <a:pt x="6813" y="4606"/>
                    <a:pt x="6805" y="4638"/>
                    <a:pt x="6805" y="4673"/>
                  </a:cubicBezTo>
                  <a:cubicBezTo>
                    <a:pt x="6805" y="4709"/>
                    <a:pt x="6813" y="4741"/>
                    <a:pt x="6828" y="4769"/>
                  </a:cubicBezTo>
                  <a:cubicBezTo>
                    <a:pt x="6843" y="4797"/>
                    <a:pt x="6864" y="4818"/>
                    <a:pt x="6890" y="4833"/>
                  </a:cubicBezTo>
                  <a:cubicBezTo>
                    <a:pt x="6917" y="4849"/>
                    <a:pt x="6947" y="4856"/>
                    <a:pt x="6980" y="4856"/>
                  </a:cubicBezTo>
                  <a:cubicBezTo>
                    <a:pt x="7013" y="4856"/>
                    <a:pt x="7043" y="4849"/>
                    <a:pt x="7070" y="4833"/>
                  </a:cubicBezTo>
                  <a:close/>
                  <a:moveTo>
                    <a:pt x="7104" y="4465"/>
                  </a:moveTo>
                  <a:cubicBezTo>
                    <a:pt x="7140" y="4485"/>
                    <a:pt x="7168" y="4513"/>
                    <a:pt x="7188" y="4549"/>
                  </a:cubicBezTo>
                  <a:cubicBezTo>
                    <a:pt x="7209" y="4586"/>
                    <a:pt x="7219" y="4627"/>
                    <a:pt x="7219" y="4673"/>
                  </a:cubicBezTo>
                  <a:cubicBezTo>
                    <a:pt x="7219" y="4720"/>
                    <a:pt x="7209" y="4761"/>
                    <a:pt x="7188" y="4797"/>
                  </a:cubicBezTo>
                  <a:cubicBezTo>
                    <a:pt x="7168" y="4834"/>
                    <a:pt x="7140" y="4862"/>
                    <a:pt x="7104" y="4882"/>
                  </a:cubicBezTo>
                  <a:cubicBezTo>
                    <a:pt x="7069" y="4902"/>
                    <a:pt x="7029" y="4912"/>
                    <a:pt x="6985" y="4912"/>
                  </a:cubicBezTo>
                  <a:cubicBezTo>
                    <a:pt x="6945" y="4912"/>
                    <a:pt x="6910" y="4904"/>
                    <a:pt x="6879" y="4887"/>
                  </a:cubicBezTo>
                  <a:cubicBezTo>
                    <a:pt x="6847" y="4871"/>
                    <a:pt x="6822" y="4847"/>
                    <a:pt x="6803" y="4815"/>
                  </a:cubicBezTo>
                  <a:lnTo>
                    <a:pt x="6803" y="4908"/>
                  </a:lnTo>
                  <a:lnTo>
                    <a:pt x="6742" y="4908"/>
                  </a:lnTo>
                  <a:lnTo>
                    <a:pt x="6742" y="4246"/>
                  </a:lnTo>
                  <a:lnTo>
                    <a:pt x="6806" y="4246"/>
                  </a:lnTo>
                  <a:lnTo>
                    <a:pt x="6806" y="4528"/>
                  </a:lnTo>
                  <a:cubicBezTo>
                    <a:pt x="6825" y="4498"/>
                    <a:pt x="6851" y="4475"/>
                    <a:pt x="6881" y="4459"/>
                  </a:cubicBezTo>
                  <a:cubicBezTo>
                    <a:pt x="6912" y="4443"/>
                    <a:pt x="6946" y="4435"/>
                    <a:pt x="6985" y="4435"/>
                  </a:cubicBezTo>
                  <a:cubicBezTo>
                    <a:pt x="7029" y="4435"/>
                    <a:pt x="7069" y="4445"/>
                    <a:pt x="7104" y="4465"/>
                  </a:cubicBezTo>
                  <a:close/>
                  <a:moveTo>
                    <a:pt x="6511" y="4439"/>
                  </a:moveTo>
                  <a:lnTo>
                    <a:pt x="6574" y="4439"/>
                  </a:lnTo>
                  <a:lnTo>
                    <a:pt x="6574" y="4908"/>
                  </a:lnTo>
                  <a:lnTo>
                    <a:pt x="6511" y="4908"/>
                  </a:lnTo>
                  <a:lnTo>
                    <a:pt x="6511" y="4439"/>
                  </a:lnTo>
                  <a:close/>
                  <a:moveTo>
                    <a:pt x="6510" y="4323"/>
                  </a:moveTo>
                  <a:cubicBezTo>
                    <a:pt x="6501" y="4314"/>
                    <a:pt x="6496" y="4303"/>
                    <a:pt x="6496" y="4291"/>
                  </a:cubicBezTo>
                  <a:cubicBezTo>
                    <a:pt x="6496" y="4279"/>
                    <a:pt x="6501" y="4268"/>
                    <a:pt x="6510" y="4260"/>
                  </a:cubicBezTo>
                  <a:cubicBezTo>
                    <a:pt x="6519" y="4251"/>
                    <a:pt x="6530" y="4246"/>
                    <a:pt x="6543" y="4246"/>
                  </a:cubicBezTo>
                  <a:cubicBezTo>
                    <a:pt x="6556" y="4246"/>
                    <a:pt x="6567" y="4250"/>
                    <a:pt x="6576" y="4259"/>
                  </a:cubicBezTo>
                  <a:cubicBezTo>
                    <a:pt x="6585" y="4268"/>
                    <a:pt x="6589" y="4278"/>
                    <a:pt x="6589" y="4290"/>
                  </a:cubicBezTo>
                  <a:cubicBezTo>
                    <a:pt x="6589" y="4303"/>
                    <a:pt x="6585" y="4314"/>
                    <a:pt x="6576" y="4323"/>
                  </a:cubicBezTo>
                  <a:cubicBezTo>
                    <a:pt x="6567" y="4332"/>
                    <a:pt x="6556" y="4336"/>
                    <a:pt x="6543" y="4336"/>
                  </a:cubicBezTo>
                  <a:cubicBezTo>
                    <a:pt x="6530" y="4336"/>
                    <a:pt x="6519" y="4332"/>
                    <a:pt x="6510" y="4323"/>
                  </a:cubicBezTo>
                  <a:close/>
                  <a:moveTo>
                    <a:pt x="6099" y="4896"/>
                  </a:moveTo>
                  <a:cubicBezTo>
                    <a:pt x="6064" y="4885"/>
                    <a:pt x="6037" y="4871"/>
                    <a:pt x="6017" y="4854"/>
                  </a:cubicBezTo>
                  <a:lnTo>
                    <a:pt x="6046" y="4804"/>
                  </a:lnTo>
                  <a:cubicBezTo>
                    <a:pt x="6066" y="4820"/>
                    <a:pt x="6090" y="4833"/>
                    <a:pt x="6120" y="4842"/>
                  </a:cubicBezTo>
                  <a:cubicBezTo>
                    <a:pt x="6150" y="4852"/>
                    <a:pt x="6181" y="4857"/>
                    <a:pt x="6213" y="4857"/>
                  </a:cubicBezTo>
                  <a:cubicBezTo>
                    <a:pt x="6256" y="4857"/>
                    <a:pt x="6288" y="4850"/>
                    <a:pt x="6308" y="4837"/>
                  </a:cubicBezTo>
                  <a:cubicBezTo>
                    <a:pt x="6329" y="4824"/>
                    <a:pt x="6339" y="4805"/>
                    <a:pt x="6339" y="4780"/>
                  </a:cubicBezTo>
                  <a:cubicBezTo>
                    <a:pt x="6339" y="4763"/>
                    <a:pt x="6333" y="4750"/>
                    <a:pt x="6322" y="4740"/>
                  </a:cubicBezTo>
                  <a:cubicBezTo>
                    <a:pt x="6311" y="4730"/>
                    <a:pt x="6296" y="4723"/>
                    <a:pt x="6279" y="4717"/>
                  </a:cubicBezTo>
                  <a:cubicBezTo>
                    <a:pt x="6262" y="4712"/>
                    <a:pt x="6239" y="4708"/>
                    <a:pt x="6210" y="4703"/>
                  </a:cubicBezTo>
                  <a:cubicBezTo>
                    <a:pt x="6172" y="4696"/>
                    <a:pt x="6141" y="4688"/>
                    <a:pt x="6118" y="4681"/>
                  </a:cubicBezTo>
                  <a:cubicBezTo>
                    <a:pt x="6095" y="4674"/>
                    <a:pt x="6075" y="4661"/>
                    <a:pt x="6059" y="4643"/>
                  </a:cubicBezTo>
                  <a:cubicBezTo>
                    <a:pt x="6042" y="4625"/>
                    <a:pt x="6034" y="4601"/>
                    <a:pt x="6034" y="4569"/>
                  </a:cubicBezTo>
                  <a:cubicBezTo>
                    <a:pt x="6034" y="4530"/>
                    <a:pt x="6051" y="4498"/>
                    <a:pt x="6083" y="4473"/>
                  </a:cubicBezTo>
                  <a:cubicBezTo>
                    <a:pt x="6116" y="4448"/>
                    <a:pt x="6162" y="4435"/>
                    <a:pt x="6220" y="4435"/>
                  </a:cubicBezTo>
                  <a:cubicBezTo>
                    <a:pt x="6251" y="4435"/>
                    <a:pt x="6281" y="4439"/>
                    <a:pt x="6311" y="4447"/>
                  </a:cubicBezTo>
                  <a:cubicBezTo>
                    <a:pt x="6342" y="4455"/>
                    <a:pt x="6367" y="4466"/>
                    <a:pt x="6386" y="4479"/>
                  </a:cubicBezTo>
                  <a:lnTo>
                    <a:pt x="6359" y="4530"/>
                  </a:lnTo>
                  <a:cubicBezTo>
                    <a:pt x="6320" y="4503"/>
                    <a:pt x="6274" y="4490"/>
                    <a:pt x="6220" y="4490"/>
                  </a:cubicBezTo>
                  <a:cubicBezTo>
                    <a:pt x="6180" y="4490"/>
                    <a:pt x="6149" y="4497"/>
                    <a:pt x="6129" y="4511"/>
                  </a:cubicBezTo>
                  <a:cubicBezTo>
                    <a:pt x="6108" y="4525"/>
                    <a:pt x="6098" y="4544"/>
                    <a:pt x="6098" y="4567"/>
                  </a:cubicBezTo>
                  <a:cubicBezTo>
                    <a:pt x="6098" y="4585"/>
                    <a:pt x="6104" y="4599"/>
                    <a:pt x="6115" y="4610"/>
                  </a:cubicBezTo>
                  <a:cubicBezTo>
                    <a:pt x="6127" y="4621"/>
                    <a:pt x="6141" y="4629"/>
                    <a:pt x="6158" y="4634"/>
                  </a:cubicBezTo>
                  <a:cubicBezTo>
                    <a:pt x="6176" y="4639"/>
                    <a:pt x="6200" y="4644"/>
                    <a:pt x="6230" y="4649"/>
                  </a:cubicBezTo>
                  <a:cubicBezTo>
                    <a:pt x="6268" y="4656"/>
                    <a:pt x="6298" y="4664"/>
                    <a:pt x="6320" y="4671"/>
                  </a:cubicBezTo>
                  <a:cubicBezTo>
                    <a:pt x="6343" y="4678"/>
                    <a:pt x="6362" y="4690"/>
                    <a:pt x="6378" y="4707"/>
                  </a:cubicBezTo>
                  <a:cubicBezTo>
                    <a:pt x="6395" y="4724"/>
                    <a:pt x="6403" y="4748"/>
                    <a:pt x="6403" y="4779"/>
                  </a:cubicBezTo>
                  <a:cubicBezTo>
                    <a:pt x="6403" y="4820"/>
                    <a:pt x="6385" y="4852"/>
                    <a:pt x="6351" y="4876"/>
                  </a:cubicBezTo>
                  <a:cubicBezTo>
                    <a:pt x="6317" y="4900"/>
                    <a:pt x="6269" y="4912"/>
                    <a:pt x="6209" y="4912"/>
                  </a:cubicBezTo>
                  <a:cubicBezTo>
                    <a:pt x="6170" y="4912"/>
                    <a:pt x="6134" y="4907"/>
                    <a:pt x="6099" y="4896"/>
                  </a:cubicBezTo>
                  <a:moveTo>
                    <a:pt x="5653" y="4896"/>
                  </a:moveTo>
                  <a:cubicBezTo>
                    <a:pt x="5618" y="4885"/>
                    <a:pt x="5591" y="4871"/>
                    <a:pt x="5571" y="4854"/>
                  </a:cubicBezTo>
                  <a:lnTo>
                    <a:pt x="5600" y="4804"/>
                  </a:lnTo>
                  <a:cubicBezTo>
                    <a:pt x="5619" y="4820"/>
                    <a:pt x="5644" y="4833"/>
                    <a:pt x="5674" y="4842"/>
                  </a:cubicBezTo>
                  <a:cubicBezTo>
                    <a:pt x="5704" y="4852"/>
                    <a:pt x="5735" y="4857"/>
                    <a:pt x="5767" y="4857"/>
                  </a:cubicBezTo>
                  <a:cubicBezTo>
                    <a:pt x="5810" y="4857"/>
                    <a:pt x="5842" y="4850"/>
                    <a:pt x="5862" y="4837"/>
                  </a:cubicBezTo>
                  <a:cubicBezTo>
                    <a:pt x="5883" y="4824"/>
                    <a:pt x="5893" y="4805"/>
                    <a:pt x="5893" y="4780"/>
                  </a:cubicBezTo>
                  <a:cubicBezTo>
                    <a:pt x="5893" y="4763"/>
                    <a:pt x="5887" y="4750"/>
                    <a:pt x="5876" y="4740"/>
                  </a:cubicBezTo>
                  <a:cubicBezTo>
                    <a:pt x="5865" y="4730"/>
                    <a:pt x="5850" y="4723"/>
                    <a:pt x="5833" y="4717"/>
                  </a:cubicBezTo>
                  <a:cubicBezTo>
                    <a:pt x="5816" y="4712"/>
                    <a:pt x="5793" y="4708"/>
                    <a:pt x="5764" y="4703"/>
                  </a:cubicBezTo>
                  <a:cubicBezTo>
                    <a:pt x="5726" y="4696"/>
                    <a:pt x="5695" y="4688"/>
                    <a:pt x="5672" y="4681"/>
                  </a:cubicBezTo>
                  <a:cubicBezTo>
                    <a:pt x="5649" y="4674"/>
                    <a:pt x="5629" y="4661"/>
                    <a:pt x="5613" y="4643"/>
                  </a:cubicBezTo>
                  <a:cubicBezTo>
                    <a:pt x="5596" y="4625"/>
                    <a:pt x="5588" y="4601"/>
                    <a:pt x="5588" y="4569"/>
                  </a:cubicBezTo>
                  <a:cubicBezTo>
                    <a:pt x="5588" y="4530"/>
                    <a:pt x="5604" y="4498"/>
                    <a:pt x="5637" y="4473"/>
                  </a:cubicBezTo>
                  <a:cubicBezTo>
                    <a:pt x="5670" y="4448"/>
                    <a:pt x="5716" y="4435"/>
                    <a:pt x="5774" y="4435"/>
                  </a:cubicBezTo>
                  <a:cubicBezTo>
                    <a:pt x="5804" y="4435"/>
                    <a:pt x="5835" y="4439"/>
                    <a:pt x="5865" y="4447"/>
                  </a:cubicBezTo>
                  <a:cubicBezTo>
                    <a:pt x="5896" y="4455"/>
                    <a:pt x="5921" y="4466"/>
                    <a:pt x="5940" y="4479"/>
                  </a:cubicBezTo>
                  <a:lnTo>
                    <a:pt x="5913" y="4530"/>
                  </a:lnTo>
                  <a:cubicBezTo>
                    <a:pt x="5874" y="4503"/>
                    <a:pt x="5828" y="4490"/>
                    <a:pt x="5774" y="4490"/>
                  </a:cubicBezTo>
                  <a:cubicBezTo>
                    <a:pt x="5734" y="4490"/>
                    <a:pt x="5703" y="4497"/>
                    <a:pt x="5682" y="4511"/>
                  </a:cubicBezTo>
                  <a:cubicBezTo>
                    <a:pt x="5662" y="4525"/>
                    <a:pt x="5652" y="4544"/>
                    <a:pt x="5652" y="4567"/>
                  </a:cubicBezTo>
                  <a:cubicBezTo>
                    <a:pt x="5652" y="4585"/>
                    <a:pt x="5657" y="4599"/>
                    <a:pt x="5669" y="4610"/>
                  </a:cubicBezTo>
                  <a:cubicBezTo>
                    <a:pt x="5681" y="4621"/>
                    <a:pt x="5695" y="4629"/>
                    <a:pt x="5712" y="4634"/>
                  </a:cubicBezTo>
                  <a:cubicBezTo>
                    <a:pt x="5730" y="4639"/>
                    <a:pt x="5754" y="4644"/>
                    <a:pt x="5784" y="4649"/>
                  </a:cubicBezTo>
                  <a:cubicBezTo>
                    <a:pt x="5821" y="4656"/>
                    <a:pt x="5852" y="4664"/>
                    <a:pt x="5874" y="4671"/>
                  </a:cubicBezTo>
                  <a:cubicBezTo>
                    <a:pt x="5897" y="4678"/>
                    <a:pt x="5916" y="4690"/>
                    <a:pt x="5932" y="4707"/>
                  </a:cubicBezTo>
                  <a:cubicBezTo>
                    <a:pt x="5948" y="4724"/>
                    <a:pt x="5956" y="4748"/>
                    <a:pt x="5956" y="4779"/>
                  </a:cubicBezTo>
                  <a:cubicBezTo>
                    <a:pt x="5956" y="4820"/>
                    <a:pt x="5939" y="4852"/>
                    <a:pt x="5905" y="4876"/>
                  </a:cubicBezTo>
                  <a:cubicBezTo>
                    <a:pt x="5871" y="4900"/>
                    <a:pt x="5823" y="4912"/>
                    <a:pt x="5762" y="4912"/>
                  </a:cubicBezTo>
                  <a:cubicBezTo>
                    <a:pt x="5724" y="4912"/>
                    <a:pt x="5688" y="4907"/>
                    <a:pt x="5653" y="4896"/>
                  </a:cubicBezTo>
                  <a:moveTo>
                    <a:pt x="5367" y="4833"/>
                  </a:moveTo>
                  <a:cubicBezTo>
                    <a:pt x="5393" y="4818"/>
                    <a:pt x="5414" y="4797"/>
                    <a:pt x="5429" y="4769"/>
                  </a:cubicBezTo>
                  <a:cubicBezTo>
                    <a:pt x="5444" y="4741"/>
                    <a:pt x="5451" y="4709"/>
                    <a:pt x="5451" y="4673"/>
                  </a:cubicBezTo>
                  <a:cubicBezTo>
                    <a:pt x="5451" y="4638"/>
                    <a:pt x="5444" y="4606"/>
                    <a:pt x="5429" y="4578"/>
                  </a:cubicBezTo>
                  <a:cubicBezTo>
                    <a:pt x="5414" y="4550"/>
                    <a:pt x="5393" y="4528"/>
                    <a:pt x="5367" y="4513"/>
                  </a:cubicBezTo>
                  <a:cubicBezTo>
                    <a:pt x="5340" y="4498"/>
                    <a:pt x="5310" y="4491"/>
                    <a:pt x="5277" y="4491"/>
                  </a:cubicBezTo>
                  <a:cubicBezTo>
                    <a:pt x="5244" y="4491"/>
                    <a:pt x="5214" y="4498"/>
                    <a:pt x="5187" y="4513"/>
                  </a:cubicBezTo>
                  <a:cubicBezTo>
                    <a:pt x="5161" y="4528"/>
                    <a:pt x="5140" y="4550"/>
                    <a:pt x="5124" y="4578"/>
                  </a:cubicBezTo>
                  <a:cubicBezTo>
                    <a:pt x="5109" y="4606"/>
                    <a:pt x="5102" y="4638"/>
                    <a:pt x="5102" y="4673"/>
                  </a:cubicBezTo>
                  <a:cubicBezTo>
                    <a:pt x="5102" y="4709"/>
                    <a:pt x="5109" y="4741"/>
                    <a:pt x="5124" y="4769"/>
                  </a:cubicBezTo>
                  <a:cubicBezTo>
                    <a:pt x="5140" y="4797"/>
                    <a:pt x="5161" y="4818"/>
                    <a:pt x="5187" y="4833"/>
                  </a:cubicBezTo>
                  <a:cubicBezTo>
                    <a:pt x="5214" y="4849"/>
                    <a:pt x="5244" y="4856"/>
                    <a:pt x="5277" y="4856"/>
                  </a:cubicBezTo>
                  <a:cubicBezTo>
                    <a:pt x="5310" y="4856"/>
                    <a:pt x="5340" y="4849"/>
                    <a:pt x="5367" y="4833"/>
                  </a:cubicBezTo>
                  <a:close/>
                  <a:moveTo>
                    <a:pt x="5154" y="4882"/>
                  </a:moveTo>
                  <a:cubicBezTo>
                    <a:pt x="5118" y="4861"/>
                    <a:pt x="5089" y="4833"/>
                    <a:pt x="5069" y="4796"/>
                  </a:cubicBezTo>
                  <a:cubicBezTo>
                    <a:pt x="5048" y="4760"/>
                    <a:pt x="5037" y="4719"/>
                    <a:pt x="5037" y="4673"/>
                  </a:cubicBezTo>
                  <a:cubicBezTo>
                    <a:pt x="5037" y="4628"/>
                    <a:pt x="5048" y="4587"/>
                    <a:pt x="5069" y="4550"/>
                  </a:cubicBezTo>
                  <a:cubicBezTo>
                    <a:pt x="5089" y="4514"/>
                    <a:pt x="5118" y="4486"/>
                    <a:pt x="5154" y="4466"/>
                  </a:cubicBezTo>
                  <a:cubicBezTo>
                    <a:pt x="5191" y="4445"/>
                    <a:pt x="5232" y="4435"/>
                    <a:pt x="5277" y="4435"/>
                  </a:cubicBezTo>
                  <a:cubicBezTo>
                    <a:pt x="5322" y="4435"/>
                    <a:pt x="5363" y="4445"/>
                    <a:pt x="5399" y="4466"/>
                  </a:cubicBezTo>
                  <a:cubicBezTo>
                    <a:pt x="5436" y="4486"/>
                    <a:pt x="5464" y="4514"/>
                    <a:pt x="5485" y="4550"/>
                  </a:cubicBezTo>
                  <a:cubicBezTo>
                    <a:pt x="5505" y="4587"/>
                    <a:pt x="5516" y="4628"/>
                    <a:pt x="5516" y="4673"/>
                  </a:cubicBezTo>
                  <a:cubicBezTo>
                    <a:pt x="5516" y="4719"/>
                    <a:pt x="5505" y="4760"/>
                    <a:pt x="5485" y="4796"/>
                  </a:cubicBezTo>
                  <a:cubicBezTo>
                    <a:pt x="5464" y="4833"/>
                    <a:pt x="5436" y="4861"/>
                    <a:pt x="5399" y="4882"/>
                  </a:cubicBezTo>
                  <a:cubicBezTo>
                    <a:pt x="5363" y="4902"/>
                    <a:pt x="5322" y="4912"/>
                    <a:pt x="5277" y="4912"/>
                  </a:cubicBezTo>
                  <a:cubicBezTo>
                    <a:pt x="5232" y="4912"/>
                    <a:pt x="5191" y="4902"/>
                    <a:pt x="5154" y="4882"/>
                  </a:cubicBezTo>
                  <a:close/>
                  <a:moveTo>
                    <a:pt x="4869" y="4612"/>
                  </a:moveTo>
                  <a:cubicBezTo>
                    <a:pt x="4902" y="4585"/>
                    <a:pt x="4918" y="4547"/>
                    <a:pt x="4918" y="4498"/>
                  </a:cubicBezTo>
                  <a:cubicBezTo>
                    <a:pt x="4918" y="4447"/>
                    <a:pt x="4902" y="4408"/>
                    <a:pt x="4869" y="4381"/>
                  </a:cubicBezTo>
                  <a:cubicBezTo>
                    <a:pt x="4836" y="4354"/>
                    <a:pt x="4789" y="4341"/>
                    <a:pt x="4727" y="4341"/>
                  </a:cubicBezTo>
                  <a:lnTo>
                    <a:pt x="4561" y="4341"/>
                  </a:lnTo>
                  <a:lnTo>
                    <a:pt x="4561" y="4653"/>
                  </a:lnTo>
                  <a:lnTo>
                    <a:pt x="4727" y="4653"/>
                  </a:lnTo>
                  <a:cubicBezTo>
                    <a:pt x="4789" y="4653"/>
                    <a:pt x="4836" y="4639"/>
                    <a:pt x="4869" y="4612"/>
                  </a:cubicBezTo>
                  <a:close/>
                  <a:moveTo>
                    <a:pt x="4917" y="4341"/>
                  </a:moveTo>
                  <a:cubicBezTo>
                    <a:pt x="4962" y="4379"/>
                    <a:pt x="4985" y="4431"/>
                    <a:pt x="4985" y="4498"/>
                  </a:cubicBezTo>
                  <a:cubicBezTo>
                    <a:pt x="4985" y="4564"/>
                    <a:pt x="4962" y="4616"/>
                    <a:pt x="4917" y="4654"/>
                  </a:cubicBezTo>
                  <a:cubicBezTo>
                    <a:pt x="4871" y="4692"/>
                    <a:pt x="4809" y="4711"/>
                    <a:pt x="4729" y="4711"/>
                  </a:cubicBezTo>
                  <a:lnTo>
                    <a:pt x="4561" y="4711"/>
                  </a:lnTo>
                  <a:lnTo>
                    <a:pt x="4561" y="4908"/>
                  </a:lnTo>
                  <a:lnTo>
                    <a:pt x="4495" y="4908"/>
                  </a:lnTo>
                  <a:lnTo>
                    <a:pt x="4495" y="4284"/>
                  </a:lnTo>
                  <a:lnTo>
                    <a:pt x="4729" y="4284"/>
                  </a:lnTo>
                  <a:cubicBezTo>
                    <a:pt x="4809" y="4284"/>
                    <a:pt x="4871" y="4303"/>
                    <a:pt x="4917" y="4341"/>
                  </a:cubicBezTo>
                  <a:moveTo>
                    <a:pt x="3939" y="4812"/>
                  </a:moveTo>
                  <a:cubicBezTo>
                    <a:pt x="3966" y="4797"/>
                    <a:pt x="3987" y="4777"/>
                    <a:pt x="4002" y="4751"/>
                  </a:cubicBezTo>
                  <a:cubicBezTo>
                    <a:pt x="4018" y="4725"/>
                    <a:pt x="4025" y="4695"/>
                    <a:pt x="4025" y="4662"/>
                  </a:cubicBezTo>
                  <a:cubicBezTo>
                    <a:pt x="4025" y="4628"/>
                    <a:pt x="4018" y="4599"/>
                    <a:pt x="4002" y="4573"/>
                  </a:cubicBezTo>
                  <a:cubicBezTo>
                    <a:pt x="3987" y="4547"/>
                    <a:pt x="3966" y="4527"/>
                    <a:pt x="3939" y="4512"/>
                  </a:cubicBezTo>
                  <a:cubicBezTo>
                    <a:pt x="3912" y="4498"/>
                    <a:pt x="3881" y="4491"/>
                    <a:pt x="3846" y="4491"/>
                  </a:cubicBezTo>
                  <a:cubicBezTo>
                    <a:pt x="3812" y="4491"/>
                    <a:pt x="3782" y="4498"/>
                    <a:pt x="3755" y="4512"/>
                  </a:cubicBezTo>
                  <a:cubicBezTo>
                    <a:pt x="3728" y="4526"/>
                    <a:pt x="3707" y="4546"/>
                    <a:pt x="3691" y="4573"/>
                  </a:cubicBezTo>
                  <a:cubicBezTo>
                    <a:pt x="3676" y="4599"/>
                    <a:pt x="3669" y="4628"/>
                    <a:pt x="3669" y="4662"/>
                  </a:cubicBezTo>
                  <a:cubicBezTo>
                    <a:pt x="3669" y="4695"/>
                    <a:pt x="3676" y="4725"/>
                    <a:pt x="3691" y="4751"/>
                  </a:cubicBezTo>
                  <a:cubicBezTo>
                    <a:pt x="3707" y="4777"/>
                    <a:pt x="3728" y="4797"/>
                    <a:pt x="3755" y="4812"/>
                  </a:cubicBezTo>
                  <a:cubicBezTo>
                    <a:pt x="3782" y="4827"/>
                    <a:pt x="3812" y="4834"/>
                    <a:pt x="3846" y="4834"/>
                  </a:cubicBezTo>
                  <a:cubicBezTo>
                    <a:pt x="3880" y="4834"/>
                    <a:pt x="3911" y="4827"/>
                    <a:pt x="3939" y="4812"/>
                  </a:cubicBezTo>
                  <a:moveTo>
                    <a:pt x="4087" y="4439"/>
                  </a:moveTo>
                  <a:lnTo>
                    <a:pt x="4087" y="4851"/>
                  </a:lnTo>
                  <a:cubicBezTo>
                    <a:pt x="4087" y="4930"/>
                    <a:pt x="4067" y="4990"/>
                    <a:pt x="4028" y="5028"/>
                  </a:cubicBezTo>
                  <a:cubicBezTo>
                    <a:pt x="3989" y="5066"/>
                    <a:pt x="3930" y="5085"/>
                    <a:pt x="3852" y="5085"/>
                  </a:cubicBezTo>
                  <a:cubicBezTo>
                    <a:pt x="3808" y="5085"/>
                    <a:pt x="3767" y="5079"/>
                    <a:pt x="3728" y="5066"/>
                  </a:cubicBezTo>
                  <a:cubicBezTo>
                    <a:pt x="3689" y="5053"/>
                    <a:pt x="3657" y="5036"/>
                    <a:pt x="3633" y="5013"/>
                  </a:cubicBezTo>
                  <a:lnTo>
                    <a:pt x="3665" y="4965"/>
                  </a:lnTo>
                  <a:cubicBezTo>
                    <a:pt x="3688" y="4985"/>
                    <a:pt x="3715" y="5001"/>
                    <a:pt x="3748" y="5012"/>
                  </a:cubicBezTo>
                  <a:cubicBezTo>
                    <a:pt x="3780" y="5024"/>
                    <a:pt x="3814" y="5029"/>
                    <a:pt x="3850" y="5029"/>
                  </a:cubicBezTo>
                  <a:cubicBezTo>
                    <a:pt x="3910" y="5029"/>
                    <a:pt x="3953" y="5015"/>
                    <a:pt x="3981" y="4988"/>
                  </a:cubicBezTo>
                  <a:cubicBezTo>
                    <a:pt x="4009" y="4960"/>
                    <a:pt x="4023" y="4917"/>
                    <a:pt x="4023" y="4859"/>
                  </a:cubicBezTo>
                  <a:lnTo>
                    <a:pt x="4023" y="4799"/>
                  </a:lnTo>
                  <a:cubicBezTo>
                    <a:pt x="4004" y="4829"/>
                    <a:pt x="3978" y="4851"/>
                    <a:pt x="3946" y="4867"/>
                  </a:cubicBezTo>
                  <a:cubicBezTo>
                    <a:pt x="3914" y="4882"/>
                    <a:pt x="3879" y="4890"/>
                    <a:pt x="3840" y="4890"/>
                  </a:cubicBezTo>
                  <a:cubicBezTo>
                    <a:pt x="3796" y="4890"/>
                    <a:pt x="3756" y="4880"/>
                    <a:pt x="3720" y="4861"/>
                  </a:cubicBezTo>
                  <a:cubicBezTo>
                    <a:pt x="3684" y="4842"/>
                    <a:pt x="3656" y="4815"/>
                    <a:pt x="3635" y="4780"/>
                  </a:cubicBezTo>
                  <a:cubicBezTo>
                    <a:pt x="3614" y="4745"/>
                    <a:pt x="3604" y="4706"/>
                    <a:pt x="3604" y="4662"/>
                  </a:cubicBezTo>
                  <a:cubicBezTo>
                    <a:pt x="3604" y="4618"/>
                    <a:pt x="3614" y="4578"/>
                    <a:pt x="3635" y="4544"/>
                  </a:cubicBezTo>
                  <a:cubicBezTo>
                    <a:pt x="3656" y="4510"/>
                    <a:pt x="3684" y="4483"/>
                    <a:pt x="3719" y="4464"/>
                  </a:cubicBezTo>
                  <a:cubicBezTo>
                    <a:pt x="3755" y="4445"/>
                    <a:pt x="3795" y="4435"/>
                    <a:pt x="3840" y="4435"/>
                  </a:cubicBezTo>
                  <a:cubicBezTo>
                    <a:pt x="3880" y="4435"/>
                    <a:pt x="3916" y="4443"/>
                    <a:pt x="3948" y="4459"/>
                  </a:cubicBezTo>
                  <a:cubicBezTo>
                    <a:pt x="3981" y="4475"/>
                    <a:pt x="4006" y="4499"/>
                    <a:pt x="4026" y="4529"/>
                  </a:cubicBezTo>
                  <a:lnTo>
                    <a:pt x="4026" y="4439"/>
                  </a:lnTo>
                  <a:lnTo>
                    <a:pt x="4087" y="4439"/>
                  </a:lnTo>
                  <a:close/>
                  <a:moveTo>
                    <a:pt x="3453" y="4487"/>
                  </a:moveTo>
                  <a:cubicBezTo>
                    <a:pt x="3487" y="4521"/>
                    <a:pt x="3505" y="4570"/>
                    <a:pt x="3505" y="4636"/>
                  </a:cubicBezTo>
                  <a:lnTo>
                    <a:pt x="3505" y="4908"/>
                  </a:lnTo>
                  <a:lnTo>
                    <a:pt x="3441" y="4908"/>
                  </a:lnTo>
                  <a:lnTo>
                    <a:pt x="3441" y="4642"/>
                  </a:lnTo>
                  <a:cubicBezTo>
                    <a:pt x="3441" y="4593"/>
                    <a:pt x="3429" y="4556"/>
                    <a:pt x="3405" y="4531"/>
                  </a:cubicBezTo>
                  <a:cubicBezTo>
                    <a:pt x="3380" y="4505"/>
                    <a:pt x="3345" y="4492"/>
                    <a:pt x="3300" y="4492"/>
                  </a:cubicBezTo>
                  <a:cubicBezTo>
                    <a:pt x="3249" y="4492"/>
                    <a:pt x="3209" y="4507"/>
                    <a:pt x="3180" y="4537"/>
                  </a:cubicBezTo>
                  <a:cubicBezTo>
                    <a:pt x="3150" y="4567"/>
                    <a:pt x="3136" y="4609"/>
                    <a:pt x="3136" y="4662"/>
                  </a:cubicBezTo>
                  <a:lnTo>
                    <a:pt x="3136" y="4908"/>
                  </a:lnTo>
                  <a:lnTo>
                    <a:pt x="3072" y="4908"/>
                  </a:lnTo>
                  <a:lnTo>
                    <a:pt x="3072" y="4439"/>
                  </a:lnTo>
                  <a:lnTo>
                    <a:pt x="3133" y="4439"/>
                  </a:lnTo>
                  <a:lnTo>
                    <a:pt x="3133" y="4525"/>
                  </a:lnTo>
                  <a:cubicBezTo>
                    <a:pt x="3150" y="4497"/>
                    <a:pt x="3174" y="4475"/>
                    <a:pt x="3205" y="4459"/>
                  </a:cubicBezTo>
                  <a:cubicBezTo>
                    <a:pt x="3236" y="4443"/>
                    <a:pt x="3271" y="4435"/>
                    <a:pt x="3312" y="4435"/>
                  </a:cubicBezTo>
                  <a:cubicBezTo>
                    <a:pt x="3371" y="4435"/>
                    <a:pt x="3418" y="4452"/>
                    <a:pt x="3453" y="4487"/>
                  </a:cubicBezTo>
                  <a:close/>
                  <a:moveTo>
                    <a:pt x="2858" y="4439"/>
                  </a:moveTo>
                  <a:lnTo>
                    <a:pt x="2922" y="4439"/>
                  </a:lnTo>
                  <a:lnTo>
                    <a:pt x="2922" y="4908"/>
                  </a:lnTo>
                  <a:lnTo>
                    <a:pt x="2858" y="4908"/>
                  </a:lnTo>
                  <a:lnTo>
                    <a:pt x="2858" y="4439"/>
                  </a:lnTo>
                  <a:close/>
                  <a:moveTo>
                    <a:pt x="2858" y="4323"/>
                  </a:moveTo>
                  <a:cubicBezTo>
                    <a:pt x="2849" y="4314"/>
                    <a:pt x="2844" y="4303"/>
                    <a:pt x="2844" y="4291"/>
                  </a:cubicBezTo>
                  <a:cubicBezTo>
                    <a:pt x="2844" y="4279"/>
                    <a:pt x="2849" y="4268"/>
                    <a:pt x="2858" y="4260"/>
                  </a:cubicBezTo>
                  <a:cubicBezTo>
                    <a:pt x="2867" y="4251"/>
                    <a:pt x="2878" y="4246"/>
                    <a:pt x="2891" y="4246"/>
                  </a:cubicBezTo>
                  <a:cubicBezTo>
                    <a:pt x="2904" y="4246"/>
                    <a:pt x="2915" y="4250"/>
                    <a:pt x="2924" y="4259"/>
                  </a:cubicBezTo>
                  <a:cubicBezTo>
                    <a:pt x="2933" y="4268"/>
                    <a:pt x="2937" y="4278"/>
                    <a:pt x="2937" y="4290"/>
                  </a:cubicBezTo>
                  <a:cubicBezTo>
                    <a:pt x="2937" y="4303"/>
                    <a:pt x="2933" y="4314"/>
                    <a:pt x="2924" y="4323"/>
                  </a:cubicBezTo>
                  <a:cubicBezTo>
                    <a:pt x="2915" y="4332"/>
                    <a:pt x="2904" y="4336"/>
                    <a:pt x="2891" y="4336"/>
                  </a:cubicBezTo>
                  <a:cubicBezTo>
                    <a:pt x="2878" y="4336"/>
                    <a:pt x="2867" y="4332"/>
                    <a:pt x="2858" y="4323"/>
                  </a:cubicBezTo>
                  <a:close/>
                  <a:moveTo>
                    <a:pt x="2643" y="4459"/>
                  </a:moveTo>
                  <a:cubicBezTo>
                    <a:pt x="2673" y="4443"/>
                    <a:pt x="2710" y="4435"/>
                    <a:pt x="2753" y="4435"/>
                  </a:cubicBezTo>
                  <a:lnTo>
                    <a:pt x="2753" y="4497"/>
                  </a:lnTo>
                  <a:lnTo>
                    <a:pt x="2738" y="4496"/>
                  </a:lnTo>
                  <a:cubicBezTo>
                    <a:pt x="2688" y="4496"/>
                    <a:pt x="2650" y="4511"/>
                    <a:pt x="2622" y="4541"/>
                  </a:cubicBezTo>
                  <a:cubicBezTo>
                    <a:pt x="2594" y="4572"/>
                    <a:pt x="2580" y="4614"/>
                    <a:pt x="2580" y="4669"/>
                  </a:cubicBezTo>
                  <a:lnTo>
                    <a:pt x="2580" y="4908"/>
                  </a:lnTo>
                  <a:lnTo>
                    <a:pt x="2516" y="4908"/>
                  </a:lnTo>
                  <a:lnTo>
                    <a:pt x="2516" y="4439"/>
                  </a:lnTo>
                  <a:lnTo>
                    <a:pt x="2577" y="4439"/>
                  </a:lnTo>
                  <a:lnTo>
                    <a:pt x="2577" y="4531"/>
                  </a:lnTo>
                  <a:cubicBezTo>
                    <a:pt x="2592" y="4499"/>
                    <a:pt x="2614" y="4475"/>
                    <a:pt x="2643" y="4459"/>
                  </a:cubicBezTo>
                  <a:close/>
                  <a:moveTo>
                    <a:pt x="2053" y="4533"/>
                  </a:moveTo>
                  <a:cubicBezTo>
                    <a:pt x="2023" y="4562"/>
                    <a:pt x="2005" y="4599"/>
                    <a:pt x="2001" y="4646"/>
                  </a:cubicBezTo>
                  <a:lnTo>
                    <a:pt x="2335" y="4646"/>
                  </a:lnTo>
                  <a:cubicBezTo>
                    <a:pt x="2330" y="4599"/>
                    <a:pt x="2313" y="4562"/>
                    <a:pt x="2282" y="4533"/>
                  </a:cubicBezTo>
                  <a:cubicBezTo>
                    <a:pt x="2252" y="4504"/>
                    <a:pt x="2213" y="4490"/>
                    <a:pt x="2167" y="4490"/>
                  </a:cubicBezTo>
                  <a:cubicBezTo>
                    <a:pt x="2122" y="4490"/>
                    <a:pt x="2084" y="4504"/>
                    <a:pt x="2053" y="4533"/>
                  </a:cubicBezTo>
                  <a:close/>
                  <a:moveTo>
                    <a:pt x="2395" y="4693"/>
                  </a:moveTo>
                  <a:lnTo>
                    <a:pt x="2001" y="4693"/>
                  </a:lnTo>
                  <a:cubicBezTo>
                    <a:pt x="2005" y="4742"/>
                    <a:pt x="2023" y="4781"/>
                    <a:pt x="2057" y="4811"/>
                  </a:cubicBezTo>
                  <a:cubicBezTo>
                    <a:pt x="2091" y="4841"/>
                    <a:pt x="2134" y="4856"/>
                    <a:pt x="2186" y="4856"/>
                  </a:cubicBezTo>
                  <a:cubicBezTo>
                    <a:pt x="2215" y="4856"/>
                    <a:pt x="2242" y="4851"/>
                    <a:pt x="2267" y="4841"/>
                  </a:cubicBezTo>
                  <a:cubicBezTo>
                    <a:pt x="2291" y="4830"/>
                    <a:pt x="2312" y="4815"/>
                    <a:pt x="2330" y="4795"/>
                  </a:cubicBezTo>
                  <a:lnTo>
                    <a:pt x="2366" y="4836"/>
                  </a:lnTo>
                  <a:cubicBezTo>
                    <a:pt x="2345" y="4861"/>
                    <a:pt x="2319" y="4880"/>
                    <a:pt x="2288" y="4893"/>
                  </a:cubicBezTo>
                  <a:cubicBezTo>
                    <a:pt x="2256" y="4906"/>
                    <a:pt x="2222" y="4912"/>
                    <a:pt x="2184" y="4912"/>
                  </a:cubicBezTo>
                  <a:cubicBezTo>
                    <a:pt x="2136" y="4912"/>
                    <a:pt x="2093" y="4902"/>
                    <a:pt x="2056" y="4882"/>
                  </a:cubicBezTo>
                  <a:cubicBezTo>
                    <a:pt x="2019" y="4861"/>
                    <a:pt x="1990" y="4833"/>
                    <a:pt x="1969" y="4796"/>
                  </a:cubicBezTo>
                  <a:cubicBezTo>
                    <a:pt x="1948" y="4760"/>
                    <a:pt x="1938" y="4719"/>
                    <a:pt x="1938" y="4673"/>
                  </a:cubicBezTo>
                  <a:cubicBezTo>
                    <a:pt x="1938" y="4628"/>
                    <a:pt x="1948" y="4587"/>
                    <a:pt x="1968" y="4550"/>
                  </a:cubicBezTo>
                  <a:cubicBezTo>
                    <a:pt x="1988" y="4514"/>
                    <a:pt x="2015" y="4486"/>
                    <a:pt x="2050" y="4466"/>
                  </a:cubicBezTo>
                  <a:cubicBezTo>
                    <a:pt x="2085" y="4445"/>
                    <a:pt x="2124" y="4435"/>
                    <a:pt x="2167" y="4435"/>
                  </a:cubicBezTo>
                  <a:cubicBezTo>
                    <a:pt x="2211" y="4435"/>
                    <a:pt x="2250" y="4445"/>
                    <a:pt x="2285" y="4466"/>
                  </a:cubicBezTo>
                  <a:cubicBezTo>
                    <a:pt x="2319" y="4486"/>
                    <a:pt x="2346" y="4514"/>
                    <a:pt x="2366" y="4550"/>
                  </a:cubicBezTo>
                  <a:cubicBezTo>
                    <a:pt x="2386" y="4586"/>
                    <a:pt x="2395" y="4627"/>
                    <a:pt x="2395" y="4673"/>
                  </a:cubicBezTo>
                  <a:lnTo>
                    <a:pt x="2395" y="4693"/>
                  </a:lnTo>
                  <a:close/>
                  <a:moveTo>
                    <a:pt x="1912" y="4439"/>
                  </a:moveTo>
                  <a:lnTo>
                    <a:pt x="1734" y="4908"/>
                  </a:lnTo>
                  <a:lnTo>
                    <a:pt x="1674" y="4908"/>
                  </a:lnTo>
                  <a:lnTo>
                    <a:pt x="1525" y="4524"/>
                  </a:lnTo>
                  <a:lnTo>
                    <a:pt x="1377" y="4908"/>
                  </a:lnTo>
                  <a:lnTo>
                    <a:pt x="1317" y="4908"/>
                  </a:lnTo>
                  <a:lnTo>
                    <a:pt x="1140" y="4439"/>
                  </a:lnTo>
                  <a:lnTo>
                    <a:pt x="1201" y="4439"/>
                  </a:lnTo>
                  <a:lnTo>
                    <a:pt x="1348" y="4837"/>
                  </a:lnTo>
                  <a:lnTo>
                    <a:pt x="1500" y="4439"/>
                  </a:lnTo>
                  <a:lnTo>
                    <a:pt x="1554" y="4439"/>
                  </a:lnTo>
                  <a:lnTo>
                    <a:pt x="1704" y="4837"/>
                  </a:lnTo>
                  <a:lnTo>
                    <a:pt x="1854" y="4439"/>
                  </a:lnTo>
                  <a:lnTo>
                    <a:pt x="1912" y="4439"/>
                  </a:lnTo>
                  <a:close/>
                  <a:moveTo>
                    <a:pt x="965" y="4833"/>
                  </a:moveTo>
                  <a:cubicBezTo>
                    <a:pt x="992" y="4818"/>
                    <a:pt x="1013" y="4797"/>
                    <a:pt x="1027" y="4769"/>
                  </a:cubicBezTo>
                  <a:cubicBezTo>
                    <a:pt x="1042" y="4741"/>
                    <a:pt x="1050" y="4709"/>
                    <a:pt x="1050" y="4673"/>
                  </a:cubicBezTo>
                  <a:cubicBezTo>
                    <a:pt x="1050" y="4638"/>
                    <a:pt x="1042" y="4606"/>
                    <a:pt x="1027" y="4578"/>
                  </a:cubicBezTo>
                  <a:cubicBezTo>
                    <a:pt x="1013" y="4550"/>
                    <a:pt x="992" y="4528"/>
                    <a:pt x="965" y="4513"/>
                  </a:cubicBezTo>
                  <a:cubicBezTo>
                    <a:pt x="939" y="4498"/>
                    <a:pt x="909" y="4491"/>
                    <a:pt x="875" y="4491"/>
                  </a:cubicBezTo>
                  <a:cubicBezTo>
                    <a:pt x="842" y="4491"/>
                    <a:pt x="812" y="4498"/>
                    <a:pt x="786" y="4513"/>
                  </a:cubicBezTo>
                  <a:cubicBezTo>
                    <a:pt x="759" y="4528"/>
                    <a:pt x="738" y="4550"/>
                    <a:pt x="723" y="4578"/>
                  </a:cubicBezTo>
                  <a:cubicBezTo>
                    <a:pt x="708" y="4606"/>
                    <a:pt x="700" y="4638"/>
                    <a:pt x="700" y="4673"/>
                  </a:cubicBezTo>
                  <a:cubicBezTo>
                    <a:pt x="700" y="4709"/>
                    <a:pt x="708" y="4741"/>
                    <a:pt x="723" y="4769"/>
                  </a:cubicBezTo>
                  <a:cubicBezTo>
                    <a:pt x="738" y="4797"/>
                    <a:pt x="759" y="4818"/>
                    <a:pt x="786" y="4833"/>
                  </a:cubicBezTo>
                  <a:cubicBezTo>
                    <a:pt x="812" y="4849"/>
                    <a:pt x="842" y="4856"/>
                    <a:pt x="875" y="4856"/>
                  </a:cubicBezTo>
                  <a:cubicBezTo>
                    <a:pt x="909" y="4856"/>
                    <a:pt x="939" y="4849"/>
                    <a:pt x="965" y="4833"/>
                  </a:cubicBezTo>
                  <a:close/>
                  <a:moveTo>
                    <a:pt x="753" y="4882"/>
                  </a:moveTo>
                  <a:cubicBezTo>
                    <a:pt x="717" y="4861"/>
                    <a:pt x="688" y="4833"/>
                    <a:pt x="667" y="4796"/>
                  </a:cubicBezTo>
                  <a:cubicBezTo>
                    <a:pt x="646" y="4760"/>
                    <a:pt x="636" y="4719"/>
                    <a:pt x="636" y="4673"/>
                  </a:cubicBezTo>
                  <a:cubicBezTo>
                    <a:pt x="636" y="4628"/>
                    <a:pt x="646" y="4587"/>
                    <a:pt x="667" y="4550"/>
                  </a:cubicBezTo>
                  <a:cubicBezTo>
                    <a:pt x="688" y="4514"/>
                    <a:pt x="717" y="4486"/>
                    <a:pt x="753" y="4466"/>
                  </a:cubicBezTo>
                  <a:cubicBezTo>
                    <a:pt x="789" y="4445"/>
                    <a:pt x="830" y="4435"/>
                    <a:pt x="875" y="4435"/>
                  </a:cubicBezTo>
                  <a:cubicBezTo>
                    <a:pt x="921" y="4435"/>
                    <a:pt x="962" y="4445"/>
                    <a:pt x="998" y="4466"/>
                  </a:cubicBezTo>
                  <a:cubicBezTo>
                    <a:pt x="1034" y="4486"/>
                    <a:pt x="1063" y="4514"/>
                    <a:pt x="1083" y="4550"/>
                  </a:cubicBezTo>
                  <a:cubicBezTo>
                    <a:pt x="1104" y="4587"/>
                    <a:pt x="1114" y="4628"/>
                    <a:pt x="1114" y="4673"/>
                  </a:cubicBezTo>
                  <a:cubicBezTo>
                    <a:pt x="1114" y="4719"/>
                    <a:pt x="1104" y="4760"/>
                    <a:pt x="1083" y="4796"/>
                  </a:cubicBezTo>
                  <a:cubicBezTo>
                    <a:pt x="1063" y="4833"/>
                    <a:pt x="1034" y="4861"/>
                    <a:pt x="998" y="4882"/>
                  </a:cubicBezTo>
                  <a:cubicBezTo>
                    <a:pt x="962" y="4902"/>
                    <a:pt x="921" y="4912"/>
                    <a:pt x="875" y="4912"/>
                  </a:cubicBezTo>
                  <a:cubicBezTo>
                    <a:pt x="830" y="4912"/>
                    <a:pt x="789" y="4902"/>
                    <a:pt x="753" y="4882"/>
                  </a:cubicBezTo>
                  <a:close/>
                  <a:moveTo>
                    <a:pt x="468" y="4612"/>
                  </a:moveTo>
                  <a:cubicBezTo>
                    <a:pt x="501" y="4585"/>
                    <a:pt x="517" y="4547"/>
                    <a:pt x="517" y="4498"/>
                  </a:cubicBezTo>
                  <a:cubicBezTo>
                    <a:pt x="517" y="4447"/>
                    <a:pt x="501" y="4408"/>
                    <a:pt x="468" y="4381"/>
                  </a:cubicBezTo>
                  <a:cubicBezTo>
                    <a:pt x="435" y="4354"/>
                    <a:pt x="388" y="4341"/>
                    <a:pt x="326" y="4341"/>
                  </a:cubicBezTo>
                  <a:lnTo>
                    <a:pt x="159" y="4341"/>
                  </a:lnTo>
                  <a:lnTo>
                    <a:pt x="159" y="4653"/>
                  </a:lnTo>
                  <a:lnTo>
                    <a:pt x="326" y="4653"/>
                  </a:lnTo>
                  <a:cubicBezTo>
                    <a:pt x="388" y="4653"/>
                    <a:pt x="435" y="4639"/>
                    <a:pt x="468" y="4612"/>
                  </a:cubicBezTo>
                  <a:moveTo>
                    <a:pt x="515" y="4341"/>
                  </a:moveTo>
                  <a:cubicBezTo>
                    <a:pt x="560" y="4379"/>
                    <a:pt x="583" y="4431"/>
                    <a:pt x="583" y="4498"/>
                  </a:cubicBezTo>
                  <a:cubicBezTo>
                    <a:pt x="583" y="4564"/>
                    <a:pt x="560" y="4616"/>
                    <a:pt x="515" y="4654"/>
                  </a:cubicBezTo>
                  <a:cubicBezTo>
                    <a:pt x="470" y="4692"/>
                    <a:pt x="407" y="4711"/>
                    <a:pt x="327" y="4711"/>
                  </a:cubicBezTo>
                  <a:lnTo>
                    <a:pt x="159" y="4711"/>
                  </a:lnTo>
                  <a:lnTo>
                    <a:pt x="159" y="4908"/>
                  </a:lnTo>
                  <a:lnTo>
                    <a:pt x="93" y="4908"/>
                  </a:lnTo>
                  <a:lnTo>
                    <a:pt x="93" y="4284"/>
                  </a:lnTo>
                  <a:lnTo>
                    <a:pt x="327" y="4284"/>
                  </a:lnTo>
                  <a:cubicBezTo>
                    <a:pt x="407" y="4284"/>
                    <a:pt x="470" y="4303"/>
                    <a:pt x="515" y="4341"/>
                  </a:cubicBezTo>
                  <a:close/>
                </a:path>
              </a:pathLst>
            </a:custGeom>
            <a:solidFill>
              <a:srgbClr val="112F6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 name="Freeform 6">
              <a:extLst>
                <a:ext uri="{FF2B5EF4-FFF2-40B4-BE49-F238E27FC236}">
                  <a16:creationId xmlns:a16="http://schemas.microsoft.com/office/drawing/2014/main" id="{2DCFBAB6-EBAB-AF4C-8D9D-0A2014C449DF}"/>
                </a:ext>
              </a:extLst>
            </p:cNvPr>
            <p:cNvSpPr>
              <a:spLocks noEditPoints="1"/>
            </p:cNvSpPr>
            <p:nvPr/>
          </p:nvSpPr>
          <p:spPr bwMode="auto">
            <a:xfrm>
              <a:off x="1481" y="1882"/>
              <a:ext cx="4755" cy="713"/>
            </a:xfrm>
            <a:custGeom>
              <a:avLst/>
              <a:gdLst>
                <a:gd name="T0" fmla="*/ 4514 w 9905"/>
                <a:gd name="T1" fmla="*/ 713 h 1485"/>
                <a:gd name="T2" fmla="*/ 4613 w 9905"/>
                <a:gd name="T3" fmla="*/ 323 h 1485"/>
                <a:gd name="T4" fmla="*/ 4433 w 9905"/>
                <a:gd name="T5" fmla="*/ 186 h 1485"/>
                <a:gd name="T6" fmla="*/ 4630 w 9905"/>
                <a:gd name="T7" fmla="*/ 131 h 1485"/>
                <a:gd name="T8" fmla="*/ 4730 w 9905"/>
                <a:gd name="T9" fmla="*/ 90 h 1485"/>
                <a:gd name="T10" fmla="*/ 4532 w 9905"/>
                <a:gd name="T11" fmla="*/ 0 h 1485"/>
                <a:gd name="T12" fmla="*/ 4463 w 9905"/>
                <a:gd name="T13" fmla="*/ 380 h 1485"/>
                <a:gd name="T14" fmla="*/ 4635 w 9905"/>
                <a:gd name="T15" fmla="*/ 517 h 1485"/>
                <a:gd name="T16" fmla="*/ 4370 w 9905"/>
                <a:gd name="T17" fmla="*/ 531 h 1485"/>
                <a:gd name="T18" fmla="*/ 3709 w 9905"/>
                <a:gd name="T19" fmla="*/ 608 h 1485"/>
                <a:gd name="T20" fmla="*/ 4178 w 9905"/>
                <a:gd name="T21" fmla="*/ 515 h 1485"/>
                <a:gd name="T22" fmla="*/ 3921 w 9905"/>
                <a:gd name="T23" fmla="*/ 268 h 1485"/>
                <a:gd name="T24" fmla="*/ 3961 w 9905"/>
                <a:gd name="T25" fmla="*/ 109 h 1485"/>
                <a:gd name="T26" fmla="*/ 4101 w 9905"/>
                <a:gd name="T27" fmla="*/ 144 h 1485"/>
                <a:gd name="T28" fmla="*/ 4113 w 9905"/>
                <a:gd name="T29" fmla="*/ 35 h 1485"/>
                <a:gd name="T30" fmla="*/ 3737 w 9905"/>
                <a:gd name="T31" fmla="*/ 190 h 1485"/>
                <a:gd name="T32" fmla="*/ 3981 w 9905"/>
                <a:gd name="T33" fmla="*/ 425 h 1485"/>
                <a:gd name="T34" fmla="*/ 3948 w 9905"/>
                <a:gd name="T35" fmla="*/ 604 h 1485"/>
                <a:gd name="T36" fmla="*/ 3709 w 9905"/>
                <a:gd name="T37" fmla="*/ 608 h 1485"/>
                <a:gd name="T38" fmla="*/ 1610 w 9905"/>
                <a:gd name="T39" fmla="*/ 713 h 1485"/>
                <a:gd name="T40" fmla="*/ 1709 w 9905"/>
                <a:gd name="T41" fmla="*/ 323 h 1485"/>
                <a:gd name="T42" fmla="*/ 1530 w 9905"/>
                <a:gd name="T43" fmla="*/ 186 h 1485"/>
                <a:gd name="T44" fmla="*/ 1727 w 9905"/>
                <a:gd name="T45" fmla="*/ 131 h 1485"/>
                <a:gd name="T46" fmla="*/ 1827 w 9905"/>
                <a:gd name="T47" fmla="*/ 90 h 1485"/>
                <a:gd name="T48" fmla="*/ 1629 w 9905"/>
                <a:gd name="T49" fmla="*/ 0 h 1485"/>
                <a:gd name="T50" fmla="*/ 1560 w 9905"/>
                <a:gd name="T51" fmla="*/ 380 h 1485"/>
                <a:gd name="T52" fmla="*/ 1733 w 9905"/>
                <a:gd name="T53" fmla="*/ 517 h 1485"/>
                <a:gd name="T54" fmla="*/ 1467 w 9905"/>
                <a:gd name="T55" fmla="*/ 531 h 1485"/>
                <a:gd name="T56" fmla="*/ 2411 w 9905"/>
                <a:gd name="T57" fmla="*/ 0 h 1485"/>
                <a:gd name="T58" fmla="*/ 2355 w 9905"/>
                <a:gd name="T59" fmla="*/ 658 h 1485"/>
                <a:gd name="T60" fmla="*/ 2468 w 9905"/>
                <a:gd name="T61" fmla="*/ 658 h 1485"/>
                <a:gd name="T62" fmla="*/ 2817 w 9905"/>
                <a:gd name="T63" fmla="*/ 670 h 1485"/>
                <a:gd name="T64" fmla="*/ 2937 w 9905"/>
                <a:gd name="T65" fmla="*/ 659 h 1485"/>
                <a:gd name="T66" fmla="*/ 2825 w 9905"/>
                <a:gd name="T67" fmla="*/ 5 h 1485"/>
                <a:gd name="T68" fmla="*/ 2473 w 9905"/>
                <a:gd name="T69" fmla="*/ 42 h 1485"/>
                <a:gd name="T70" fmla="*/ 423 w 9905"/>
                <a:gd name="T71" fmla="*/ 327 h 1485"/>
                <a:gd name="T72" fmla="*/ 313 w 9905"/>
                <a:gd name="T73" fmla="*/ 708 h 1485"/>
                <a:gd name="T74" fmla="*/ 0 w 9905"/>
                <a:gd name="T75" fmla="*/ 59 h 1485"/>
                <a:gd name="T76" fmla="*/ 299 w 9905"/>
                <a:gd name="T77" fmla="*/ 3 h 1485"/>
                <a:gd name="T78" fmla="*/ 423 w 9905"/>
                <a:gd name="T79" fmla="*/ 327 h 1485"/>
                <a:gd name="T80" fmla="*/ 284 w 9905"/>
                <a:gd name="T81" fmla="*/ 286 h 1485"/>
                <a:gd name="T82" fmla="*/ 284 w 9905"/>
                <a:gd name="T83" fmla="*/ 114 h 1485"/>
                <a:gd name="T84" fmla="*/ 114 w 9905"/>
                <a:gd name="T85" fmla="*/ 286 h 1485"/>
                <a:gd name="T86" fmla="*/ 412 w 9905"/>
                <a:gd name="T87" fmla="*/ 495 h 1485"/>
                <a:gd name="T88" fmla="*/ 114 w 9905"/>
                <a:gd name="T89" fmla="*/ 390 h 1485"/>
                <a:gd name="T90" fmla="*/ 291 w 9905"/>
                <a:gd name="T91" fmla="*/ 600 h 1485"/>
                <a:gd name="T92" fmla="*/ 3597 w 9905"/>
                <a:gd name="T93" fmla="*/ 60 h 1485"/>
                <a:gd name="T94" fmla="*/ 3189 w 9905"/>
                <a:gd name="T95" fmla="*/ 5 h 1485"/>
                <a:gd name="T96" fmla="*/ 3133 w 9905"/>
                <a:gd name="T97" fmla="*/ 655 h 1485"/>
                <a:gd name="T98" fmla="*/ 3593 w 9905"/>
                <a:gd name="T99" fmla="*/ 710 h 1485"/>
                <a:gd name="T100" fmla="*/ 3247 w 9905"/>
                <a:gd name="T101" fmla="*/ 599 h 1485"/>
                <a:gd name="T102" fmla="*/ 3508 w 9905"/>
                <a:gd name="T103" fmla="*/ 395 h 1485"/>
                <a:gd name="T104" fmla="*/ 3508 w 9905"/>
                <a:gd name="T105" fmla="*/ 284 h 1485"/>
                <a:gd name="T106" fmla="*/ 3247 w 9905"/>
                <a:gd name="T107" fmla="*/ 115 h 1485"/>
                <a:gd name="T108" fmla="*/ 785 w 9905"/>
                <a:gd name="T109" fmla="*/ 429 h 1485"/>
                <a:gd name="T110" fmla="*/ 728 w 9905"/>
                <a:gd name="T111" fmla="*/ 0 h 1485"/>
                <a:gd name="T112" fmla="*/ 672 w 9905"/>
                <a:gd name="T113" fmla="*/ 425 h 1485"/>
                <a:gd name="T114" fmla="*/ 1251 w 9905"/>
                <a:gd name="T115" fmla="*/ 425 h 1485"/>
                <a:gd name="T116" fmla="*/ 1136 w 9905"/>
                <a:gd name="T117" fmla="*/ 3 h 1485"/>
                <a:gd name="T118" fmla="*/ 961 w 9905"/>
                <a:gd name="T119" fmla="*/ 605 h 1485"/>
                <a:gd name="T120" fmla="*/ 2074 w 9905"/>
                <a:gd name="T121" fmla="*/ 0 h 1485"/>
                <a:gd name="T122" fmla="*/ 2131 w 9905"/>
                <a:gd name="T123" fmla="*/ 709 h 1485"/>
                <a:gd name="T124" fmla="*/ 2017 w 9905"/>
                <a:gd name="T125" fmla="*/ 55 h 148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9905" h="1485">
                  <a:moveTo>
                    <a:pt x="8929" y="1267"/>
                  </a:moveTo>
                  <a:cubicBezTo>
                    <a:pt x="8959" y="1305"/>
                    <a:pt x="9097" y="1485"/>
                    <a:pt x="9402" y="1485"/>
                  </a:cubicBezTo>
                  <a:cubicBezTo>
                    <a:pt x="9700" y="1485"/>
                    <a:pt x="9905" y="1313"/>
                    <a:pt x="9905" y="1072"/>
                  </a:cubicBezTo>
                  <a:cubicBezTo>
                    <a:pt x="9905" y="913"/>
                    <a:pt x="9842" y="787"/>
                    <a:pt x="9609" y="673"/>
                  </a:cubicBezTo>
                  <a:cubicBezTo>
                    <a:pt x="9545" y="643"/>
                    <a:pt x="9368" y="558"/>
                    <a:pt x="9368" y="558"/>
                  </a:cubicBezTo>
                  <a:cubicBezTo>
                    <a:pt x="9277" y="513"/>
                    <a:pt x="9235" y="460"/>
                    <a:pt x="9235" y="387"/>
                  </a:cubicBezTo>
                  <a:cubicBezTo>
                    <a:pt x="9235" y="310"/>
                    <a:pt x="9298" y="227"/>
                    <a:pt x="9452" y="227"/>
                  </a:cubicBezTo>
                  <a:cubicBezTo>
                    <a:pt x="9540" y="227"/>
                    <a:pt x="9609" y="255"/>
                    <a:pt x="9645" y="272"/>
                  </a:cubicBezTo>
                  <a:cubicBezTo>
                    <a:pt x="9662" y="280"/>
                    <a:pt x="9704" y="300"/>
                    <a:pt x="9743" y="300"/>
                  </a:cubicBezTo>
                  <a:cubicBezTo>
                    <a:pt x="9795" y="300"/>
                    <a:pt x="9852" y="263"/>
                    <a:pt x="9852" y="188"/>
                  </a:cubicBezTo>
                  <a:cubicBezTo>
                    <a:pt x="9852" y="125"/>
                    <a:pt x="9807" y="92"/>
                    <a:pt x="9767" y="73"/>
                  </a:cubicBezTo>
                  <a:cubicBezTo>
                    <a:pt x="9704" y="43"/>
                    <a:pt x="9605" y="0"/>
                    <a:pt x="9440" y="0"/>
                  </a:cubicBezTo>
                  <a:cubicBezTo>
                    <a:pt x="9179" y="0"/>
                    <a:pt x="8985" y="165"/>
                    <a:pt x="8985" y="395"/>
                  </a:cubicBezTo>
                  <a:cubicBezTo>
                    <a:pt x="8985" y="605"/>
                    <a:pt x="9125" y="710"/>
                    <a:pt x="9297" y="792"/>
                  </a:cubicBezTo>
                  <a:cubicBezTo>
                    <a:pt x="9329" y="807"/>
                    <a:pt x="9455" y="868"/>
                    <a:pt x="9490" y="885"/>
                  </a:cubicBezTo>
                  <a:cubicBezTo>
                    <a:pt x="9598" y="937"/>
                    <a:pt x="9655" y="987"/>
                    <a:pt x="9655" y="1077"/>
                  </a:cubicBezTo>
                  <a:cubicBezTo>
                    <a:pt x="9655" y="1175"/>
                    <a:pt x="9564" y="1257"/>
                    <a:pt x="9425" y="1257"/>
                  </a:cubicBezTo>
                  <a:cubicBezTo>
                    <a:pt x="9227" y="1257"/>
                    <a:pt x="9120" y="1127"/>
                    <a:pt x="9102" y="1105"/>
                  </a:cubicBezTo>
                  <a:lnTo>
                    <a:pt x="8929" y="1267"/>
                  </a:lnTo>
                  <a:close/>
                  <a:moveTo>
                    <a:pt x="7727" y="1267"/>
                  </a:moveTo>
                  <a:cubicBezTo>
                    <a:pt x="7757" y="1305"/>
                    <a:pt x="7897" y="1485"/>
                    <a:pt x="8202" y="1485"/>
                  </a:cubicBezTo>
                  <a:cubicBezTo>
                    <a:pt x="8500" y="1485"/>
                    <a:pt x="8704" y="1313"/>
                    <a:pt x="8704" y="1072"/>
                  </a:cubicBezTo>
                  <a:cubicBezTo>
                    <a:pt x="8704" y="913"/>
                    <a:pt x="8642" y="787"/>
                    <a:pt x="8407" y="673"/>
                  </a:cubicBezTo>
                  <a:cubicBezTo>
                    <a:pt x="8345" y="643"/>
                    <a:pt x="8168" y="558"/>
                    <a:pt x="8168" y="558"/>
                  </a:cubicBezTo>
                  <a:cubicBezTo>
                    <a:pt x="8075" y="513"/>
                    <a:pt x="8034" y="460"/>
                    <a:pt x="8034" y="387"/>
                  </a:cubicBezTo>
                  <a:cubicBezTo>
                    <a:pt x="8034" y="310"/>
                    <a:pt x="8097" y="227"/>
                    <a:pt x="8252" y="227"/>
                  </a:cubicBezTo>
                  <a:cubicBezTo>
                    <a:pt x="8340" y="227"/>
                    <a:pt x="8407" y="255"/>
                    <a:pt x="8443" y="272"/>
                  </a:cubicBezTo>
                  <a:cubicBezTo>
                    <a:pt x="8462" y="280"/>
                    <a:pt x="8504" y="300"/>
                    <a:pt x="8543" y="300"/>
                  </a:cubicBezTo>
                  <a:cubicBezTo>
                    <a:pt x="8595" y="300"/>
                    <a:pt x="8652" y="263"/>
                    <a:pt x="8652" y="188"/>
                  </a:cubicBezTo>
                  <a:cubicBezTo>
                    <a:pt x="8652" y="125"/>
                    <a:pt x="8607" y="92"/>
                    <a:pt x="8567" y="73"/>
                  </a:cubicBezTo>
                  <a:cubicBezTo>
                    <a:pt x="8504" y="43"/>
                    <a:pt x="8404" y="0"/>
                    <a:pt x="8240" y="0"/>
                  </a:cubicBezTo>
                  <a:cubicBezTo>
                    <a:pt x="7979" y="0"/>
                    <a:pt x="7785" y="165"/>
                    <a:pt x="7785" y="395"/>
                  </a:cubicBezTo>
                  <a:cubicBezTo>
                    <a:pt x="7785" y="605"/>
                    <a:pt x="7927" y="710"/>
                    <a:pt x="8097" y="792"/>
                  </a:cubicBezTo>
                  <a:cubicBezTo>
                    <a:pt x="8130" y="807"/>
                    <a:pt x="8257" y="868"/>
                    <a:pt x="8292" y="885"/>
                  </a:cubicBezTo>
                  <a:cubicBezTo>
                    <a:pt x="8398" y="937"/>
                    <a:pt x="8455" y="987"/>
                    <a:pt x="8455" y="1077"/>
                  </a:cubicBezTo>
                  <a:cubicBezTo>
                    <a:pt x="8455" y="1175"/>
                    <a:pt x="8364" y="1257"/>
                    <a:pt x="8225" y="1257"/>
                  </a:cubicBezTo>
                  <a:cubicBezTo>
                    <a:pt x="8025" y="1257"/>
                    <a:pt x="7920" y="1127"/>
                    <a:pt x="7902" y="1105"/>
                  </a:cubicBezTo>
                  <a:lnTo>
                    <a:pt x="7727" y="1267"/>
                  </a:lnTo>
                  <a:close/>
                  <a:moveTo>
                    <a:pt x="2880" y="1267"/>
                  </a:moveTo>
                  <a:cubicBezTo>
                    <a:pt x="2910" y="1305"/>
                    <a:pt x="3049" y="1485"/>
                    <a:pt x="3354" y="1485"/>
                  </a:cubicBezTo>
                  <a:cubicBezTo>
                    <a:pt x="3654" y="1485"/>
                    <a:pt x="3857" y="1313"/>
                    <a:pt x="3857" y="1072"/>
                  </a:cubicBezTo>
                  <a:cubicBezTo>
                    <a:pt x="3857" y="913"/>
                    <a:pt x="3795" y="787"/>
                    <a:pt x="3560" y="673"/>
                  </a:cubicBezTo>
                  <a:cubicBezTo>
                    <a:pt x="3497" y="643"/>
                    <a:pt x="3322" y="558"/>
                    <a:pt x="3322" y="558"/>
                  </a:cubicBezTo>
                  <a:cubicBezTo>
                    <a:pt x="3229" y="513"/>
                    <a:pt x="3187" y="460"/>
                    <a:pt x="3187" y="387"/>
                  </a:cubicBezTo>
                  <a:cubicBezTo>
                    <a:pt x="3187" y="310"/>
                    <a:pt x="3250" y="227"/>
                    <a:pt x="3405" y="227"/>
                  </a:cubicBezTo>
                  <a:cubicBezTo>
                    <a:pt x="3493" y="227"/>
                    <a:pt x="3562" y="255"/>
                    <a:pt x="3597" y="272"/>
                  </a:cubicBezTo>
                  <a:cubicBezTo>
                    <a:pt x="3615" y="280"/>
                    <a:pt x="3657" y="300"/>
                    <a:pt x="3697" y="300"/>
                  </a:cubicBezTo>
                  <a:cubicBezTo>
                    <a:pt x="3749" y="300"/>
                    <a:pt x="3805" y="263"/>
                    <a:pt x="3805" y="188"/>
                  </a:cubicBezTo>
                  <a:cubicBezTo>
                    <a:pt x="3805" y="125"/>
                    <a:pt x="3760" y="92"/>
                    <a:pt x="3720" y="73"/>
                  </a:cubicBezTo>
                  <a:cubicBezTo>
                    <a:pt x="3657" y="43"/>
                    <a:pt x="3559" y="0"/>
                    <a:pt x="3393" y="0"/>
                  </a:cubicBezTo>
                  <a:cubicBezTo>
                    <a:pt x="3132" y="0"/>
                    <a:pt x="2939" y="165"/>
                    <a:pt x="2939" y="395"/>
                  </a:cubicBezTo>
                  <a:cubicBezTo>
                    <a:pt x="2939" y="605"/>
                    <a:pt x="3080" y="710"/>
                    <a:pt x="3250" y="792"/>
                  </a:cubicBezTo>
                  <a:cubicBezTo>
                    <a:pt x="3282" y="807"/>
                    <a:pt x="3409" y="868"/>
                    <a:pt x="3443" y="885"/>
                  </a:cubicBezTo>
                  <a:cubicBezTo>
                    <a:pt x="3552" y="937"/>
                    <a:pt x="3609" y="987"/>
                    <a:pt x="3609" y="1077"/>
                  </a:cubicBezTo>
                  <a:cubicBezTo>
                    <a:pt x="3609" y="1175"/>
                    <a:pt x="3517" y="1257"/>
                    <a:pt x="3379" y="1257"/>
                  </a:cubicBezTo>
                  <a:cubicBezTo>
                    <a:pt x="3180" y="1257"/>
                    <a:pt x="3074" y="1127"/>
                    <a:pt x="3055" y="1105"/>
                  </a:cubicBezTo>
                  <a:lnTo>
                    <a:pt x="2880" y="1267"/>
                  </a:lnTo>
                  <a:close/>
                  <a:moveTo>
                    <a:pt x="5023" y="0"/>
                  </a:moveTo>
                  <a:cubicBezTo>
                    <a:pt x="4952" y="0"/>
                    <a:pt x="4905" y="52"/>
                    <a:pt x="4905" y="113"/>
                  </a:cubicBezTo>
                  <a:lnTo>
                    <a:pt x="4905" y="1370"/>
                  </a:lnTo>
                  <a:cubicBezTo>
                    <a:pt x="4905" y="1433"/>
                    <a:pt x="4960" y="1483"/>
                    <a:pt x="5023" y="1483"/>
                  </a:cubicBezTo>
                  <a:cubicBezTo>
                    <a:pt x="5085" y="1483"/>
                    <a:pt x="5140" y="1433"/>
                    <a:pt x="5140" y="1370"/>
                  </a:cubicBezTo>
                  <a:lnTo>
                    <a:pt x="5140" y="463"/>
                  </a:lnTo>
                  <a:cubicBezTo>
                    <a:pt x="5140" y="463"/>
                    <a:pt x="5717" y="1200"/>
                    <a:pt x="5868" y="1395"/>
                  </a:cubicBezTo>
                  <a:cubicBezTo>
                    <a:pt x="5907" y="1443"/>
                    <a:pt x="5934" y="1485"/>
                    <a:pt x="6002" y="1485"/>
                  </a:cubicBezTo>
                  <a:cubicBezTo>
                    <a:pt x="6070" y="1485"/>
                    <a:pt x="6117" y="1435"/>
                    <a:pt x="6117" y="1372"/>
                  </a:cubicBezTo>
                  <a:lnTo>
                    <a:pt x="6117" y="10"/>
                  </a:lnTo>
                  <a:lnTo>
                    <a:pt x="5884" y="10"/>
                  </a:lnTo>
                  <a:lnTo>
                    <a:pt x="5884" y="1027"/>
                  </a:lnTo>
                  <a:cubicBezTo>
                    <a:pt x="5884" y="1027"/>
                    <a:pt x="5242" y="203"/>
                    <a:pt x="5152" y="88"/>
                  </a:cubicBezTo>
                  <a:cubicBezTo>
                    <a:pt x="5110" y="35"/>
                    <a:pt x="5079" y="0"/>
                    <a:pt x="5023" y="0"/>
                  </a:cubicBezTo>
                  <a:close/>
                  <a:moveTo>
                    <a:pt x="882" y="682"/>
                  </a:moveTo>
                  <a:cubicBezTo>
                    <a:pt x="924" y="702"/>
                    <a:pt x="1099" y="777"/>
                    <a:pt x="1099" y="1037"/>
                  </a:cubicBezTo>
                  <a:cubicBezTo>
                    <a:pt x="1099" y="1283"/>
                    <a:pt x="915" y="1475"/>
                    <a:pt x="652" y="1475"/>
                  </a:cubicBezTo>
                  <a:lnTo>
                    <a:pt x="0" y="1475"/>
                  </a:lnTo>
                  <a:lnTo>
                    <a:pt x="0" y="122"/>
                  </a:lnTo>
                  <a:cubicBezTo>
                    <a:pt x="0" y="53"/>
                    <a:pt x="47" y="7"/>
                    <a:pt x="115" y="7"/>
                  </a:cubicBezTo>
                  <a:lnTo>
                    <a:pt x="622" y="7"/>
                  </a:lnTo>
                  <a:cubicBezTo>
                    <a:pt x="868" y="7"/>
                    <a:pt x="1030" y="155"/>
                    <a:pt x="1030" y="380"/>
                  </a:cubicBezTo>
                  <a:cubicBezTo>
                    <a:pt x="1030" y="572"/>
                    <a:pt x="922" y="657"/>
                    <a:pt x="882" y="682"/>
                  </a:cubicBezTo>
                  <a:moveTo>
                    <a:pt x="237" y="595"/>
                  </a:moveTo>
                  <a:lnTo>
                    <a:pt x="592" y="595"/>
                  </a:lnTo>
                  <a:cubicBezTo>
                    <a:pt x="718" y="595"/>
                    <a:pt x="790" y="515"/>
                    <a:pt x="790" y="417"/>
                  </a:cubicBezTo>
                  <a:cubicBezTo>
                    <a:pt x="790" y="318"/>
                    <a:pt x="725" y="238"/>
                    <a:pt x="592" y="238"/>
                  </a:cubicBezTo>
                  <a:lnTo>
                    <a:pt x="237" y="238"/>
                  </a:lnTo>
                  <a:lnTo>
                    <a:pt x="237" y="595"/>
                  </a:lnTo>
                  <a:close/>
                  <a:moveTo>
                    <a:pt x="607" y="1250"/>
                  </a:moveTo>
                  <a:cubicBezTo>
                    <a:pt x="774" y="1250"/>
                    <a:pt x="859" y="1152"/>
                    <a:pt x="859" y="1032"/>
                  </a:cubicBezTo>
                  <a:cubicBezTo>
                    <a:pt x="859" y="910"/>
                    <a:pt x="777" y="812"/>
                    <a:pt x="607" y="812"/>
                  </a:cubicBezTo>
                  <a:lnTo>
                    <a:pt x="237" y="812"/>
                  </a:lnTo>
                  <a:lnTo>
                    <a:pt x="237" y="1250"/>
                  </a:lnTo>
                  <a:lnTo>
                    <a:pt x="607" y="1250"/>
                  </a:lnTo>
                  <a:close/>
                  <a:moveTo>
                    <a:pt x="7367" y="240"/>
                  </a:moveTo>
                  <a:cubicBezTo>
                    <a:pt x="7445" y="240"/>
                    <a:pt x="7492" y="190"/>
                    <a:pt x="7492" y="125"/>
                  </a:cubicBezTo>
                  <a:cubicBezTo>
                    <a:pt x="7492" y="60"/>
                    <a:pt x="7443" y="10"/>
                    <a:pt x="7367" y="10"/>
                  </a:cubicBezTo>
                  <a:lnTo>
                    <a:pt x="6642" y="10"/>
                  </a:lnTo>
                  <a:cubicBezTo>
                    <a:pt x="6575" y="10"/>
                    <a:pt x="6527" y="58"/>
                    <a:pt x="6527" y="125"/>
                  </a:cubicBezTo>
                  <a:lnTo>
                    <a:pt x="6527" y="1365"/>
                  </a:lnTo>
                  <a:cubicBezTo>
                    <a:pt x="6527" y="1430"/>
                    <a:pt x="6575" y="1478"/>
                    <a:pt x="6642" y="1478"/>
                  </a:cubicBezTo>
                  <a:lnTo>
                    <a:pt x="7484" y="1478"/>
                  </a:lnTo>
                  <a:lnTo>
                    <a:pt x="7484" y="1248"/>
                  </a:lnTo>
                  <a:lnTo>
                    <a:pt x="6764" y="1248"/>
                  </a:lnTo>
                  <a:lnTo>
                    <a:pt x="6764" y="822"/>
                  </a:lnTo>
                  <a:lnTo>
                    <a:pt x="7307" y="822"/>
                  </a:lnTo>
                  <a:cubicBezTo>
                    <a:pt x="7389" y="822"/>
                    <a:pt x="7435" y="773"/>
                    <a:pt x="7435" y="707"/>
                  </a:cubicBezTo>
                  <a:cubicBezTo>
                    <a:pt x="7435" y="640"/>
                    <a:pt x="7390" y="592"/>
                    <a:pt x="7307" y="592"/>
                  </a:cubicBezTo>
                  <a:lnTo>
                    <a:pt x="6764" y="592"/>
                  </a:lnTo>
                  <a:lnTo>
                    <a:pt x="6764" y="240"/>
                  </a:lnTo>
                  <a:lnTo>
                    <a:pt x="7367" y="240"/>
                  </a:lnTo>
                  <a:close/>
                  <a:moveTo>
                    <a:pt x="1635" y="893"/>
                  </a:moveTo>
                  <a:lnTo>
                    <a:pt x="1635" y="115"/>
                  </a:lnTo>
                  <a:cubicBezTo>
                    <a:pt x="1635" y="52"/>
                    <a:pt x="1589" y="0"/>
                    <a:pt x="1517" y="0"/>
                  </a:cubicBezTo>
                  <a:cubicBezTo>
                    <a:pt x="1443" y="0"/>
                    <a:pt x="1399" y="52"/>
                    <a:pt x="1399" y="115"/>
                  </a:cubicBezTo>
                  <a:lnTo>
                    <a:pt x="1399" y="885"/>
                  </a:lnTo>
                  <a:cubicBezTo>
                    <a:pt x="1399" y="1215"/>
                    <a:pt x="1630" y="1483"/>
                    <a:pt x="2002" y="1483"/>
                  </a:cubicBezTo>
                  <a:cubicBezTo>
                    <a:pt x="2372" y="1483"/>
                    <a:pt x="2605" y="1215"/>
                    <a:pt x="2605" y="885"/>
                  </a:cubicBezTo>
                  <a:lnTo>
                    <a:pt x="2605" y="7"/>
                  </a:lnTo>
                  <a:lnTo>
                    <a:pt x="2367" y="7"/>
                  </a:lnTo>
                  <a:lnTo>
                    <a:pt x="2367" y="892"/>
                  </a:lnTo>
                  <a:cubicBezTo>
                    <a:pt x="2367" y="1087"/>
                    <a:pt x="2237" y="1260"/>
                    <a:pt x="2002" y="1260"/>
                  </a:cubicBezTo>
                  <a:cubicBezTo>
                    <a:pt x="1765" y="1262"/>
                    <a:pt x="1635" y="1088"/>
                    <a:pt x="1635" y="893"/>
                  </a:cubicBezTo>
                  <a:close/>
                  <a:moveTo>
                    <a:pt x="4320" y="0"/>
                  </a:moveTo>
                  <a:cubicBezTo>
                    <a:pt x="4393" y="0"/>
                    <a:pt x="4439" y="52"/>
                    <a:pt x="4439" y="115"/>
                  </a:cubicBezTo>
                  <a:lnTo>
                    <a:pt x="4439" y="1477"/>
                  </a:lnTo>
                  <a:lnTo>
                    <a:pt x="4202" y="1477"/>
                  </a:lnTo>
                  <a:lnTo>
                    <a:pt x="4202" y="115"/>
                  </a:lnTo>
                  <a:cubicBezTo>
                    <a:pt x="4202" y="52"/>
                    <a:pt x="4247" y="0"/>
                    <a:pt x="4320" y="0"/>
                  </a:cubicBezTo>
                  <a:close/>
                </a:path>
              </a:pathLst>
            </a:custGeom>
            <a:solidFill>
              <a:srgbClr val="0D62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sp>
        <p:nvSpPr>
          <p:cNvPr id="6" name="Picture Placeholder 5"/>
          <p:cNvSpPr>
            <a:spLocks noGrp="1"/>
          </p:cNvSpPr>
          <p:nvPr>
            <p:ph type="pic" sz="quarter" idx="11"/>
          </p:nvPr>
        </p:nvSpPr>
        <p:spPr>
          <a:xfrm>
            <a:off x="-9144" y="-4713"/>
            <a:ext cx="12207240" cy="6876288"/>
          </a:xfrm>
          <a:solidFill>
            <a:schemeClr val="bg2">
              <a:lumMod val="95000"/>
            </a:schemeClr>
          </a:solidFill>
        </p:spPr>
        <p:txBody>
          <a:bodyPr lIns="1920240" tIns="731520" rIns="1920240" rtlCol="0">
            <a:noAutofit/>
          </a:bodyPr>
          <a:lstStyle>
            <a:lvl1pPr marL="0" indent="0">
              <a:lnSpc>
                <a:spcPct val="100000"/>
              </a:lnSpc>
              <a:spcBef>
                <a:spcPts val="0"/>
              </a:spcBef>
              <a:buNone/>
              <a:defRPr sz="1800"/>
            </a:lvl1pPr>
          </a:lstStyle>
          <a:p>
            <a:pPr lvl="0"/>
            <a:r>
              <a:rPr lang="en-US" noProof="0"/>
              <a:t>Click icon to add picture</a:t>
            </a:r>
            <a:endParaRPr lang="en-GB" noProof="0"/>
          </a:p>
        </p:txBody>
      </p:sp>
    </p:spTree>
    <p:extLst>
      <p:ext uri="{BB962C8B-B14F-4D97-AF65-F5344CB8AC3E}">
        <p14:creationId xmlns:p14="http://schemas.microsoft.com/office/powerpoint/2010/main" val="317125791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Open / Close 5 (dark image, no text)">
    <p:bg>
      <p:bgPr>
        <a:solidFill>
          <a:schemeClr val="accent1"/>
        </a:solidFill>
        <a:effectLst/>
      </p:bgPr>
    </p:bg>
    <p:spTree>
      <p:nvGrpSpPr>
        <p:cNvPr id="1" name=""/>
        <p:cNvGrpSpPr/>
        <p:nvPr/>
      </p:nvGrpSpPr>
      <p:grpSpPr>
        <a:xfrm>
          <a:off x="0" y="0"/>
          <a:ext cx="0" cy="0"/>
          <a:chOff x="0" y="0"/>
          <a:chExt cx="0" cy="0"/>
        </a:xfrm>
      </p:grpSpPr>
      <p:grpSp>
        <p:nvGrpSpPr>
          <p:cNvPr id="3" name="Group 4">
            <a:extLst>
              <a:ext uri="{FF2B5EF4-FFF2-40B4-BE49-F238E27FC236}">
                <a16:creationId xmlns:a16="http://schemas.microsoft.com/office/drawing/2014/main" id="{BE6D5DE1-147D-A747-8644-AE4D4C699BAD}"/>
              </a:ext>
            </a:extLst>
          </p:cNvPr>
          <p:cNvGrpSpPr>
            <a:grpSpLocks noChangeAspect="1"/>
          </p:cNvGrpSpPr>
          <p:nvPr/>
        </p:nvGrpSpPr>
        <p:grpSpPr bwMode="auto">
          <a:xfrm>
            <a:off x="5305044" y="5518737"/>
            <a:ext cx="1581912" cy="804798"/>
            <a:chOff x="1436" y="934"/>
            <a:chExt cx="4800" cy="2442"/>
          </a:xfrm>
          <a:solidFill>
            <a:srgbClr val="FFFFFF"/>
          </a:solidFill>
        </p:grpSpPr>
        <p:sp>
          <p:nvSpPr>
            <p:cNvPr id="4" name="Freeform 5">
              <a:extLst>
                <a:ext uri="{FF2B5EF4-FFF2-40B4-BE49-F238E27FC236}">
                  <a16:creationId xmlns:a16="http://schemas.microsoft.com/office/drawing/2014/main" id="{5AE45949-048A-054A-A2BD-53A52B1DFDDC}"/>
                </a:ext>
              </a:extLst>
            </p:cNvPr>
            <p:cNvSpPr>
              <a:spLocks noEditPoints="1"/>
            </p:cNvSpPr>
            <p:nvPr/>
          </p:nvSpPr>
          <p:spPr bwMode="auto">
            <a:xfrm>
              <a:off x="1436" y="934"/>
              <a:ext cx="4794" cy="2442"/>
            </a:xfrm>
            <a:custGeom>
              <a:avLst/>
              <a:gdLst>
                <a:gd name="T0" fmla="*/ 9572 w 9986"/>
                <a:gd name="T1" fmla="*/ 153 h 5085"/>
                <a:gd name="T2" fmla="*/ 6835 w 9986"/>
                <a:gd name="T3" fmla="*/ 925 h 5085"/>
                <a:gd name="T4" fmla="*/ 6895 w 9986"/>
                <a:gd name="T5" fmla="*/ 780 h 5085"/>
                <a:gd name="T6" fmla="*/ 3251 w 9986"/>
                <a:gd name="T7" fmla="*/ 1478 h 5085"/>
                <a:gd name="T8" fmla="*/ 4555 w 9986"/>
                <a:gd name="T9" fmla="*/ 55 h 5085"/>
                <a:gd name="T10" fmla="*/ 5001 w 9986"/>
                <a:gd name="T11" fmla="*/ 740 h 5085"/>
                <a:gd name="T12" fmla="*/ 1260 w 9986"/>
                <a:gd name="T13" fmla="*/ 320 h 5085"/>
                <a:gd name="T14" fmla="*/ 738 w 9986"/>
                <a:gd name="T15" fmla="*/ 1331 h 5085"/>
                <a:gd name="T16" fmla="*/ 8772 w 9986"/>
                <a:gd name="T17" fmla="*/ 158 h 5085"/>
                <a:gd name="T18" fmla="*/ 8053 w 9986"/>
                <a:gd name="T19" fmla="*/ 1163 h 5085"/>
                <a:gd name="T20" fmla="*/ 2988 w 9986"/>
                <a:gd name="T21" fmla="*/ 740 h 5085"/>
                <a:gd name="T22" fmla="*/ 9814 w 9986"/>
                <a:gd name="T23" fmla="*/ 4415 h 5085"/>
                <a:gd name="T24" fmla="*/ 9918 w 9986"/>
                <a:gd name="T25" fmla="*/ 4246 h 5085"/>
                <a:gd name="T26" fmla="*/ 9562 w 9986"/>
                <a:gd name="T27" fmla="*/ 4273 h 5085"/>
                <a:gd name="T28" fmla="*/ 9408 w 9986"/>
                <a:gd name="T29" fmla="*/ 4780 h 5085"/>
                <a:gd name="T30" fmla="*/ 9380 w 9986"/>
                <a:gd name="T31" fmla="*/ 4447 h 5085"/>
                <a:gd name="T32" fmla="*/ 9389 w 9986"/>
                <a:gd name="T33" fmla="*/ 4671 h 5085"/>
                <a:gd name="T34" fmla="*/ 8917 w 9986"/>
                <a:gd name="T35" fmla="*/ 4533 h 5085"/>
                <a:gd name="T36" fmla="*/ 9001 w 9986"/>
                <a:gd name="T37" fmla="*/ 4836 h 5085"/>
                <a:gd name="T38" fmla="*/ 8919 w 9986"/>
                <a:gd name="T39" fmla="*/ 4466 h 5085"/>
                <a:gd name="T40" fmla="*/ 8387 w 9986"/>
                <a:gd name="T41" fmla="*/ 4323 h 5085"/>
                <a:gd name="T42" fmla="*/ 8282 w 9986"/>
                <a:gd name="T43" fmla="*/ 4879 h 5085"/>
                <a:gd name="T44" fmla="*/ 8045 w 9986"/>
                <a:gd name="T45" fmla="*/ 4336 h 5085"/>
                <a:gd name="T46" fmla="*/ 8228 w 9986"/>
                <a:gd name="T47" fmla="*/ 4852 h 5085"/>
                <a:gd name="T48" fmla="*/ 7788 w 9986"/>
                <a:gd name="T49" fmla="*/ 4291 h 5085"/>
                <a:gd name="T50" fmla="*/ 7635 w 9986"/>
                <a:gd name="T51" fmla="*/ 4246 h 5085"/>
                <a:gd name="T52" fmla="*/ 7339 w 9986"/>
                <a:gd name="T53" fmla="*/ 4323 h 5085"/>
                <a:gd name="T54" fmla="*/ 7070 w 9986"/>
                <a:gd name="T55" fmla="*/ 4833 h 5085"/>
                <a:gd name="T56" fmla="*/ 6828 w 9986"/>
                <a:gd name="T57" fmla="*/ 4769 h 5085"/>
                <a:gd name="T58" fmla="*/ 6985 w 9986"/>
                <a:gd name="T59" fmla="*/ 4912 h 5085"/>
                <a:gd name="T60" fmla="*/ 6985 w 9986"/>
                <a:gd name="T61" fmla="*/ 4435 h 5085"/>
                <a:gd name="T62" fmla="*/ 6510 w 9986"/>
                <a:gd name="T63" fmla="*/ 4260 h 5085"/>
                <a:gd name="T64" fmla="*/ 6046 w 9986"/>
                <a:gd name="T65" fmla="*/ 4804 h 5085"/>
                <a:gd name="T66" fmla="*/ 6059 w 9986"/>
                <a:gd name="T67" fmla="*/ 4643 h 5085"/>
                <a:gd name="T68" fmla="*/ 6098 w 9986"/>
                <a:gd name="T69" fmla="*/ 4567 h 5085"/>
                <a:gd name="T70" fmla="*/ 6099 w 9986"/>
                <a:gd name="T71" fmla="*/ 4896 h 5085"/>
                <a:gd name="T72" fmla="*/ 5833 w 9986"/>
                <a:gd name="T73" fmla="*/ 4717 h 5085"/>
                <a:gd name="T74" fmla="*/ 5913 w 9986"/>
                <a:gd name="T75" fmla="*/ 4530 h 5085"/>
                <a:gd name="T76" fmla="*/ 5956 w 9986"/>
                <a:gd name="T77" fmla="*/ 4779 h 5085"/>
                <a:gd name="T78" fmla="*/ 5277 w 9986"/>
                <a:gd name="T79" fmla="*/ 4491 h 5085"/>
                <a:gd name="T80" fmla="*/ 5069 w 9986"/>
                <a:gd name="T81" fmla="*/ 4796 h 5085"/>
                <a:gd name="T82" fmla="*/ 5399 w 9986"/>
                <a:gd name="T83" fmla="*/ 4882 h 5085"/>
                <a:gd name="T84" fmla="*/ 4727 w 9986"/>
                <a:gd name="T85" fmla="*/ 4653 h 5085"/>
                <a:gd name="T86" fmla="*/ 4495 w 9986"/>
                <a:gd name="T87" fmla="*/ 4284 h 5085"/>
                <a:gd name="T88" fmla="*/ 3755 w 9986"/>
                <a:gd name="T89" fmla="*/ 4512 h 5085"/>
                <a:gd name="T90" fmla="*/ 4028 w 9986"/>
                <a:gd name="T91" fmla="*/ 5028 h 5085"/>
                <a:gd name="T92" fmla="*/ 4023 w 9986"/>
                <a:gd name="T93" fmla="*/ 4799 h 5085"/>
                <a:gd name="T94" fmla="*/ 3948 w 9986"/>
                <a:gd name="T95" fmla="*/ 4459 h 5085"/>
                <a:gd name="T96" fmla="*/ 3405 w 9986"/>
                <a:gd name="T97" fmla="*/ 4531 h 5085"/>
                <a:gd name="T98" fmla="*/ 3205 w 9986"/>
                <a:gd name="T99" fmla="*/ 4459 h 5085"/>
                <a:gd name="T100" fmla="*/ 2844 w 9986"/>
                <a:gd name="T101" fmla="*/ 4291 h 5085"/>
                <a:gd name="T102" fmla="*/ 2753 w 9986"/>
                <a:gd name="T103" fmla="*/ 4435 h 5085"/>
                <a:gd name="T104" fmla="*/ 2577 w 9986"/>
                <a:gd name="T105" fmla="*/ 4531 h 5085"/>
                <a:gd name="T106" fmla="*/ 2001 w 9986"/>
                <a:gd name="T107" fmla="*/ 4693 h 5085"/>
                <a:gd name="T108" fmla="*/ 1969 w 9986"/>
                <a:gd name="T109" fmla="*/ 4796 h 5085"/>
                <a:gd name="T110" fmla="*/ 1912 w 9986"/>
                <a:gd name="T111" fmla="*/ 4439 h 5085"/>
                <a:gd name="T112" fmla="*/ 1500 w 9986"/>
                <a:gd name="T113" fmla="*/ 4439 h 5085"/>
                <a:gd name="T114" fmla="*/ 965 w 9986"/>
                <a:gd name="T115" fmla="*/ 4513 h 5085"/>
                <a:gd name="T116" fmla="*/ 753 w 9986"/>
                <a:gd name="T117" fmla="*/ 4882 h 5085"/>
                <a:gd name="T118" fmla="*/ 1083 w 9986"/>
                <a:gd name="T119" fmla="*/ 4796 h 5085"/>
                <a:gd name="T120" fmla="*/ 159 w 9986"/>
                <a:gd name="T121" fmla="*/ 4653 h 5085"/>
                <a:gd name="T122" fmla="*/ 93 w 9986"/>
                <a:gd name="T123" fmla="*/ 4908 h 5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986" h="5085">
                  <a:moveTo>
                    <a:pt x="9986" y="81"/>
                  </a:moveTo>
                  <a:cubicBezTo>
                    <a:pt x="9986" y="41"/>
                    <a:pt x="9953" y="8"/>
                    <a:pt x="9913" y="8"/>
                  </a:cubicBezTo>
                  <a:lnTo>
                    <a:pt x="9093" y="8"/>
                  </a:lnTo>
                  <a:cubicBezTo>
                    <a:pt x="9053" y="8"/>
                    <a:pt x="9020" y="40"/>
                    <a:pt x="9020" y="81"/>
                  </a:cubicBezTo>
                  <a:cubicBezTo>
                    <a:pt x="9020" y="121"/>
                    <a:pt x="9051" y="153"/>
                    <a:pt x="9093" y="153"/>
                  </a:cubicBezTo>
                  <a:lnTo>
                    <a:pt x="9438" y="153"/>
                  </a:lnTo>
                  <a:lnTo>
                    <a:pt x="9438" y="1468"/>
                  </a:lnTo>
                  <a:lnTo>
                    <a:pt x="9572" y="1468"/>
                  </a:lnTo>
                  <a:lnTo>
                    <a:pt x="9572" y="153"/>
                  </a:lnTo>
                  <a:lnTo>
                    <a:pt x="9915" y="153"/>
                  </a:lnTo>
                  <a:cubicBezTo>
                    <a:pt x="9955" y="155"/>
                    <a:pt x="9986" y="121"/>
                    <a:pt x="9986" y="81"/>
                  </a:cubicBezTo>
                  <a:close/>
                  <a:moveTo>
                    <a:pt x="7113" y="1"/>
                  </a:moveTo>
                  <a:cubicBezTo>
                    <a:pt x="7085" y="1"/>
                    <a:pt x="7065" y="20"/>
                    <a:pt x="7051" y="43"/>
                  </a:cubicBezTo>
                  <a:cubicBezTo>
                    <a:pt x="7040" y="66"/>
                    <a:pt x="6505" y="1386"/>
                    <a:pt x="6505" y="1386"/>
                  </a:cubicBezTo>
                  <a:cubicBezTo>
                    <a:pt x="6501" y="1395"/>
                    <a:pt x="6500" y="1403"/>
                    <a:pt x="6500" y="1411"/>
                  </a:cubicBezTo>
                  <a:cubicBezTo>
                    <a:pt x="6500" y="1448"/>
                    <a:pt x="6528" y="1476"/>
                    <a:pt x="6565" y="1476"/>
                  </a:cubicBezTo>
                  <a:cubicBezTo>
                    <a:pt x="6593" y="1476"/>
                    <a:pt x="6617" y="1460"/>
                    <a:pt x="6626" y="1435"/>
                  </a:cubicBezTo>
                  <a:lnTo>
                    <a:pt x="6835" y="925"/>
                  </a:lnTo>
                  <a:lnTo>
                    <a:pt x="7393" y="925"/>
                  </a:lnTo>
                  <a:lnTo>
                    <a:pt x="7615" y="1468"/>
                  </a:lnTo>
                  <a:lnTo>
                    <a:pt x="7756" y="1468"/>
                  </a:lnTo>
                  <a:cubicBezTo>
                    <a:pt x="7756" y="1468"/>
                    <a:pt x="7188" y="65"/>
                    <a:pt x="7176" y="41"/>
                  </a:cubicBezTo>
                  <a:cubicBezTo>
                    <a:pt x="7163" y="20"/>
                    <a:pt x="7142" y="1"/>
                    <a:pt x="7113" y="1"/>
                  </a:cubicBezTo>
                  <a:moveTo>
                    <a:pt x="6895" y="780"/>
                  </a:moveTo>
                  <a:lnTo>
                    <a:pt x="7115" y="240"/>
                  </a:lnTo>
                  <a:lnTo>
                    <a:pt x="7335" y="780"/>
                  </a:lnTo>
                  <a:lnTo>
                    <a:pt x="6895" y="780"/>
                  </a:lnTo>
                  <a:close/>
                  <a:moveTo>
                    <a:pt x="4490" y="1"/>
                  </a:moveTo>
                  <a:cubicBezTo>
                    <a:pt x="4463" y="1"/>
                    <a:pt x="4441" y="20"/>
                    <a:pt x="4430" y="41"/>
                  </a:cubicBezTo>
                  <a:cubicBezTo>
                    <a:pt x="4418" y="65"/>
                    <a:pt x="3995" y="1108"/>
                    <a:pt x="3995" y="1108"/>
                  </a:cubicBezTo>
                  <a:cubicBezTo>
                    <a:pt x="3995" y="1108"/>
                    <a:pt x="3572" y="63"/>
                    <a:pt x="3560" y="41"/>
                  </a:cubicBezTo>
                  <a:cubicBezTo>
                    <a:pt x="3548" y="18"/>
                    <a:pt x="3526" y="1"/>
                    <a:pt x="3500" y="1"/>
                  </a:cubicBezTo>
                  <a:cubicBezTo>
                    <a:pt x="3468" y="1"/>
                    <a:pt x="3443" y="25"/>
                    <a:pt x="3435" y="55"/>
                  </a:cubicBezTo>
                  <a:cubicBezTo>
                    <a:pt x="3426" y="85"/>
                    <a:pt x="3188" y="1400"/>
                    <a:pt x="3188" y="1400"/>
                  </a:cubicBezTo>
                  <a:cubicBezTo>
                    <a:pt x="3188" y="1405"/>
                    <a:pt x="3186" y="1408"/>
                    <a:pt x="3186" y="1413"/>
                  </a:cubicBezTo>
                  <a:cubicBezTo>
                    <a:pt x="3186" y="1450"/>
                    <a:pt x="3216" y="1478"/>
                    <a:pt x="3251" y="1478"/>
                  </a:cubicBezTo>
                  <a:cubicBezTo>
                    <a:pt x="3283" y="1478"/>
                    <a:pt x="3310" y="1455"/>
                    <a:pt x="3316" y="1425"/>
                  </a:cubicBezTo>
                  <a:lnTo>
                    <a:pt x="3523" y="300"/>
                  </a:lnTo>
                  <a:cubicBezTo>
                    <a:pt x="3523" y="300"/>
                    <a:pt x="3921" y="1283"/>
                    <a:pt x="3933" y="1306"/>
                  </a:cubicBezTo>
                  <a:cubicBezTo>
                    <a:pt x="3945" y="1330"/>
                    <a:pt x="3966" y="1348"/>
                    <a:pt x="3995" y="1348"/>
                  </a:cubicBezTo>
                  <a:cubicBezTo>
                    <a:pt x="4022" y="1348"/>
                    <a:pt x="4045" y="1330"/>
                    <a:pt x="4056" y="1306"/>
                  </a:cubicBezTo>
                  <a:cubicBezTo>
                    <a:pt x="4068" y="1283"/>
                    <a:pt x="4466" y="300"/>
                    <a:pt x="4466" y="300"/>
                  </a:cubicBezTo>
                  <a:lnTo>
                    <a:pt x="4681" y="1470"/>
                  </a:lnTo>
                  <a:lnTo>
                    <a:pt x="4815" y="1470"/>
                  </a:lnTo>
                  <a:cubicBezTo>
                    <a:pt x="4815" y="1470"/>
                    <a:pt x="4563" y="85"/>
                    <a:pt x="4555" y="55"/>
                  </a:cubicBezTo>
                  <a:cubicBezTo>
                    <a:pt x="4545" y="25"/>
                    <a:pt x="4522" y="1"/>
                    <a:pt x="4490" y="1"/>
                  </a:cubicBezTo>
                  <a:moveTo>
                    <a:pt x="5740" y="146"/>
                  </a:moveTo>
                  <a:cubicBezTo>
                    <a:pt x="5898" y="146"/>
                    <a:pt x="6047" y="208"/>
                    <a:pt x="6158" y="320"/>
                  </a:cubicBezTo>
                  <a:cubicBezTo>
                    <a:pt x="6185" y="346"/>
                    <a:pt x="6235" y="346"/>
                    <a:pt x="6261" y="320"/>
                  </a:cubicBezTo>
                  <a:cubicBezTo>
                    <a:pt x="6275" y="306"/>
                    <a:pt x="6283" y="288"/>
                    <a:pt x="6283" y="268"/>
                  </a:cubicBezTo>
                  <a:cubicBezTo>
                    <a:pt x="6283" y="248"/>
                    <a:pt x="6275" y="230"/>
                    <a:pt x="6261" y="216"/>
                  </a:cubicBezTo>
                  <a:lnTo>
                    <a:pt x="6253" y="208"/>
                  </a:lnTo>
                  <a:cubicBezTo>
                    <a:pt x="6115" y="75"/>
                    <a:pt x="5933" y="1"/>
                    <a:pt x="5740" y="1"/>
                  </a:cubicBezTo>
                  <a:cubicBezTo>
                    <a:pt x="5333" y="1"/>
                    <a:pt x="5001" y="333"/>
                    <a:pt x="5001" y="740"/>
                  </a:cubicBezTo>
                  <a:cubicBezTo>
                    <a:pt x="5001" y="1146"/>
                    <a:pt x="5333" y="1478"/>
                    <a:pt x="5740" y="1478"/>
                  </a:cubicBezTo>
                  <a:cubicBezTo>
                    <a:pt x="5955" y="1478"/>
                    <a:pt x="6148" y="1386"/>
                    <a:pt x="6283" y="1238"/>
                  </a:cubicBezTo>
                  <a:lnTo>
                    <a:pt x="6180" y="1135"/>
                  </a:lnTo>
                  <a:cubicBezTo>
                    <a:pt x="6072" y="1255"/>
                    <a:pt x="5915" y="1331"/>
                    <a:pt x="5740" y="1331"/>
                  </a:cubicBezTo>
                  <a:cubicBezTo>
                    <a:pt x="5413" y="1331"/>
                    <a:pt x="5147" y="1065"/>
                    <a:pt x="5147" y="738"/>
                  </a:cubicBezTo>
                  <a:cubicBezTo>
                    <a:pt x="5147" y="413"/>
                    <a:pt x="5413" y="146"/>
                    <a:pt x="5740" y="146"/>
                  </a:cubicBezTo>
                  <a:moveTo>
                    <a:pt x="736" y="146"/>
                  </a:moveTo>
                  <a:cubicBezTo>
                    <a:pt x="895" y="146"/>
                    <a:pt x="1043" y="208"/>
                    <a:pt x="1156" y="320"/>
                  </a:cubicBezTo>
                  <a:cubicBezTo>
                    <a:pt x="1183" y="346"/>
                    <a:pt x="1233" y="346"/>
                    <a:pt x="1260" y="320"/>
                  </a:cubicBezTo>
                  <a:cubicBezTo>
                    <a:pt x="1273" y="306"/>
                    <a:pt x="1281" y="288"/>
                    <a:pt x="1281" y="268"/>
                  </a:cubicBezTo>
                  <a:cubicBezTo>
                    <a:pt x="1281" y="248"/>
                    <a:pt x="1275" y="230"/>
                    <a:pt x="1260" y="216"/>
                  </a:cubicBezTo>
                  <a:lnTo>
                    <a:pt x="1251" y="208"/>
                  </a:lnTo>
                  <a:cubicBezTo>
                    <a:pt x="1113" y="75"/>
                    <a:pt x="931" y="1"/>
                    <a:pt x="738" y="1"/>
                  </a:cubicBezTo>
                  <a:cubicBezTo>
                    <a:pt x="331" y="1"/>
                    <a:pt x="0" y="333"/>
                    <a:pt x="0" y="740"/>
                  </a:cubicBezTo>
                  <a:cubicBezTo>
                    <a:pt x="0" y="1146"/>
                    <a:pt x="331" y="1478"/>
                    <a:pt x="738" y="1478"/>
                  </a:cubicBezTo>
                  <a:cubicBezTo>
                    <a:pt x="953" y="1478"/>
                    <a:pt x="1147" y="1386"/>
                    <a:pt x="1281" y="1238"/>
                  </a:cubicBezTo>
                  <a:lnTo>
                    <a:pt x="1178" y="1135"/>
                  </a:lnTo>
                  <a:cubicBezTo>
                    <a:pt x="1070" y="1255"/>
                    <a:pt x="911" y="1331"/>
                    <a:pt x="738" y="1331"/>
                  </a:cubicBezTo>
                  <a:cubicBezTo>
                    <a:pt x="411" y="1331"/>
                    <a:pt x="145" y="1065"/>
                    <a:pt x="145" y="738"/>
                  </a:cubicBezTo>
                  <a:cubicBezTo>
                    <a:pt x="143" y="413"/>
                    <a:pt x="410" y="146"/>
                    <a:pt x="736" y="146"/>
                  </a:cubicBezTo>
                  <a:moveTo>
                    <a:pt x="8613" y="748"/>
                  </a:moveTo>
                  <a:cubicBezTo>
                    <a:pt x="8573" y="728"/>
                    <a:pt x="8333" y="603"/>
                    <a:pt x="8298" y="585"/>
                  </a:cubicBezTo>
                  <a:cubicBezTo>
                    <a:pt x="8172" y="520"/>
                    <a:pt x="8126" y="463"/>
                    <a:pt x="8126" y="366"/>
                  </a:cubicBezTo>
                  <a:cubicBezTo>
                    <a:pt x="8126" y="231"/>
                    <a:pt x="8236" y="145"/>
                    <a:pt x="8408" y="145"/>
                  </a:cubicBezTo>
                  <a:cubicBezTo>
                    <a:pt x="8508" y="145"/>
                    <a:pt x="8606" y="188"/>
                    <a:pt x="8663" y="221"/>
                  </a:cubicBezTo>
                  <a:cubicBezTo>
                    <a:pt x="8673" y="226"/>
                    <a:pt x="8686" y="230"/>
                    <a:pt x="8698" y="230"/>
                  </a:cubicBezTo>
                  <a:cubicBezTo>
                    <a:pt x="8738" y="230"/>
                    <a:pt x="8772" y="198"/>
                    <a:pt x="8772" y="158"/>
                  </a:cubicBezTo>
                  <a:cubicBezTo>
                    <a:pt x="8772" y="131"/>
                    <a:pt x="8756" y="108"/>
                    <a:pt x="8735" y="95"/>
                  </a:cubicBezTo>
                  <a:cubicBezTo>
                    <a:pt x="8663" y="55"/>
                    <a:pt x="8542" y="0"/>
                    <a:pt x="8410" y="0"/>
                  </a:cubicBezTo>
                  <a:cubicBezTo>
                    <a:pt x="8158" y="0"/>
                    <a:pt x="7983" y="150"/>
                    <a:pt x="7983" y="366"/>
                  </a:cubicBezTo>
                  <a:cubicBezTo>
                    <a:pt x="7983" y="560"/>
                    <a:pt x="8110" y="651"/>
                    <a:pt x="8235" y="715"/>
                  </a:cubicBezTo>
                  <a:cubicBezTo>
                    <a:pt x="8270" y="733"/>
                    <a:pt x="8513" y="858"/>
                    <a:pt x="8550" y="878"/>
                  </a:cubicBezTo>
                  <a:cubicBezTo>
                    <a:pt x="8647" y="928"/>
                    <a:pt x="8700" y="1005"/>
                    <a:pt x="8700" y="1091"/>
                  </a:cubicBezTo>
                  <a:cubicBezTo>
                    <a:pt x="8700" y="1208"/>
                    <a:pt x="8601" y="1331"/>
                    <a:pt x="8418" y="1331"/>
                  </a:cubicBezTo>
                  <a:cubicBezTo>
                    <a:pt x="8240" y="1331"/>
                    <a:pt x="8101" y="1211"/>
                    <a:pt x="8065" y="1175"/>
                  </a:cubicBezTo>
                  <a:lnTo>
                    <a:pt x="8053" y="1163"/>
                  </a:lnTo>
                  <a:lnTo>
                    <a:pt x="7945" y="1261"/>
                  </a:lnTo>
                  <a:lnTo>
                    <a:pt x="7958" y="1273"/>
                  </a:lnTo>
                  <a:cubicBezTo>
                    <a:pt x="8006" y="1320"/>
                    <a:pt x="8180" y="1475"/>
                    <a:pt x="8418" y="1475"/>
                  </a:cubicBezTo>
                  <a:cubicBezTo>
                    <a:pt x="8685" y="1475"/>
                    <a:pt x="8845" y="1278"/>
                    <a:pt x="8845" y="1088"/>
                  </a:cubicBezTo>
                  <a:cubicBezTo>
                    <a:pt x="8843" y="950"/>
                    <a:pt x="8760" y="825"/>
                    <a:pt x="8613" y="748"/>
                  </a:cubicBezTo>
                  <a:moveTo>
                    <a:pt x="2250" y="1"/>
                  </a:moveTo>
                  <a:cubicBezTo>
                    <a:pt x="1843" y="1"/>
                    <a:pt x="1511" y="333"/>
                    <a:pt x="1511" y="740"/>
                  </a:cubicBezTo>
                  <a:cubicBezTo>
                    <a:pt x="1511" y="1146"/>
                    <a:pt x="1843" y="1478"/>
                    <a:pt x="2250" y="1478"/>
                  </a:cubicBezTo>
                  <a:cubicBezTo>
                    <a:pt x="2656" y="1478"/>
                    <a:pt x="2988" y="1146"/>
                    <a:pt x="2988" y="740"/>
                  </a:cubicBezTo>
                  <a:cubicBezTo>
                    <a:pt x="2988" y="333"/>
                    <a:pt x="2656" y="1"/>
                    <a:pt x="2250" y="1"/>
                  </a:cubicBezTo>
                  <a:moveTo>
                    <a:pt x="2250" y="1331"/>
                  </a:moveTo>
                  <a:cubicBezTo>
                    <a:pt x="1923" y="1331"/>
                    <a:pt x="1656" y="1065"/>
                    <a:pt x="1656" y="738"/>
                  </a:cubicBezTo>
                  <a:cubicBezTo>
                    <a:pt x="1656" y="411"/>
                    <a:pt x="1923" y="145"/>
                    <a:pt x="2250" y="145"/>
                  </a:cubicBezTo>
                  <a:cubicBezTo>
                    <a:pt x="2576" y="145"/>
                    <a:pt x="2843" y="411"/>
                    <a:pt x="2843" y="738"/>
                  </a:cubicBezTo>
                  <a:cubicBezTo>
                    <a:pt x="2841" y="1066"/>
                    <a:pt x="2576" y="1331"/>
                    <a:pt x="2250" y="1331"/>
                  </a:cubicBezTo>
                  <a:close/>
                  <a:moveTo>
                    <a:pt x="9887" y="4438"/>
                  </a:moveTo>
                  <a:lnTo>
                    <a:pt x="9886" y="4303"/>
                  </a:lnTo>
                  <a:lnTo>
                    <a:pt x="9814" y="4415"/>
                  </a:lnTo>
                  <a:lnTo>
                    <a:pt x="9799" y="4415"/>
                  </a:lnTo>
                  <a:lnTo>
                    <a:pt x="9726" y="4306"/>
                  </a:lnTo>
                  <a:lnTo>
                    <a:pt x="9726" y="4438"/>
                  </a:lnTo>
                  <a:lnTo>
                    <a:pt x="9694" y="4438"/>
                  </a:lnTo>
                  <a:lnTo>
                    <a:pt x="9694" y="4246"/>
                  </a:lnTo>
                  <a:lnTo>
                    <a:pt x="9721" y="4246"/>
                  </a:lnTo>
                  <a:lnTo>
                    <a:pt x="9807" y="4377"/>
                  </a:lnTo>
                  <a:lnTo>
                    <a:pt x="9891" y="4246"/>
                  </a:lnTo>
                  <a:lnTo>
                    <a:pt x="9918" y="4246"/>
                  </a:lnTo>
                  <a:lnTo>
                    <a:pt x="9918" y="4438"/>
                  </a:lnTo>
                  <a:lnTo>
                    <a:pt x="9887" y="4438"/>
                  </a:lnTo>
                  <a:close/>
                  <a:moveTo>
                    <a:pt x="9492" y="4246"/>
                  </a:moveTo>
                  <a:lnTo>
                    <a:pt x="9666" y="4246"/>
                  </a:lnTo>
                  <a:lnTo>
                    <a:pt x="9666" y="4273"/>
                  </a:lnTo>
                  <a:lnTo>
                    <a:pt x="9596" y="4273"/>
                  </a:lnTo>
                  <a:lnTo>
                    <a:pt x="9596" y="4438"/>
                  </a:lnTo>
                  <a:lnTo>
                    <a:pt x="9562" y="4438"/>
                  </a:lnTo>
                  <a:lnTo>
                    <a:pt x="9562" y="4273"/>
                  </a:lnTo>
                  <a:lnTo>
                    <a:pt x="9492" y="4273"/>
                  </a:lnTo>
                  <a:lnTo>
                    <a:pt x="9492" y="4246"/>
                  </a:lnTo>
                  <a:close/>
                  <a:moveTo>
                    <a:pt x="9167" y="4896"/>
                  </a:moveTo>
                  <a:cubicBezTo>
                    <a:pt x="9133" y="4885"/>
                    <a:pt x="9105" y="4871"/>
                    <a:pt x="9086" y="4854"/>
                  </a:cubicBezTo>
                  <a:lnTo>
                    <a:pt x="9114" y="4804"/>
                  </a:lnTo>
                  <a:cubicBezTo>
                    <a:pt x="9134" y="4820"/>
                    <a:pt x="9159" y="4833"/>
                    <a:pt x="9188" y="4842"/>
                  </a:cubicBezTo>
                  <a:cubicBezTo>
                    <a:pt x="9218" y="4852"/>
                    <a:pt x="9249" y="4857"/>
                    <a:pt x="9281" y="4857"/>
                  </a:cubicBezTo>
                  <a:cubicBezTo>
                    <a:pt x="9324" y="4857"/>
                    <a:pt x="9356" y="4850"/>
                    <a:pt x="9377" y="4837"/>
                  </a:cubicBezTo>
                  <a:cubicBezTo>
                    <a:pt x="9397" y="4824"/>
                    <a:pt x="9408" y="4805"/>
                    <a:pt x="9408" y="4780"/>
                  </a:cubicBezTo>
                  <a:cubicBezTo>
                    <a:pt x="9408" y="4763"/>
                    <a:pt x="9402" y="4750"/>
                    <a:pt x="9390" y="4740"/>
                  </a:cubicBezTo>
                  <a:cubicBezTo>
                    <a:pt x="9379" y="4730"/>
                    <a:pt x="9365" y="4723"/>
                    <a:pt x="9348" y="4717"/>
                  </a:cubicBezTo>
                  <a:cubicBezTo>
                    <a:pt x="9330" y="4712"/>
                    <a:pt x="9307" y="4708"/>
                    <a:pt x="9279" y="4703"/>
                  </a:cubicBezTo>
                  <a:cubicBezTo>
                    <a:pt x="9241" y="4696"/>
                    <a:pt x="9210" y="4688"/>
                    <a:pt x="9187" y="4681"/>
                  </a:cubicBezTo>
                  <a:cubicBezTo>
                    <a:pt x="9163" y="4674"/>
                    <a:pt x="9144" y="4661"/>
                    <a:pt x="9127" y="4643"/>
                  </a:cubicBezTo>
                  <a:cubicBezTo>
                    <a:pt x="9111" y="4625"/>
                    <a:pt x="9103" y="4601"/>
                    <a:pt x="9103" y="4569"/>
                  </a:cubicBezTo>
                  <a:cubicBezTo>
                    <a:pt x="9103" y="4530"/>
                    <a:pt x="9119" y="4498"/>
                    <a:pt x="9152" y="4473"/>
                  </a:cubicBezTo>
                  <a:cubicBezTo>
                    <a:pt x="9185" y="4448"/>
                    <a:pt x="9230" y="4435"/>
                    <a:pt x="9289" y="4435"/>
                  </a:cubicBezTo>
                  <a:cubicBezTo>
                    <a:pt x="9319" y="4435"/>
                    <a:pt x="9349" y="4439"/>
                    <a:pt x="9380" y="4447"/>
                  </a:cubicBezTo>
                  <a:cubicBezTo>
                    <a:pt x="9410" y="4455"/>
                    <a:pt x="9435" y="4466"/>
                    <a:pt x="9455" y="4479"/>
                  </a:cubicBezTo>
                  <a:lnTo>
                    <a:pt x="9427" y="4530"/>
                  </a:lnTo>
                  <a:cubicBezTo>
                    <a:pt x="9388" y="4503"/>
                    <a:pt x="9342" y="4490"/>
                    <a:pt x="9289" y="4490"/>
                  </a:cubicBezTo>
                  <a:cubicBezTo>
                    <a:pt x="9248" y="4490"/>
                    <a:pt x="9218" y="4497"/>
                    <a:pt x="9197" y="4511"/>
                  </a:cubicBezTo>
                  <a:cubicBezTo>
                    <a:pt x="9176" y="4525"/>
                    <a:pt x="9166" y="4544"/>
                    <a:pt x="9166" y="4567"/>
                  </a:cubicBezTo>
                  <a:cubicBezTo>
                    <a:pt x="9166" y="4585"/>
                    <a:pt x="9172" y="4599"/>
                    <a:pt x="9184" y="4610"/>
                  </a:cubicBezTo>
                  <a:cubicBezTo>
                    <a:pt x="9195" y="4621"/>
                    <a:pt x="9210" y="4629"/>
                    <a:pt x="9227" y="4634"/>
                  </a:cubicBezTo>
                  <a:cubicBezTo>
                    <a:pt x="9244" y="4639"/>
                    <a:pt x="9268" y="4644"/>
                    <a:pt x="9298" y="4649"/>
                  </a:cubicBezTo>
                  <a:cubicBezTo>
                    <a:pt x="9336" y="4656"/>
                    <a:pt x="9366" y="4664"/>
                    <a:pt x="9389" y="4671"/>
                  </a:cubicBezTo>
                  <a:cubicBezTo>
                    <a:pt x="9411" y="4678"/>
                    <a:pt x="9431" y="4690"/>
                    <a:pt x="9447" y="4707"/>
                  </a:cubicBezTo>
                  <a:cubicBezTo>
                    <a:pt x="9463" y="4724"/>
                    <a:pt x="9471" y="4748"/>
                    <a:pt x="9471" y="4779"/>
                  </a:cubicBezTo>
                  <a:cubicBezTo>
                    <a:pt x="9471" y="4820"/>
                    <a:pt x="9454" y="4852"/>
                    <a:pt x="9420" y="4876"/>
                  </a:cubicBezTo>
                  <a:cubicBezTo>
                    <a:pt x="9385" y="4900"/>
                    <a:pt x="9338" y="4912"/>
                    <a:pt x="9277" y="4912"/>
                  </a:cubicBezTo>
                  <a:cubicBezTo>
                    <a:pt x="9239" y="4912"/>
                    <a:pt x="9202" y="4907"/>
                    <a:pt x="9167" y="4896"/>
                  </a:cubicBezTo>
                  <a:moveTo>
                    <a:pt x="8688" y="4533"/>
                  </a:moveTo>
                  <a:cubicBezTo>
                    <a:pt x="8658" y="4562"/>
                    <a:pt x="8640" y="4599"/>
                    <a:pt x="8636" y="4646"/>
                  </a:cubicBezTo>
                  <a:lnTo>
                    <a:pt x="8969" y="4646"/>
                  </a:lnTo>
                  <a:cubicBezTo>
                    <a:pt x="8965" y="4599"/>
                    <a:pt x="8948" y="4562"/>
                    <a:pt x="8917" y="4533"/>
                  </a:cubicBezTo>
                  <a:cubicBezTo>
                    <a:pt x="8886" y="4504"/>
                    <a:pt x="8848" y="4490"/>
                    <a:pt x="8802" y="4490"/>
                  </a:cubicBezTo>
                  <a:cubicBezTo>
                    <a:pt x="8757" y="4490"/>
                    <a:pt x="8719" y="4504"/>
                    <a:pt x="8688" y="4533"/>
                  </a:cubicBezTo>
                  <a:close/>
                  <a:moveTo>
                    <a:pt x="9029" y="4693"/>
                  </a:moveTo>
                  <a:lnTo>
                    <a:pt x="8636" y="4693"/>
                  </a:lnTo>
                  <a:cubicBezTo>
                    <a:pt x="8640" y="4742"/>
                    <a:pt x="8658" y="4781"/>
                    <a:pt x="8692" y="4811"/>
                  </a:cubicBezTo>
                  <a:cubicBezTo>
                    <a:pt x="8726" y="4841"/>
                    <a:pt x="8769" y="4856"/>
                    <a:pt x="8821" y="4856"/>
                  </a:cubicBezTo>
                  <a:cubicBezTo>
                    <a:pt x="8850" y="4856"/>
                    <a:pt x="8877" y="4851"/>
                    <a:pt x="8901" y="4841"/>
                  </a:cubicBezTo>
                  <a:cubicBezTo>
                    <a:pt x="8926" y="4830"/>
                    <a:pt x="8947" y="4815"/>
                    <a:pt x="8965" y="4795"/>
                  </a:cubicBezTo>
                  <a:lnTo>
                    <a:pt x="9001" y="4836"/>
                  </a:lnTo>
                  <a:cubicBezTo>
                    <a:pt x="8980" y="4861"/>
                    <a:pt x="8954" y="4880"/>
                    <a:pt x="8922" y="4893"/>
                  </a:cubicBezTo>
                  <a:cubicBezTo>
                    <a:pt x="8891" y="4906"/>
                    <a:pt x="8857" y="4912"/>
                    <a:pt x="8819" y="4912"/>
                  </a:cubicBezTo>
                  <a:cubicBezTo>
                    <a:pt x="8771" y="4912"/>
                    <a:pt x="8728" y="4902"/>
                    <a:pt x="8691" y="4882"/>
                  </a:cubicBezTo>
                  <a:cubicBezTo>
                    <a:pt x="8654" y="4861"/>
                    <a:pt x="8625" y="4833"/>
                    <a:pt x="8604" y="4796"/>
                  </a:cubicBezTo>
                  <a:cubicBezTo>
                    <a:pt x="8583" y="4760"/>
                    <a:pt x="8572" y="4719"/>
                    <a:pt x="8572" y="4673"/>
                  </a:cubicBezTo>
                  <a:cubicBezTo>
                    <a:pt x="8572" y="4628"/>
                    <a:pt x="8582" y="4587"/>
                    <a:pt x="8602" y="4550"/>
                  </a:cubicBezTo>
                  <a:cubicBezTo>
                    <a:pt x="8622" y="4514"/>
                    <a:pt x="8650" y="4486"/>
                    <a:pt x="8685" y="4466"/>
                  </a:cubicBezTo>
                  <a:cubicBezTo>
                    <a:pt x="8720" y="4445"/>
                    <a:pt x="8759" y="4435"/>
                    <a:pt x="8802" y="4435"/>
                  </a:cubicBezTo>
                  <a:cubicBezTo>
                    <a:pt x="8846" y="4435"/>
                    <a:pt x="8885" y="4445"/>
                    <a:pt x="8919" y="4466"/>
                  </a:cubicBezTo>
                  <a:cubicBezTo>
                    <a:pt x="8954" y="4486"/>
                    <a:pt x="8981" y="4514"/>
                    <a:pt x="9001" y="4550"/>
                  </a:cubicBezTo>
                  <a:cubicBezTo>
                    <a:pt x="9020" y="4586"/>
                    <a:pt x="9030" y="4627"/>
                    <a:pt x="9030" y="4673"/>
                  </a:cubicBezTo>
                  <a:lnTo>
                    <a:pt x="9029" y="4693"/>
                  </a:lnTo>
                  <a:close/>
                  <a:moveTo>
                    <a:pt x="8388" y="4439"/>
                  </a:moveTo>
                  <a:lnTo>
                    <a:pt x="8452" y="4439"/>
                  </a:lnTo>
                  <a:lnTo>
                    <a:pt x="8452" y="4908"/>
                  </a:lnTo>
                  <a:lnTo>
                    <a:pt x="8388" y="4908"/>
                  </a:lnTo>
                  <a:lnTo>
                    <a:pt x="8388" y="4439"/>
                  </a:lnTo>
                  <a:close/>
                  <a:moveTo>
                    <a:pt x="8387" y="4323"/>
                  </a:moveTo>
                  <a:cubicBezTo>
                    <a:pt x="8378" y="4314"/>
                    <a:pt x="8374" y="4303"/>
                    <a:pt x="8374" y="4291"/>
                  </a:cubicBezTo>
                  <a:cubicBezTo>
                    <a:pt x="8374" y="4279"/>
                    <a:pt x="8378" y="4268"/>
                    <a:pt x="8387" y="4260"/>
                  </a:cubicBezTo>
                  <a:cubicBezTo>
                    <a:pt x="8396" y="4251"/>
                    <a:pt x="8407" y="4246"/>
                    <a:pt x="8420" y="4246"/>
                  </a:cubicBezTo>
                  <a:cubicBezTo>
                    <a:pt x="8434" y="4246"/>
                    <a:pt x="8445" y="4250"/>
                    <a:pt x="8454" y="4259"/>
                  </a:cubicBezTo>
                  <a:cubicBezTo>
                    <a:pt x="8462" y="4268"/>
                    <a:pt x="8467" y="4278"/>
                    <a:pt x="8467" y="4290"/>
                  </a:cubicBezTo>
                  <a:cubicBezTo>
                    <a:pt x="8467" y="4303"/>
                    <a:pt x="8462" y="4314"/>
                    <a:pt x="8454" y="4323"/>
                  </a:cubicBezTo>
                  <a:cubicBezTo>
                    <a:pt x="8445" y="4332"/>
                    <a:pt x="8434" y="4336"/>
                    <a:pt x="8420" y="4336"/>
                  </a:cubicBezTo>
                  <a:cubicBezTo>
                    <a:pt x="8407" y="4336"/>
                    <a:pt x="8396" y="4332"/>
                    <a:pt x="8387" y="4323"/>
                  </a:cubicBezTo>
                  <a:close/>
                  <a:moveTo>
                    <a:pt x="8282" y="4879"/>
                  </a:moveTo>
                  <a:cubicBezTo>
                    <a:pt x="8270" y="4890"/>
                    <a:pt x="8255" y="4898"/>
                    <a:pt x="8238" y="4904"/>
                  </a:cubicBezTo>
                  <a:cubicBezTo>
                    <a:pt x="8220" y="4910"/>
                    <a:pt x="8202" y="4912"/>
                    <a:pt x="8183" y="4912"/>
                  </a:cubicBezTo>
                  <a:cubicBezTo>
                    <a:pt x="8139" y="4912"/>
                    <a:pt x="8105" y="4900"/>
                    <a:pt x="8081" y="4877"/>
                  </a:cubicBezTo>
                  <a:cubicBezTo>
                    <a:pt x="8057" y="4853"/>
                    <a:pt x="8045" y="4819"/>
                    <a:pt x="8045" y="4776"/>
                  </a:cubicBezTo>
                  <a:lnTo>
                    <a:pt x="8045" y="4492"/>
                  </a:lnTo>
                  <a:lnTo>
                    <a:pt x="7961" y="4492"/>
                  </a:lnTo>
                  <a:lnTo>
                    <a:pt x="7961" y="4439"/>
                  </a:lnTo>
                  <a:lnTo>
                    <a:pt x="8045" y="4439"/>
                  </a:lnTo>
                  <a:lnTo>
                    <a:pt x="8045" y="4336"/>
                  </a:lnTo>
                  <a:lnTo>
                    <a:pt x="8108" y="4336"/>
                  </a:lnTo>
                  <a:lnTo>
                    <a:pt x="8108" y="4439"/>
                  </a:lnTo>
                  <a:lnTo>
                    <a:pt x="8251" y="4439"/>
                  </a:lnTo>
                  <a:lnTo>
                    <a:pt x="8251" y="4492"/>
                  </a:lnTo>
                  <a:lnTo>
                    <a:pt x="8108" y="4492"/>
                  </a:lnTo>
                  <a:lnTo>
                    <a:pt x="8108" y="4772"/>
                  </a:lnTo>
                  <a:cubicBezTo>
                    <a:pt x="8108" y="4800"/>
                    <a:pt x="8115" y="4822"/>
                    <a:pt x="8129" y="4836"/>
                  </a:cubicBezTo>
                  <a:cubicBezTo>
                    <a:pt x="8143" y="4851"/>
                    <a:pt x="8164" y="4858"/>
                    <a:pt x="8190" y="4858"/>
                  </a:cubicBezTo>
                  <a:cubicBezTo>
                    <a:pt x="8203" y="4858"/>
                    <a:pt x="8216" y="4856"/>
                    <a:pt x="8228" y="4852"/>
                  </a:cubicBezTo>
                  <a:cubicBezTo>
                    <a:pt x="8240" y="4848"/>
                    <a:pt x="8251" y="4842"/>
                    <a:pt x="8260" y="4834"/>
                  </a:cubicBezTo>
                  <a:lnTo>
                    <a:pt x="8282" y="4879"/>
                  </a:lnTo>
                  <a:close/>
                  <a:moveTo>
                    <a:pt x="7803" y="4439"/>
                  </a:moveTo>
                  <a:lnTo>
                    <a:pt x="7866" y="4439"/>
                  </a:lnTo>
                  <a:lnTo>
                    <a:pt x="7866" y="4908"/>
                  </a:lnTo>
                  <a:lnTo>
                    <a:pt x="7803" y="4908"/>
                  </a:lnTo>
                  <a:lnTo>
                    <a:pt x="7803" y="4439"/>
                  </a:lnTo>
                  <a:close/>
                  <a:moveTo>
                    <a:pt x="7802" y="4323"/>
                  </a:moveTo>
                  <a:cubicBezTo>
                    <a:pt x="7793" y="4314"/>
                    <a:pt x="7788" y="4303"/>
                    <a:pt x="7788" y="4291"/>
                  </a:cubicBezTo>
                  <a:cubicBezTo>
                    <a:pt x="7788" y="4279"/>
                    <a:pt x="7793" y="4268"/>
                    <a:pt x="7802" y="4260"/>
                  </a:cubicBezTo>
                  <a:cubicBezTo>
                    <a:pt x="7811" y="4251"/>
                    <a:pt x="7822" y="4246"/>
                    <a:pt x="7835" y="4246"/>
                  </a:cubicBezTo>
                  <a:cubicBezTo>
                    <a:pt x="7848" y="4246"/>
                    <a:pt x="7859" y="4250"/>
                    <a:pt x="7868" y="4259"/>
                  </a:cubicBezTo>
                  <a:cubicBezTo>
                    <a:pt x="7877" y="4268"/>
                    <a:pt x="7881" y="4278"/>
                    <a:pt x="7881" y="4290"/>
                  </a:cubicBezTo>
                  <a:cubicBezTo>
                    <a:pt x="7881" y="4303"/>
                    <a:pt x="7877" y="4314"/>
                    <a:pt x="7868" y="4323"/>
                  </a:cubicBezTo>
                  <a:cubicBezTo>
                    <a:pt x="7859" y="4332"/>
                    <a:pt x="7848" y="4336"/>
                    <a:pt x="7835" y="4336"/>
                  </a:cubicBezTo>
                  <a:cubicBezTo>
                    <a:pt x="7822" y="4336"/>
                    <a:pt x="7811" y="4332"/>
                    <a:pt x="7802" y="4323"/>
                  </a:cubicBezTo>
                  <a:close/>
                  <a:moveTo>
                    <a:pt x="7571" y="4246"/>
                  </a:moveTo>
                  <a:lnTo>
                    <a:pt x="7635" y="4246"/>
                  </a:lnTo>
                  <a:lnTo>
                    <a:pt x="7635" y="4908"/>
                  </a:lnTo>
                  <a:lnTo>
                    <a:pt x="7571" y="4908"/>
                  </a:lnTo>
                  <a:lnTo>
                    <a:pt x="7571" y="4246"/>
                  </a:lnTo>
                  <a:close/>
                  <a:moveTo>
                    <a:pt x="7340" y="4439"/>
                  </a:moveTo>
                  <a:lnTo>
                    <a:pt x="7403" y="4439"/>
                  </a:lnTo>
                  <a:lnTo>
                    <a:pt x="7403" y="4908"/>
                  </a:lnTo>
                  <a:lnTo>
                    <a:pt x="7340" y="4908"/>
                  </a:lnTo>
                  <a:lnTo>
                    <a:pt x="7340" y="4439"/>
                  </a:lnTo>
                  <a:close/>
                  <a:moveTo>
                    <a:pt x="7339" y="4323"/>
                  </a:moveTo>
                  <a:cubicBezTo>
                    <a:pt x="7330" y="4314"/>
                    <a:pt x="7325" y="4303"/>
                    <a:pt x="7325" y="4291"/>
                  </a:cubicBezTo>
                  <a:cubicBezTo>
                    <a:pt x="7325" y="4279"/>
                    <a:pt x="7330" y="4268"/>
                    <a:pt x="7339" y="4260"/>
                  </a:cubicBezTo>
                  <a:cubicBezTo>
                    <a:pt x="7348" y="4251"/>
                    <a:pt x="7359" y="4246"/>
                    <a:pt x="7372" y="4246"/>
                  </a:cubicBezTo>
                  <a:cubicBezTo>
                    <a:pt x="7385" y="4246"/>
                    <a:pt x="7396" y="4250"/>
                    <a:pt x="7405" y="4259"/>
                  </a:cubicBezTo>
                  <a:cubicBezTo>
                    <a:pt x="7414" y="4268"/>
                    <a:pt x="7418" y="4278"/>
                    <a:pt x="7418" y="4290"/>
                  </a:cubicBezTo>
                  <a:cubicBezTo>
                    <a:pt x="7418" y="4303"/>
                    <a:pt x="7414" y="4314"/>
                    <a:pt x="7405" y="4323"/>
                  </a:cubicBezTo>
                  <a:cubicBezTo>
                    <a:pt x="7396" y="4332"/>
                    <a:pt x="7385" y="4336"/>
                    <a:pt x="7372" y="4336"/>
                  </a:cubicBezTo>
                  <a:cubicBezTo>
                    <a:pt x="7359" y="4336"/>
                    <a:pt x="7348" y="4332"/>
                    <a:pt x="7339" y="4323"/>
                  </a:cubicBezTo>
                  <a:close/>
                  <a:moveTo>
                    <a:pt x="7070" y="4833"/>
                  </a:moveTo>
                  <a:cubicBezTo>
                    <a:pt x="7096" y="4818"/>
                    <a:pt x="7117" y="4797"/>
                    <a:pt x="7133" y="4769"/>
                  </a:cubicBezTo>
                  <a:cubicBezTo>
                    <a:pt x="7148" y="4741"/>
                    <a:pt x="7155" y="4709"/>
                    <a:pt x="7155" y="4673"/>
                  </a:cubicBezTo>
                  <a:cubicBezTo>
                    <a:pt x="7155" y="4638"/>
                    <a:pt x="7148" y="4606"/>
                    <a:pt x="7133" y="4578"/>
                  </a:cubicBezTo>
                  <a:cubicBezTo>
                    <a:pt x="7117" y="4550"/>
                    <a:pt x="7096" y="4528"/>
                    <a:pt x="7070" y="4513"/>
                  </a:cubicBezTo>
                  <a:cubicBezTo>
                    <a:pt x="7043" y="4498"/>
                    <a:pt x="7013" y="4491"/>
                    <a:pt x="6980" y="4491"/>
                  </a:cubicBezTo>
                  <a:cubicBezTo>
                    <a:pt x="6947" y="4491"/>
                    <a:pt x="6917" y="4498"/>
                    <a:pt x="6890" y="4513"/>
                  </a:cubicBezTo>
                  <a:cubicBezTo>
                    <a:pt x="6864" y="4528"/>
                    <a:pt x="6843" y="4550"/>
                    <a:pt x="6828" y="4578"/>
                  </a:cubicBezTo>
                  <a:cubicBezTo>
                    <a:pt x="6813" y="4606"/>
                    <a:pt x="6805" y="4638"/>
                    <a:pt x="6805" y="4673"/>
                  </a:cubicBezTo>
                  <a:cubicBezTo>
                    <a:pt x="6805" y="4709"/>
                    <a:pt x="6813" y="4741"/>
                    <a:pt x="6828" y="4769"/>
                  </a:cubicBezTo>
                  <a:cubicBezTo>
                    <a:pt x="6843" y="4797"/>
                    <a:pt x="6864" y="4818"/>
                    <a:pt x="6890" y="4833"/>
                  </a:cubicBezTo>
                  <a:cubicBezTo>
                    <a:pt x="6917" y="4849"/>
                    <a:pt x="6947" y="4856"/>
                    <a:pt x="6980" y="4856"/>
                  </a:cubicBezTo>
                  <a:cubicBezTo>
                    <a:pt x="7013" y="4856"/>
                    <a:pt x="7043" y="4849"/>
                    <a:pt x="7070" y="4833"/>
                  </a:cubicBezTo>
                  <a:close/>
                  <a:moveTo>
                    <a:pt x="7104" y="4465"/>
                  </a:moveTo>
                  <a:cubicBezTo>
                    <a:pt x="7140" y="4485"/>
                    <a:pt x="7168" y="4513"/>
                    <a:pt x="7188" y="4549"/>
                  </a:cubicBezTo>
                  <a:cubicBezTo>
                    <a:pt x="7209" y="4586"/>
                    <a:pt x="7219" y="4627"/>
                    <a:pt x="7219" y="4673"/>
                  </a:cubicBezTo>
                  <a:cubicBezTo>
                    <a:pt x="7219" y="4720"/>
                    <a:pt x="7209" y="4761"/>
                    <a:pt x="7188" y="4797"/>
                  </a:cubicBezTo>
                  <a:cubicBezTo>
                    <a:pt x="7168" y="4834"/>
                    <a:pt x="7140" y="4862"/>
                    <a:pt x="7104" y="4882"/>
                  </a:cubicBezTo>
                  <a:cubicBezTo>
                    <a:pt x="7069" y="4902"/>
                    <a:pt x="7029" y="4912"/>
                    <a:pt x="6985" y="4912"/>
                  </a:cubicBezTo>
                  <a:cubicBezTo>
                    <a:pt x="6945" y="4912"/>
                    <a:pt x="6910" y="4904"/>
                    <a:pt x="6879" y="4887"/>
                  </a:cubicBezTo>
                  <a:cubicBezTo>
                    <a:pt x="6847" y="4871"/>
                    <a:pt x="6822" y="4847"/>
                    <a:pt x="6803" y="4815"/>
                  </a:cubicBezTo>
                  <a:lnTo>
                    <a:pt x="6803" y="4908"/>
                  </a:lnTo>
                  <a:lnTo>
                    <a:pt x="6742" y="4908"/>
                  </a:lnTo>
                  <a:lnTo>
                    <a:pt x="6742" y="4246"/>
                  </a:lnTo>
                  <a:lnTo>
                    <a:pt x="6806" y="4246"/>
                  </a:lnTo>
                  <a:lnTo>
                    <a:pt x="6806" y="4528"/>
                  </a:lnTo>
                  <a:cubicBezTo>
                    <a:pt x="6825" y="4498"/>
                    <a:pt x="6851" y="4475"/>
                    <a:pt x="6881" y="4459"/>
                  </a:cubicBezTo>
                  <a:cubicBezTo>
                    <a:pt x="6912" y="4443"/>
                    <a:pt x="6946" y="4435"/>
                    <a:pt x="6985" y="4435"/>
                  </a:cubicBezTo>
                  <a:cubicBezTo>
                    <a:pt x="7029" y="4435"/>
                    <a:pt x="7069" y="4445"/>
                    <a:pt x="7104" y="4465"/>
                  </a:cubicBezTo>
                  <a:close/>
                  <a:moveTo>
                    <a:pt x="6511" y="4439"/>
                  </a:moveTo>
                  <a:lnTo>
                    <a:pt x="6574" y="4439"/>
                  </a:lnTo>
                  <a:lnTo>
                    <a:pt x="6574" y="4908"/>
                  </a:lnTo>
                  <a:lnTo>
                    <a:pt x="6511" y="4908"/>
                  </a:lnTo>
                  <a:lnTo>
                    <a:pt x="6511" y="4439"/>
                  </a:lnTo>
                  <a:close/>
                  <a:moveTo>
                    <a:pt x="6510" y="4323"/>
                  </a:moveTo>
                  <a:cubicBezTo>
                    <a:pt x="6501" y="4314"/>
                    <a:pt x="6496" y="4303"/>
                    <a:pt x="6496" y="4291"/>
                  </a:cubicBezTo>
                  <a:cubicBezTo>
                    <a:pt x="6496" y="4279"/>
                    <a:pt x="6501" y="4268"/>
                    <a:pt x="6510" y="4260"/>
                  </a:cubicBezTo>
                  <a:cubicBezTo>
                    <a:pt x="6519" y="4251"/>
                    <a:pt x="6530" y="4246"/>
                    <a:pt x="6543" y="4246"/>
                  </a:cubicBezTo>
                  <a:cubicBezTo>
                    <a:pt x="6556" y="4246"/>
                    <a:pt x="6567" y="4250"/>
                    <a:pt x="6576" y="4259"/>
                  </a:cubicBezTo>
                  <a:cubicBezTo>
                    <a:pt x="6585" y="4268"/>
                    <a:pt x="6589" y="4278"/>
                    <a:pt x="6589" y="4290"/>
                  </a:cubicBezTo>
                  <a:cubicBezTo>
                    <a:pt x="6589" y="4303"/>
                    <a:pt x="6585" y="4314"/>
                    <a:pt x="6576" y="4323"/>
                  </a:cubicBezTo>
                  <a:cubicBezTo>
                    <a:pt x="6567" y="4332"/>
                    <a:pt x="6556" y="4336"/>
                    <a:pt x="6543" y="4336"/>
                  </a:cubicBezTo>
                  <a:cubicBezTo>
                    <a:pt x="6530" y="4336"/>
                    <a:pt x="6519" y="4332"/>
                    <a:pt x="6510" y="4323"/>
                  </a:cubicBezTo>
                  <a:close/>
                  <a:moveTo>
                    <a:pt x="6099" y="4896"/>
                  </a:moveTo>
                  <a:cubicBezTo>
                    <a:pt x="6064" y="4885"/>
                    <a:pt x="6037" y="4871"/>
                    <a:pt x="6017" y="4854"/>
                  </a:cubicBezTo>
                  <a:lnTo>
                    <a:pt x="6046" y="4804"/>
                  </a:lnTo>
                  <a:cubicBezTo>
                    <a:pt x="6066" y="4820"/>
                    <a:pt x="6090" y="4833"/>
                    <a:pt x="6120" y="4842"/>
                  </a:cubicBezTo>
                  <a:cubicBezTo>
                    <a:pt x="6150" y="4852"/>
                    <a:pt x="6181" y="4857"/>
                    <a:pt x="6213" y="4857"/>
                  </a:cubicBezTo>
                  <a:cubicBezTo>
                    <a:pt x="6256" y="4857"/>
                    <a:pt x="6288" y="4850"/>
                    <a:pt x="6308" y="4837"/>
                  </a:cubicBezTo>
                  <a:cubicBezTo>
                    <a:pt x="6329" y="4824"/>
                    <a:pt x="6339" y="4805"/>
                    <a:pt x="6339" y="4780"/>
                  </a:cubicBezTo>
                  <a:cubicBezTo>
                    <a:pt x="6339" y="4763"/>
                    <a:pt x="6333" y="4750"/>
                    <a:pt x="6322" y="4740"/>
                  </a:cubicBezTo>
                  <a:cubicBezTo>
                    <a:pt x="6311" y="4730"/>
                    <a:pt x="6296" y="4723"/>
                    <a:pt x="6279" y="4717"/>
                  </a:cubicBezTo>
                  <a:cubicBezTo>
                    <a:pt x="6262" y="4712"/>
                    <a:pt x="6239" y="4708"/>
                    <a:pt x="6210" y="4703"/>
                  </a:cubicBezTo>
                  <a:cubicBezTo>
                    <a:pt x="6172" y="4696"/>
                    <a:pt x="6141" y="4688"/>
                    <a:pt x="6118" y="4681"/>
                  </a:cubicBezTo>
                  <a:cubicBezTo>
                    <a:pt x="6095" y="4674"/>
                    <a:pt x="6075" y="4661"/>
                    <a:pt x="6059" y="4643"/>
                  </a:cubicBezTo>
                  <a:cubicBezTo>
                    <a:pt x="6042" y="4625"/>
                    <a:pt x="6034" y="4601"/>
                    <a:pt x="6034" y="4569"/>
                  </a:cubicBezTo>
                  <a:cubicBezTo>
                    <a:pt x="6034" y="4530"/>
                    <a:pt x="6051" y="4498"/>
                    <a:pt x="6083" y="4473"/>
                  </a:cubicBezTo>
                  <a:cubicBezTo>
                    <a:pt x="6116" y="4448"/>
                    <a:pt x="6162" y="4435"/>
                    <a:pt x="6220" y="4435"/>
                  </a:cubicBezTo>
                  <a:cubicBezTo>
                    <a:pt x="6251" y="4435"/>
                    <a:pt x="6281" y="4439"/>
                    <a:pt x="6311" y="4447"/>
                  </a:cubicBezTo>
                  <a:cubicBezTo>
                    <a:pt x="6342" y="4455"/>
                    <a:pt x="6367" y="4466"/>
                    <a:pt x="6386" y="4479"/>
                  </a:cubicBezTo>
                  <a:lnTo>
                    <a:pt x="6359" y="4530"/>
                  </a:lnTo>
                  <a:cubicBezTo>
                    <a:pt x="6320" y="4503"/>
                    <a:pt x="6274" y="4490"/>
                    <a:pt x="6220" y="4490"/>
                  </a:cubicBezTo>
                  <a:cubicBezTo>
                    <a:pt x="6180" y="4490"/>
                    <a:pt x="6149" y="4497"/>
                    <a:pt x="6129" y="4511"/>
                  </a:cubicBezTo>
                  <a:cubicBezTo>
                    <a:pt x="6108" y="4525"/>
                    <a:pt x="6098" y="4544"/>
                    <a:pt x="6098" y="4567"/>
                  </a:cubicBezTo>
                  <a:cubicBezTo>
                    <a:pt x="6098" y="4585"/>
                    <a:pt x="6104" y="4599"/>
                    <a:pt x="6115" y="4610"/>
                  </a:cubicBezTo>
                  <a:cubicBezTo>
                    <a:pt x="6127" y="4621"/>
                    <a:pt x="6141" y="4629"/>
                    <a:pt x="6158" y="4634"/>
                  </a:cubicBezTo>
                  <a:cubicBezTo>
                    <a:pt x="6176" y="4639"/>
                    <a:pt x="6200" y="4644"/>
                    <a:pt x="6230" y="4649"/>
                  </a:cubicBezTo>
                  <a:cubicBezTo>
                    <a:pt x="6268" y="4656"/>
                    <a:pt x="6298" y="4664"/>
                    <a:pt x="6320" y="4671"/>
                  </a:cubicBezTo>
                  <a:cubicBezTo>
                    <a:pt x="6343" y="4678"/>
                    <a:pt x="6362" y="4690"/>
                    <a:pt x="6378" y="4707"/>
                  </a:cubicBezTo>
                  <a:cubicBezTo>
                    <a:pt x="6395" y="4724"/>
                    <a:pt x="6403" y="4748"/>
                    <a:pt x="6403" y="4779"/>
                  </a:cubicBezTo>
                  <a:cubicBezTo>
                    <a:pt x="6403" y="4820"/>
                    <a:pt x="6385" y="4852"/>
                    <a:pt x="6351" y="4876"/>
                  </a:cubicBezTo>
                  <a:cubicBezTo>
                    <a:pt x="6317" y="4900"/>
                    <a:pt x="6269" y="4912"/>
                    <a:pt x="6209" y="4912"/>
                  </a:cubicBezTo>
                  <a:cubicBezTo>
                    <a:pt x="6170" y="4912"/>
                    <a:pt x="6134" y="4907"/>
                    <a:pt x="6099" y="4896"/>
                  </a:cubicBezTo>
                  <a:moveTo>
                    <a:pt x="5653" y="4896"/>
                  </a:moveTo>
                  <a:cubicBezTo>
                    <a:pt x="5618" y="4885"/>
                    <a:pt x="5591" y="4871"/>
                    <a:pt x="5571" y="4854"/>
                  </a:cubicBezTo>
                  <a:lnTo>
                    <a:pt x="5600" y="4804"/>
                  </a:lnTo>
                  <a:cubicBezTo>
                    <a:pt x="5619" y="4820"/>
                    <a:pt x="5644" y="4833"/>
                    <a:pt x="5674" y="4842"/>
                  </a:cubicBezTo>
                  <a:cubicBezTo>
                    <a:pt x="5704" y="4852"/>
                    <a:pt x="5735" y="4857"/>
                    <a:pt x="5767" y="4857"/>
                  </a:cubicBezTo>
                  <a:cubicBezTo>
                    <a:pt x="5810" y="4857"/>
                    <a:pt x="5842" y="4850"/>
                    <a:pt x="5862" y="4837"/>
                  </a:cubicBezTo>
                  <a:cubicBezTo>
                    <a:pt x="5883" y="4824"/>
                    <a:pt x="5893" y="4805"/>
                    <a:pt x="5893" y="4780"/>
                  </a:cubicBezTo>
                  <a:cubicBezTo>
                    <a:pt x="5893" y="4763"/>
                    <a:pt x="5887" y="4750"/>
                    <a:pt x="5876" y="4740"/>
                  </a:cubicBezTo>
                  <a:cubicBezTo>
                    <a:pt x="5865" y="4730"/>
                    <a:pt x="5850" y="4723"/>
                    <a:pt x="5833" y="4717"/>
                  </a:cubicBezTo>
                  <a:cubicBezTo>
                    <a:pt x="5816" y="4712"/>
                    <a:pt x="5793" y="4708"/>
                    <a:pt x="5764" y="4703"/>
                  </a:cubicBezTo>
                  <a:cubicBezTo>
                    <a:pt x="5726" y="4696"/>
                    <a:pt x="5695" y="4688"/>
                    <a:pt x="5672" y="4681"/>
                  </a:cubicBezTo>
                  <a:cubicBezTo>
                    <a:pt x="5649" y="4674"/>
                    <a:pt x="5629" y="4661"/>
                    <a:pt x="5613" y="4643"/>
                  </a:cubicBezTo>
                  <a:cubicBezTo>
                    <a:pt x="5596" y="4625"/>
                    <a:pt x="5588" y="4601"/>
                    <a:pt x="5588" y="4569"/>
                  </a:cubicBezTo>
                  <a:cubicBezTo>
                    <a:pt x="5588" y="4530"/>
                    <a:pt x="5604" y="4498"/>
                    <a:pt x="5637" y="4473"/>
                  </a:cubicBezTo>
                  <a:cubicBezTo>
                    <a:pt x="5670" y="4448"/>
                    <a:pt x="5716" y="4435"/>
                    <a:pt x="5774" y="4435"/>
                  </a:cubicBezTo>
                  <a:cubicBezTo>
                    <a:pt x="5804" y="4435"/>
                    <a:pt x="5835" y="4439"/>
                    <a:pt x="5865" y="4447"/>
                  </a:cubicBezTo>
                  <a:cubicBezTo>
                    <a:pt x="5896" y="4455"/>
                    <a:pt x="5921" y="4466"/>
                    <a:pt x="5940" y="4479"/>
                  </a:cubicBezTo>
                  <a:lnTo>
                    <a:pt x="5913" y="4530"/>
                  </a:lnTo>
                  <a:cubicBezTo>
                    <a:pt x="5874" y="4503"/>
                    <a:pt x="5828" y="4490"/>
                    <a:pt x="5774" y="4490"/>
                  </a:cubicBezTo>
                  <a:cubicBezTo>
                    <a:pt x="5734" y="4490"/>
                    <a:pt x="5703" y="4497"/>
                    <a:pt x="5682" y="4511"/>
                  </a:cubicBezTo>
                  <a:cubicBezTo>
                    <a:pt x="5662" y="4525"/>
                    <a:pt x="5652" y="4544"/>
                    <a:pt x="5652" y="4567"/>
                  </a:cubicBezTo>
                  <a:cubicBezTo>
                    <a:pt x="5652" y="4585"/>
                    <a:pt x="5657" y="4599"/>
                    <a:pt x="5669" y="4610"/>
                  </a:cubicBezTo>
                  <a:cubicBezTo>
                    <a:pt x="5681" y="4621"/>
                    <a:pt x="5695" y="4629"/>
                    <a:pt x="5712" y="4634"/>
                  </a:cubicBezTo>
                  <a:cubicBezTo>
                    <a:pt x="5730" y="4639"/>
                    <a:pt x="5754" y="4644"/>
                    <a:pt x="5784" y="4649"/>
                  </a:cubicBezTo>
                  <a:cubicBezTo>
                    <a:pt x="5821" y="4656"/>
                    <a:pt x="5852" y="4664"/>
                    <a:pt x="5874" y="4671"/>
                  </a:cubicBezTo>
                  <a:cubicBezTo>
                    <a:pt x="5897" y="4678"/>
                    <a:pt x="5916" y="4690"/>
                    <a:pt x="5932" y="4707"/>
                  </a:cubicBezTo>
                  <a:cubicBezTo>
                    <a:pt x="5948" y="4724"/>
                    <a:pt x="5956" y="4748"/>
                    <a:pt x="5956" y="4779"/>
                  </a:cubicBezTo>
                  <a:cubicBezTo>
                    <a:pt x="5956" y="4820"/>
                    <a:pt x="5939" y="4852"/>
                    <a:pt x="5905" y="4876"/>
                  </a:cubicBezTo>
                  <a:cubicBezTo>
                    <a:pt x="5871" y="4900"/>
                    <a:pt x="5823" y="4912"/>
                    <a:pt x="5762" y="4912"/>
                  </a:cubicBezTo>
                  <a:cubicBezTo>
                    <a:pt x="5724" y="4912"/>
                    <a:pt x="5688" y="4907"/>
                    <a:pt x="5653" y="4896"/>
                  </a:cubicBezTo>
                  <a:moveTo>
                    <a:pt x="5367" y="4833"/>
                  </a:moveTo>
                  <a:cubicBezTo>
                    <a:pt x="5393" y="4818"/>
                    <a:pt x="5414" y="4797"/>
                    <a:pt x="5429" y="4769"/>
                  </a:cubicBezTo>
                  <a:cubicBezTo>
                    <a:pt x="5444" y="4741"/>
                    <a:pt x="5451" y="4709"/>
                    <a:pt x="5451" y="4673"/>
                  </a:cubicBezTo>
                  <a:cubicBezTo>
                    <a:pt x="5451" y="4638"/>
                    <a:pt x="5444" y="4606"/>
                    <a:pt x="5429" y="4578"/>
                  </a:cubicBezTo>
                  <a:cubicBezTo>
                    <a:pt x="5414" y="4550"/>
                    <a:pt x="5393" y="4528"/>
                    <a:pt x="5367" y="4513"/>
                  </a:cubicBezTo>
                  <a:cubicBezTo>
                    <a:pt x="5340" y="4498"/>
                    <a:pt x="5310" y="4491"/>
                    <a:pt x="5277" y="4491"/>
                  </a:cubicBezTo>
                  <a:cubicBezTo>
                    <a:pt x="5244" y="4491"/>
                    <a:pt x="5214" y="4498"/>
                    <a:pt x="5187" y="4513"/>
                  </a:cubicBezTo>
                  <a:cubicBezTo>
                    <a:pt x="5161" y="4528"/>
                    <a:pt x="5140" y="4550"/>
                    <a:pt x="5124" y="4578"/>
                  </a:cubicBezTo>
                  <a:cubicBezTo>
                    <a:pt x="5109" y="4606"/>
                    <a:pt x="5102" y="4638"/>
                    <a:pt x="5102" y="4673"/>
                  </a:cubicBezTo>
                  <a:cubicBezTo>
                    <a:pt x="5102" y="4709"/>
                    <a:pt x="5109" y="4741"/>
                    <a:pt x="5124" y="4769"/>
                  </a:cubicBezTo>
                  <a:cubicBezTo>
                    <a:pt x="5140" y="4797"/>
                    <a:pt x="5161" y="4818"/>
                    <a:pt x="5187" y="4833"/>
                  </a:cubicBezTo>
                  <a:cubicBezTo>
                    <a:pt x="5214" y="4849"/>
                    <a:pt x="5244" y="4856"/>
                    <a:pt x="5277" y="4856"/>
                  </a:cubicBezTo>
                  <a:cubicBezTo>
                    <a:pt x="5310" y="4856"/>
                    <a:pt x="5340" y="4849"/>
                    <a:pt x="5367" y="4833"/>
                  </a:cubicBezTo>
                  <a:close/>
                  <a:moveTo>
                    <a:pt x="5154" y="4882"/>
                  </a:moveTo>
                  <a:cubicBezTo>
                    <a:pt x="5118" y="4861"/>
                    <a:pt x="5089" y="4833"/>
                    <a:pt x="5069" y="4796"/>
                  </a:cubicBezTo>
                  <a:cubicBezTo>
                    <a:pt x="5048" y="4760"/>
                    <a:pt x="5037" y="4719"/>
                    <a:pt x="5037" y="4673"/>
                  </a:cubicBezTo>
                  <a:cubicBezTo>
                    <a:pt x="5037" y="4628"/>
                    <a:pt x="5048" y="4587"/>
                    <a:pt x="5069" y="4550"/>
                  </a:cubicBezTo>
                  <a:cubicBezTo>
                    <a:pt x="5089" y="4514"/>
                    <a:pt x="5118" y="4486"/>
                    <a:pt x="5154" y="4466"/>
                  </a:cubicBezTo>
                  <a:cubicBezTo>
                    <a:pt x="5191" y="4445"/>
                    <a:pt x="5232" y="4435"/>
                    <a:pt x="5277" y="4435"/>
                  </a:cubicBezTo>
                  <a:cubicBezTo>
                    <a:pt x="5322" y="4435"/>
                    <a:pt x="5363" y="4445"/>
                    <a:pt x="5399" y="4466"/>
                  </a:cubicBezTo>
                  <a:cubicBezTo>
                    <a:pt x="5436" y="4486"/>
                    <a:pt x="5464" y="4514"/>
                    <a:pt x="5485" y="4550"/>
                  </a:cubicBezTo>
                  <a:cubicBezTo>
                    <a:pt x="5505" y="4587"/>
                    <a:pt x="5516" y="4628"/>
                    <a:pt x="5516" y="4673"/>
                  </a:cubicBezTo>
                  <a:cubicBezTo>
                    <a:pt x="5516" y="4719"/>
                    <a:pt x="5505" y="4760"/>
                    <a:pt x="5485" y="4796"/>
                  </a:cubicBezTo>
                  <a:cubicBezTo>
                    <a:pt x="5464" y="4833"/>
                    <a:pt x="5436" y="4861"/>
                    <a:pt x="5399" y="4882"/>
                  </a:cubicBezTo>
                  <a:cubicBezTo>
                    <a:pt x="5363" y="4902"/>
                    <a:pt x="5322" y="4912"/>
                    <a:pt x="5277" y="4912"/>
                  </a:cubicBezTo>
                  <a:cubicBezTo>
                    <a:pt x="5232" y="4912"/>
                    <a:pt x="5191" y="4902"/>
                    <a:pt x="5154" y="4882"/>
                  </a:cubicBezTo>
                  <a:close/>
                  <a:moveTo>
                    <a:pt x="4869" y="4612"/>
                  </a:moveTo>
                  <a:cubicBezTo>
                    <a:pt x="4902" y="4585"/>
                    <a:pt x="4918" y="4547"/>
                    <a:pt x="4918" y="4498"/>
                  </a:cubicBezTo>
                  <a:cubicBezTo>
                    <a:pt x="4918" y="4447"/>
                    <a:pt x="4902" y="4408"/>
                    <a:pt x="4869" y="4381"/>
                  </a:cubicBezTo>
                  <a:cubicBezTo>
                    <a:pt x="4836" y="4354"/>
                    <a:pt x="4789" y="4341"/>
                    <a:pt x="4727" y="4341"/>
                  </a:cubicBezTo>
                  <a:lnTo>
                    <a:pt x="4561" y="4341"/>
                  </a:lnTo>
                  <a:lnTo>
                    <a:pt x="4561" y="4653"/>
                  </a:lnTo>
                  <a:lnTo>
                    <a:pt x="4727" y="4653"/>
                  </a:lnTo>
                  <a:cubicBezTo>
                    <a:pt x="4789" y="4653"/>
                    <a:pt x="4836" y="4639"/>
                    <a:pt x="4869" y="4612"/>
                  </a:cubicBezTo>
                  <a:close/>
                  <a:moveTo>
                    <a:pt x="4917" y="4341"/>
                  </a:moveTo>
                  <a:cubicBezTo>
                    <a:pt x="4962" y="4379"/>
                    <a:pt x="4985" y="4431"/>
                    <a:pt x="4985" y="4498"/>
                  </a:cubicBezTo>
                  <a:cubicBezTo>
                    <a:pt x="4985" y="4564"/>
                    <a:pt x="4962" y="4616"/>
                    <a:pt x="4917" y="4654"/>
                  </a:cubicBezTo>
                  <a:cubicBezTo>
                    <a:pt x="4871" y="4692"/>
                    <a:pt x="4809" y="4711"/>
                    <a:pt x="4729" y="4711"/>
                  </a:cubicBezTo>
                  <a:lnTo>
                    <a:pt x="4561" y="4711"/>
                  </a:lnTo>
                  <a:lnTo>
                    <a:pt x="4561" y="4908"/>
                  </a:lnTo>
                  <a:lnTo>
                    <a:pt x="4495" y="4908"/>
                  </a:lnTo>
                  <a:lnTo>
                    <a:pt x="4495" y="4284"/>
                  </a:lnTo>
                  <a:lnTo>
                    <a:pt x="4729" y="4284"/>
                  </a:lnTo>
                  <a:cubicBezTo>
                    <a:pt x="4809" y="4284"/>
                    <a:pt x="4871" y="4303"/>
                    <a:pt x="4917" y="4341"/>
                  </a:cubicBezTo>
                  <a:moveTo>
                    <a:pt x="3939" y="4812"/>
                  </a:moveTo>
                  <a:cubicBezTo>
                    <a:pt x="3966" y="4797"/>
                    <a:pt x="3987" y="4777"/>
                    <a:pt x="4002" y="4751"/>
                  </a:cubicBezTo>
                  <a:cubicBezTo>
                    <a:pt x="4018" y="4725"/>
                    <a:pt x="4025" y="4695"/>
                    <a:pt x="4025" y="4662"/>
                  </a:cubicBezTo>
                  <a:cubicBezTo>
                    <a:pt x="4025" y="4628"/>
                    <a:pt x="4018" y="4599"/>
                    <a:pt x="4002" y="4573"/>
                  </a:cubicBezTo>
                  <a:cubicBezTo>
                    <a:pt x="3987" y="4547"/>
                    <a:pt x="3966" y="4527"/>
                    <a:pt x="3939" y="4512"/>
                  </a:cubicBezTo>
                  <a:cubicBezTo>
                    <a:pt x="3912" y="4498"/>
                    <a:pt x="3881" y="4491"/>
                    <a:pt x="3846" y="4491"/>
                  </a:cubicBezTo>
                  <a:cubicBezTo>
                    <a:pt x="3812" y="4491"/>
                    <a:pt x="3782" y="4498"/>
                    <a:pt x="3755" y="4512"/>
                  </a:cubicBezTo>
                  <a:cubicBezTo>
                    <a:pt x="3728" y="4526"/>
                    <a:pt x="3707" y="4546"/>
                    <a:pt x="3691" y="4573"/>
                  </a:cubicBezTo>
                  <a:cubicBezTo>
                    <a:pt x="3676" y="4599"/>
                    <a:pt x="3669" y="4628"/>
                    <a:pt x="3669" y="4662"/>
                  </a:cubicBezTo>
                  <a:cubicBezTo>
                    <a:pt x="3669" y="4695"/>
                    <a:pt x="3676" y="4725"/>
                    <a:pt x="3691" y="4751"/>
                  </a:cubicBezTo>
                  <a:cubicBezTo>
                    <a:pt x="3707" y="4777"/>
                    <a:pt x="3728" y="4797"/>
                    <a:pt x="3755" y="4812"/>
                  </a:cubicBezTo>
                  <a:cubicBezTo>
                    <a:pt x="3782" y="4827"/>
                    <a:pt x="3812" y="4834"/>
                    <a:pt x="3846" y="4834"/>
                  </a:cubicBezTo>
                  <a:cubicBezTo>
                    <a:pt x="3880" y="4834"/>
                    <a:pt x="3911" y="4827"/>
                    <a:pt x="3939" y="4812"/>
                  </a:cubicBezTo>
                  <a:moveTo>
                    <a:pt x="4087" y="4439"/>
                  </a:moveTo>
                  <a:lnTo>
                    <a:pt x="4087" y="4851"/>
                  </a:lnTo>
                  <a:cubicBezTo>
                    <a:pt x="4087" y="4930"/>
                    <a:pt x="4067" y="4990"/>
                    <a:pt x="4028" y="5028"/>
                  </a:cubicBezTo>
                  <a:cubicBezTo>
                    <a:pt x="3989" y="5066"/>
                    <a:pt x="3930" y="5085"/>
                    <a:pt x="3852" y="5085"/>
                  </a:cubicBezTo>
                  <a:cubicBezTo>
                    <a:pt x="3808" y="5085"/>
                    <a:pt x="3767" y="5079"/>
                    <a:pt x="3728" y="5066"/>
                  </a:cubicBezTo>
                  <a:cubicBezTo>
                    <a:pt x="3689" y="5053"/>
                    <a:pt x="3657" y="5036"/>
                    <a:pt x="3633" y="5013"/>
                  </a:cubicBezTo>
                  <a:lnTo>
                    <a:pt x="3665" y="4965"/>
                  </a:lnTo>
                  <a:cubicBezTo>
                    <a:pt x="3688" y="4985"/>
                    <a:pt x="3715" y="5001"/>
                    <a:pt x="3748" y="5012"/>
                  </a:cubicBezTo>
                  <a:cubicBezTo>
                    <a:pt x="3780" y="5024"/>
                    <a:pt x="3814" y="5029"/>
                    <a:pt x="3850" y="5029"/>
                  </a:cubicBezTo>
                  <a:cubicBezTo>
                    <a:pt x="3910" y="5029"/>
                    <a:pt x="3953" y="5015"/>
                    <a:pt x="3981" y="4988"/>
                  </a:cubicBezTo>
                  <a:cubicBezTo>
                    <a:pt x="4009" y="4960"/>
                    <a:pt x="4023" y="4917"/>
                    <a:pt x="4023" y="4859"/>
                  </a:cubicBezTo>
                  <a:lnTo>
                    <a:pt x="4023" y="4799"/>
                  </a:lnTo>
                  <a:cubicBezTo>
                    <a:pt x="4004" y="4829"/>
                    <a:pt x="3978" y="4851"/>
                    <a:pt x="3946" y="4867"/>
                  </a:cubicBezTo>
                  <a:cubicBezTo>
                    <a:pt x="3914" y="4882"/>
                    <a:pt x="3879" y="4890"/>
                    <a:pt x="3840" y="4890"/>
                  </a:cubicBezTo>
                  <a:cubicBezTo>
                    <a:pt x="3796" y="4890"/>
                    <a:pt x="3756" y="4880"/>
                    <a:pt x="3720" y="4861"/>
                  </a:cubicBezTo>
                  <a:cubicBezTo>
                    <a:pt x="3684" y="4842"/>
                    <a:pt x="3656" y="4815"/>
                    <a:pt x="3635" y="4780"/>
                  </a:cubicBezTo>
                  <a:cubicBezTo>
                    <a:pt x="3614" y="4745"/>
                    <a:pt x="3604" y="4706"/>
                    <a:pt x="3604" y="4662"/>
                  </a:cubicBezTo>
                  <a:cubicBezTo>
                    <a:pt x="3604" y="4618"/>
                    <a:pt x="3614" y="4578"/>
                    <a:pt x="3635" y="4544"/>
                  </a:cubicBezTo>
                  <a:cubicBezTo>
                    <a:pt x="3656" y="4510"/>
                    <a:pt x="3684" y="4483"/>
                    <a:pt x="3719" y="4464"/>
                  </a:cubicBezTo>
                  <a:cubicBezTo>
                    <a:pt x="3755" y="4445"/>
                    <a:pt x="3795" y="4435"/>
                    <a:pt x="3840" y="4435"/>
                  </a:cubicBezTo>
                  <a:cubicBezTo>
                    <a:pt x="3880" y="4435"/>
                    <a:pt x="3916" y="4443"/>
                    <a:pt x="3948" y="4459"/>
                  </a:cubicBezTo>
                  <a:cubicBezTo>
                    <a:pt x="3981" y="4475"/>
                    <a:pt x="4006" y="4499"/>
                    <a:pt x="4026" y="4529"/>
                  </a:cubicBezTo>
                  <a:lnTo>
                    <a:pt x="4026" y="4439"/>
                  </a:lnTo>
                  <a:lnTo>
                    <a:pt x="4087" y="4439"/>
                  </a:lnTo>
                  <a:close/>
                  <a:moveTo>
                    <a:pt x="3453" y="4487"/>
                  </a:moveTo>
                  <a:cubicBezTo>
                    <a:pt x="3487" y="4521"/>
                    <a:pt x="3505" y="4570"/>
                    <a:pt x="3505" y="4636"/>
                  </a:cubicBezTo>
                  <a:lnTo>
                    <a:pt x="3505" y="4908"/>
                  </a:lnTo>
                  <a:lnTo>
                    <a:pt x="3441" y="4908"/>
                  </a:lnTo>
                  <a:lnTo>
                    <a:pt x="3441" y="4642"/>
                  </a:lnTo>
                  <a:cubicBezTo>
                    <a:pt x="3441" y="4593"/>
                    <a:pt x="3429" y="4556"/>
                    <a:pt x="3405" y="4531"/>
                  </a:cubicBezTo>
                  <a:cubicBezTo>
                    <a:pt x="3380" y="4505"/>
                    <a:pt x="3345" y="4492"/>
                    <a:pt x="3300" y="4492"/>
                  </a:cubicBezTo>
                  <a:cubicBezTo>
                    <a:pt x="3249" y="4492"/>
                    <a:pt x="3209" y="4507"/>
                    <a:pt x="3180" y="4537"/>
                  </a:cubicBezTo>
                  <a:cubicBezTo>
                    <a:pt x="3150" y="4567"/>
                    <a:pt x="3136" y="4609"/>
                    <a:pt x="3136" y="4662"/>
                  </a:cubicBezTo>
                  <a:lnTo>
                    <a:pt x="3136" y="4908"/>
                  </a:lnTo>
                  <a:lnTo>
                    <a:pt x="3072" y="4908"/>
                  </a:lnTo>
                  <a:lnTo>
                    <a:pt x="3072" y="4439"/>
                  </a:lnTo>
                  <a:lnTo>
                    <a:pt x="3133" y="4439"/>
                  </a:lnTo>
                  <a:lnTo>
                    <a:pt x="3133" y="4525"/>
                  </a:lnTo>
                  <a:cubicBezTo>
                    <a:pt x="3150" y="4497"/>
                    <a:pt x="3174" y="4475"/>
                    <a:pt x="3205" y="4459"/>
                  </a:cubicBezTo>
                  <a:cubicBezTo>
                    <a:pt x="3236" y="4443"/>
                    <a:pt x="3271" y="4435"/>
                    <a:pt x="3312" y="4435"/>
                  </a:cubicBezTo>
                  <a:cubicBezTo>
                    <a:pt x="3371" y="4435"/>
                    <a:pt x="3418" y="4452"/>
                    <a:pt x="3453" y="4487"/>
                  </a:cubicBezTo>
                  <a:close/>
                  <a:moveTo>
                    <a:pt x="2858" y="4439"/>
                  </a:moveTo>
                  <a:lnTo>
                    <a:pt x="2922" y="4439"/>
                  </a:lnTo>
                  <a:lnTo>
                    <a:pt x="2922" y="4908"/>
                  </a:lnTo>
                  <a:lnTo>
                    <a:pt x="2858" y="4908"/>
                  </a:lnTo>
                  <a:lnTo>
                    <a:pt x="2858" y="4439"/>
                  </a:lnTo>
                  <a:close/>
                  <a:moveTo>
                    <a:pt x="2858" y="4323"/>
                  </a:moveTo>
                  <a:cubicBezTo>
                    <a:pt x="2849" y="4314"/>
                    <a:pt x="2844" y="4303"/>
                    <a:pt x="2844" y="4291"/>
                  </a:cubicBezTo>
                  <a:cubicBezTo>
                    <a:pt x="2844" y="4279"/>
                    <a:pt x="2849" y="4268"/>
                    <a:pt x="2858" y="4260"/>
                  </a:cubicBezTo>
                  <a:cubicBezTo>
                    <a:pt x="2867" y="4251"/>
                    <a:pt x="2878" y="4246"/>
                    <a:pt x="2891" y="4246"/>
                  </a:cubicBezTo>
                  <a:cubicBezTo>
                    <a:pt x="2904" y="4246"/>
                    <a:pt x="2915" y="4250"/>
                    <a:pt x="2924" y="4259"/>
                  </a:cubicBezTo>
                  <a:cubicBezTo>
                    <a:pt x="2933" y="4268"/>
                    <a:pt x="2937" y="4278"/>
                    <a:pt x="2937" y="4290"/>
                  </a:cubicBezTo>
                  <a:cubicBezTo>
                    <a:pt x="2937" y="4303"/>
                    <a:pt x="2933" y="4314"/>
                    <a:pt x="2924" y="4323"/>
                  </a:cubicBezTo>
                  <a:cubicBezTo>
                    <a:pt x="2915" y="4332"/>
                    <a:pt x="2904" y="4336"/>
                    <a:pt x="2891" y="4336"/>
                  </a:cubicBezTo>
                  <a:cubicBezTo>
                    <a:pt x="2878" y="4336"/>
                    <a:pt x="2867" y="4332"/>
                    <a:pt x="2858" y="4323"/>
                  </a:cubicBezTo>
                  <a:close/>
                  <a:moveTo>
                    <a:pt x="2643" y="4459"/>
                  </a:moveTo>
                  <a:cubicBezTo>
                    <a:pt x="2673" y="4443"/>
                    <a:pt x="2710" y="4435"/>
                    <a:pt x="2753" y="4435"/>
                  </a:cubicBezTo>
                  <a:lnTo>
                    <a:pt x="2753" y="4497"/>
                  </a:lnTo>
                  <a:lnTo>
                    <a:pt x="2738" y="4496"/>
                  </a:lnTo>
                  <a:cubicBezTo>
                    <a:pt x="2688" y="4496"/>
                    <a:pt x="2650" y="4511"/>
                    <a:pt x="2622" y="4541"/>
                  </a:cubicBezTo>
                  <a:cubicBezTo>
                    <a:pt x="2594" y="4572"/>
                    <a:pt x="2580" y="4614"/>
                    <a:pt x="2580" y="4669"/>
                  </a:cubicBezTo>
                  <a:lnTo>
                    <a:pt x="2580" y="4908"/>
                  </a:lnTo>
                  <a:lnTo>
                    <a:pt x="2516" y="4908"/>
                  </a:lnTo>
                  <a:lnTo>
                    <a:pt x="2516" y="4439"/>
                  </a:lnTo>
                  <a:lnTo>
                    <a:pt x="2577" y="4439"/>
                  </a:lnTo>
                  <a:lnTo>
                    <a:pt x="2577" y="4531"/>
                  </a:lnTo>
                  <a:cubicBezTo>
                    <a:pt x="2592" y="4499"/>
                    <a:pt x="2614" y="4475"/>
                    <a:pt x="2643" y="4459"/>
                  </a:cubicBezTo>
                  <a:close/>
                  <a:moveTo>
                    <a:pt x="2053" y="4533"/>
                  </a:moveTo>
                  <a:cubicBezTo>
                    <a:pt x="2023" y="4562"/>
                    <a:pt x="2005" y="4599"/>
                    <a:pt x="2001" y="4646"/>
                  </a:cubicBezTo>
                  <a:lnTo>
                    <a:pt x="2335" y="4646"/>
                  </a:lnTo>
                  <a:cubicBezTo>
                    <a:pt x="2330" y="4599"/>
                    <a:pt x="2313" y="4562"/>
                    <a:pt x="2282" y="4533"/>
                  </a:cubicBezTo>
                  <a:cubicBezTo>
                    <a:pt x="2252" y="4504"/>
                    <a:pt x="2213" y="4490"/>
                    <a:pt x="2167" y="4490"/>
                  </a:cubicBezTo>
                  <a:cubicBezTo>
                    <a:pt x="2122" y="4490"/>
                    <a:pt x="2084" y="4504"/>
                    <a:pt x="2053" y="4533"/>
                  </a:cubicBezTo>
                  <a:close/>
                  <a:moveTo>
                    <a:pt x="2395" y="4693"/>
                  </a:moveTo>
                  <a:lnTo>
                    <a:pt x="2001" y="4693"/>
                  </a:lnTo>
                  <a:cubicBezTo>
                    <a:pt x="2005" y="4742"/>
                    <a:pt x="2023" y="4781"/>
                    <a:pt x="2057" y="4811"/>
                  </a:cubicBezTo>
                  <a:cubicBezTo>
                    <a:pt x="2091" y="4841"/>
                    <a:pt x="2134" y="4856"/>
                    <a:pt x="2186" y="4856"/>
                  </a:cubicBezTo>
                  <a:cubicBezTo>
                    <a:pt x="2215" y="4856"/>
                    <a:pt x="2242" y="4851"/>
                    <a:pt x="2267" y="4841"/>
                  </a:cubicBezTo>
                  <a:cubicBezTo>
                    <a:pt x="2291" y="4830"/>
                    <a:pt x="2312" y="4815"/>
                    <a:pt x="2330" y="4795"/>
                  </a:cubicBezTo>
                  <a:lnTo>
                    <a:pt x="2366" y="4836"/>
                  </a:lnTo>
                  <a:cubicBezTo>
                    <a:pt x="2345" y="4861"/>
                    <a:pt x="2319" y="4880"/>
                    <a:pt x="2288" y="4893"/>
                  </a:cubicBezTo>
                  <a:cubicBezTo>
                    <a:pt x="2256" y="4906"/>
                    <a:pt x="2222" y="4912"/>
                    <a:pt x="2184" y="4912"/>
                  </a:cubicBezTo>
                  <a:cubicBezTo>
                    <a:pt x="2136" y="4912"/>
                    <a:pt x="2093" y="4902"/>
                    <a:pt x="2056" y="4882"/>
                  </a:cubicBezTo>
                  <a:cubicBezTo>
                    <a:pt x="2019" y="4861"/>
                    <a:pt x="1990" y="4833"/>
                    <a:pt x="1969" y="4796"/>
                  </a:cubicBezTo>
                  <a:cubicBezTo>
                    <a:pt x="1948" y="4760"/>
                    <a:pt x="1938" y="4719"/>
                    <a:pt x="1938" y="4673"/>
                  </a:cubicBezTo>
                  <a:cubicBezTo>
                    <a:pt x="1938" y="4628"/>
                    <a:pt x="1948" y="4587"/>
                    <a:pt x="1968" y="4550"/>
                  </a:cubicBezTo>
                  <a:cubicBezTo>
                    <a:pt x="1988" y="4514"/>
                    <a:pt x="2015" y="4486"/>
                    <a:pt x="2050" y="4466"/>
                  </a:cubicBezTo>
                  <a:cubicBezTo>
                    <a:pt x="2085" y="4445"/>
                    <a:pt x="2124" y="4435"/>
                    <a:pt x="2167" y="4435"/>
                  </a:cubicBezTo>
                  <a:cubicBezTo>
                    <a:pt x="2211" y="4435"/>
                    <a:pt x="2250" y="4445"/>
                    <a:pt x="2285" y="4466"/>
                  </a:cubicBezTo>
                  <a:cubicBezTo>
                    <a:pt x="2319" y="4486"/>
                    <a:pt x="2346" y="4514"/>
                    <a:pt x="2366" y="4550"/>
                  </a:cubicBezTo>
                  <a:cubicBezTo>
                    <a:pt x="2386" y="4586"/>
                    <a:pt x="2395" y="4627"/>
                    <a:pt x="2395" y="4673"/>
                  </a:cubicBezTo>
                  <a:lnTo>
                    <a:pt x="2395" y="4693"/>
                  </a:lnTo>
                  <a:close/>
                  <a:moveTo>
                    <a:pt x="1912" y="4439"/>
                  </a:moveTo>
                  <a:lnTo>
                    <a:pt x="1734" y="4908"/>
                  </a:lnTo>
                  <a:lnTo>
                    <a:pt x="1674" y="4908"/>
                  </a:lnTo>
                  <a:lnTo>
                    <a:pt x="1525" y="4524"/>
                  </a:lnTo>
                  <a:lnTo>
                    <a:pt x="1377" y="4908"/>
                  </a:lnTo>
                  <a:lnTo>
                    <a:pt x="1317" y="4908"/>
                  </a:lnTo>
                  <a:lnTo>
                    <a:pt x="1140" y="4439"/>
                  </a:lnTo>
                  <a:lnTo>
                    <a:pt x="1201" y="4439"/>
                  </a:lnTo>
                  <a:lnTo>
                    <a:pt x="1348" y="4837"/>
                  </a:lnTo>
                  <a:lnTo>
                    <a:pt x="1500" y="4439"/>
                  </a:lnTo>
                  <a:lnTo>
                    <a:pt x="1554" y="4439"/>
                  </a:lnTo>
                  <a:lnTo>
                    <a:pt x="1704" y="4837"/>
                  </a:lnTo>
                  <a:lnTo>
                    <a:pt x="1854" y="4439"/>
                  </a:lnTo>
                  <a:lnTo>
                    <a:pt x="1912" y="4439"/>
                  </a:lnTo>
                  <a:close/>
                  <a:moveTo>
                    <a:pt x="965" y="4833"/>
                  </a:moveTo>
                  <a:cubicBezTo>
                    <a:pt x="992" y="4818"/>
                    <a:pt x="1013" y="4797"/>
                    <a:pt x="1027" y="4769"/>
                  </a:cubicBezTo>
                  <a:cubicBezTo>
                    <a:pt x="1042" y="4741"/>
                    <a:pt x="1050" y="4709"/>
                    <a:pt x="1050" y="4673"/>
                  </a:cubicBezTo>
                  <a:cubicBezTo>
                    <a:pt x="1050" y="4638"/>
                    <a:pt x="1042" y="4606"/>
                    <a:pt x="1027" y="4578"/>
                  </a:cubicBezTo>
                  <a:cubicBezTo>
                    <a:pt x="1013" y="4550"/>
                    <a:pt x="992" y="4528"/>
                    <a:pt x="965" y="4513"/>
                  </a:cubicBezTo>
                  <a:cubicBezTo>
                    <a:pt x="939" y="4498"/>
                    <a:pt x="909" y="4491"/>
                    <a:pt x="875" y="4491"/>
                  </a:cubicBezTo>
                  <a:cubicBezTo>
                    <a:pt x="842" y="4491"/>
                    <a:pt x="812" y="4498"/>
                    <a:pt x="786" y="4513"/>
                  </a:cubicBezTo>
                  <a:cubicBezTo>
                    <a:pt x="759" y="4528"/>
                    <a:pt x="738" y="4550"/>
                    <a:pt x="723" y="4578"/>
                  </a:cubicBezTo>
                  <a:cubicBezTo>
                    <a:pt x="708" y="4606"/>
                    <a:pt x="700" y="4638"/>
                    <a:pt x="700" y="4673"/>
                  </a:cubicBezTo>
                  <a:cubicBezTo>
                    <a:pt x="700" y="4709"/>
                    <a:pt x="708" y="4741"/>
                    <a:pt x="723" y="4769"/>
                  </a:cubicBezTo>
                  <a:cubicBezTo>
                    <a:pt x="738" y="4797"/>
                    <a:pt x="759" y="4818"/>
                    <a:pt x="786" y="4833"/>
                  </a:cubicBezTo>
                  <a:cubicBezTo>
                    <a:pt x="812" y="4849"/>
                    <a:pt x="842" y="4856"/>
                    <a:pt x="875" y="4856"/>
                  </a:cubicBezTo>
                  <a:cubicBezTo>
                    <a:pt x="909" y="4856"/>
                    <a:pt x="939" y="4849"/>
                    <a:pt x="965" y="4833"/>
                  </a:cubicBezTo>
                  <a:close/>
                  <a:moveTo>
                    <a:pt x="753" y="4882"/>
                  </a:moveTo>
                  <a:cubicBezTo>
                    <a:pt x="717" y="4861"/>
                    <a:pt x="688" y="4833"/>
                    <a:pt x="667" y="4796"/>
                  </a:cubicBezTo>
                  <a:cubicBezTo>
                    <a:pt x="646" y="4760"/>
                    <a:pt x="636" y="4719"/>
                    <a:pt x="636" y="4673"/>
                  </a:cubicBezTo>
                  <a:cubicBezTo>
                    <a:pt x="636" y="4628"/>
                    <a:pt x="646" y="4587"/>
                    <a:pt x="667" y="4550"/>
                  </a:cubicBezTo>
                  <a:cubicBezTo>
                    <a:pt x="688" y="4514"/>
                    <a:pt x="717" y="4486"/>
                    <a:pt x="753" y="4466"/>
                  </a:cubicBezTo>
                  <a:cubicBezTo>
                    <a:pt x="789" y="4445"/>
                    <a:pt x="830" y="4435"/>
                    <a:pt x="875" y="4435"/>
                  </a:cubicBezTo>
                  <a:cubicBezTo>
                    <a:pt x="921" y="4435"/>
                    <a:pt x="962" y="4445"/>
                    <a:pt x="998" y="4466"/>
                  </a:cubicBezTo>
                  <a:cubicBezTo>
                    <a:pt x="1034" y="4486"/>
                    <a:pt x="1063" y="4514"/>
                    <a:pt x="1083" y="4550"/>
                  </a:cubicBezTo>
                  <a:cubicBezTo>
                    <a:pt x="1104" y="4587"/>
                    <a:pt x="1114" y="4628"/>
                    <a:pt x="1114" y="4673"/>
                  </a:cubicBezTo>
                  <a:cubicBezTo>
                    <a:pt x="1114" y="4719"/>
                    <a:pt x="1104" y="4760"/>
                    <a:pt x="1083" y="4796"/>
                  </a:cubicBezTo>
                  <a:cubicBezTo>
                    <a:pt x="1063" y="4833"/>
                    <a:pt x="1034" y="4861"/>
                    <a:pt x="998" y="4882"/>
                  </a:cubicBezTo>
                  <a:cubicBezTo>
                    <a:pt x="962" y="4902"/>
                    <a:pt x="921" y="4912"/>
                    <a:pt x="875" y="4912"/>
                  </a:cubicBezTo>
                  <a:cubicBezTo>
                    <a:pt x="830" y="4912"/>
                    <a:pt x="789" y="4902"/>
                    <a:pt x="753" y="4882"/>
                  </a:cubicBezTo>
                  <a:close/>
                  <a:moveTo>
                    <a:pt x="468" y="4612"/>
                  </a:moveTo>
                  <a:cubicBezTo>
                    <a:pt x="501" y="4585"/>
                    <a:pt x="517" y="4547"/>
                    <a:pt x="517" y="4498"/>
                  </a:cubicBezTo>
                  <a:cubicBezTo>
                    <a:pt x="517" y="4447"/>
                    <a:pt x="501" y="4408"/>
                    <a:pt x="468" y="4381"/>
                  </a:cubicBezTo>
                  <a:cubicBezTo>
                    <a:pt x="435" y="4354"/>
                    <a:pt x="388" y="4341"/>
                    <a:pt x="326" y="4341"/>
                  </a:cubicBezTo>
                  <a:lnTo>
                    <a:pt x="159" y="4341"/>
                  </a:lnTo>
                  <a:lnTo>
                    <a:pt x="159" y="4653"/>
                  </a:lnTo>
                  <a:lnTo>
                    <a:pt x="326" y="4653"/>
                  </a:lnTo>
                  <a:cubicBezTo>
                    <a:pt x="388" y="4653"/>
                    <a:pt x="435" y="4639"/>
                    <a:pt x="468" y="4612"/>
                  </a:cubicBezTo>
                  <a:moveTo>
                    <a:pt x="515" y="4341"/>
                  </a:moveTo>
                  <a:cubicBezTo>
                    <a:pt x="560" y="4379"/>
                    <a:pt x="583" y="4431"/>
                    <a:pt x="583" y="4498"/>
                  </a:cubicBezTo>
                  <a:cubicBezTo>
                    <a:pt x="583" y="4564"/>
                    <a:pt x="560" y="4616"/>
                    <a:pt x="515" y="4654"/>
                  </a:cubicBezTo>
                  <a:cubicBezTo>
                    <a:pt x="470" y="4692"/>
                    <a:pt x="407" y="4711"/>
                    <a:pt x="327" y="4711"/>
                  </a:cubicBezTo>
                  <a:lnTo>
                    <a:pt x="159" y="4711"/>
                  </a:lnTo>
                  <a:lnTo>
                    <a:pt x="159" y="4908"/>
                  </a:lnTo>
                  <a:lnTo>
                    <a:pt x="93" y="4908"/>
                  </a:lnTo>
                  <a:lnTo>
                    <a:pt x="93" y="4284"/>
                  </a:lnTo>
                  <a:lnTo>
                    <a:pt x="327" y="4284"/>
                  </a:lnTo>
                  <a:cubicBezTo>
                    <a:pt x="407" y="4284"/>
                    <a:pt x="470" y="4303"/>
                    <a:pt x="515" y="4341"/>
                  </a:cubicBezTo>
                  <a:close/>
                </a:path>
              </a:pathLst>
            </a:custGeom>
            <a:grpFill/>
            <a:ln w="9525">
              <a:noFill/>
              <a:round/>
              <a:headEnd/>
              <a:tailEnd/>
            </a:ln>
          </p:spPr>
          <p:txBody>
            <a:bodyPr/>
            <a:lstStyle/>
            <a:p>
              <a:pPr eaLnBrk="1" fontAlgn="auto" hangingPunct="1">
                <a:spcBef>
                  <a:spcPts val="0"/>
                </a:spcBef>
                <a:spcAft>
                  <a:spcPts val="0"/>
                </a:spcAft>
                <a:defRPr/>
              </a:pPr>
              <a:endParaRPr lang="en-US">
                <a:latin typeface="+mn-lt"/>
              </a:endParaRPr>
            </a:p>
          </p:txBody>
        </p:sp>
        <p:sp>
          <p:nvSpPr>
            <p:cNvPr id="6" name="Freeform 6">
              <a:extLst>
                <a:ext uri="{FF2B5EF4-FFF2-40B4-BE49-F238E27FC236}">
                  <a16:creationId xmlns:a16="http://schemas.microsoft.com/office/drawing/2014/main" id="{54CA5460-6BFA-CA4A-8BAB-71D1EC1901DB}"/>
                </a:ext>
              </a:extLst>
            </p:cNvPr>
            <p:cNvSpPr>
              <a:spLocks noEditPoints="1"/>
            </p:cNvSpPr>
            <p:nvPr/>
          </p:nvSpPr>
          <p:spPr bwMode="auto">
            <a:xfrm>
              <a:off x="1481" y="1882"/>
              <a:ext cx="4755" cy="713"/>
            </a:xfrm>
            <a:custGeom>
              <a:avLst/>
              <a:gdLst>
                <a:gd name="T0" fmla="*/ 9402 w 9905"/>
                <a:gd name="T1" fmla="*/ 1485 h 1485"/>
                <a:gd name="T2" fmla="*/ 9609 w 9905"/>
                <a:gd name="T3" fmla="*/ 673 h 1485"/>
                <a:gd name="T4" fmla="*/ 9235 w 9905"/>
                <a:gd name="T5" fmla="*/ 387 h 1485"/>
                <a:gd name="T6" fmla="*/ 9645 w 9905"/>
                <a:gd name="T7" fmla="*/ 272 h 1485"/>
                <a:gd name="T8" fmla="*/ 9852 w 9905"/>
                <a:gd name="T9" fmla="*/ 188 h 1485"/>
                <a:gd name="T10" fmla="*/ 9440 w 9905"/>
                <a:gd name="T11" fmla="*/ 0 h 1485"/>
                <a:gd name="T12" fmla="*/ 9297 w 9905"/>
                <a:gd name="T13" fmla="*/ 792 h 1485"/>
                <a:gd name="T14" fmla="*/ 9655 w 9905"/>
                <a:gd name="T15" fmla="*/ 1077 h 1485"/>
                <a:gd name="T16" fmla="*/ 9102 w 9905"/>
                <a:gd name="T17" fmla="*/ 1105 h 1485"/>
                <a:gd name="T18" fmla="*/ 7727 w 9905"/>
                <a:gd name="T19" fmla="*/ 1267 h 1485"/>
                <a:gd name="T20" fmla="*/ 8704 w 9905"/>
                <a:gd name="T21" fmla="*/ 1072 h 1485"/>
                <a:gd name="T22" fmla="*/ 8168 w 9905"/>
                <a:gd name="T23" fmla="*/ 558 h 1485"/>
                <a:gd name="T24" fmla="*/ 8252 w 9905"/>
                <a:gd name="T25" fmla="*/ 227 h 1485"/>
                <a:gd name="T26" fmla="*/ 8543 w 9905"/>
                <a:gd name="T27" fmla="*/ 300 h 1485"/>
                <a:gd name="T28" fmla="*/ 8567 w 9905"/>
                <a:gd name="T29" fmla="*/ 73 h 1485"/>
                <a:gd name="T30" fmla="*/ 7785 w 9905"/>
                <a:gd name="T31" fmla="*/ 395 h 1485"/>
                <a:gd name="T32" fmla="*/ 8292 w 9905"/>
                <a:gd name="T33" fmla="*/ 885 h 1485"/>
                <a:gd name="T34" fmla="*/ 8225 w 9905"/>
                <a:gd name="T35" fmla="*/ 1257 h 1485"/>
                <a:gd name="T36" fmla="*/ 7727 w 9905"/>
                <a:gd name="T37" fmla="*/ 1267 h 1485"/>
                <a:gd name="T38" fmla="*/ 3354 w 9905"/>
                <a:gd name="T39" fmla="*/ 1485 h 1485"/>
                <a:gd name="T40" fmla="*/ 3560 w 9905"/>
                <a:gd name="T41" fmla="*/ 673 h 1485"/>
                <a:gd name="T42" fmla="*/ 3187 w 9905"/>
                <a:gd name="T43" fmla="*/ 387 h 1485"/>
                <a:gd name="T44" fmla="*/ 3597 w 9905"/>
                <a:gd name="T45" fmla="*/ 272 h 1485"/>
                <a:gd name="T46" fmla="*/ 3805 w 9905"/>
                <a:gd name="T47" fmla="*/ 188 h 1485"/>
                <a:gd name="T48" fmla="*/ 3393 w 9905"/>
                <a:gd name="T49" fmla="*/ 0 h 1485"/>
                <a:gd name="T50" fmla="*/ 3250 w 9905"/>
                <a:gd name="T51" fmla="*/ 792 h 1485"/>
                <a:gd name="T52" fmla="*/ 3609 w 9905"/>
                <a:gd name="T53" fmla="*/ 1077 h 1485"/>
                <a:gd name="T54" fmla="*/ 3055 w 9905"/>
                <a:gd name="T55" fmla="*/ 1105 h 1485"/>
                <a:gd name="T56" fmla="*/ 5023 w 9905"/>
                <a:gd name="T57" fmla="*/ 0 h 1485"/>
                <a:gd name="T58" fmla="*/ 4905 w 9905"/>
                <a:gd name="T59" fmla="*/ 1370 h 1485"/>
                <a:gd name="T60" fmla="*/ 5140 w 9905"/>
                <a:gd name="T61" fmla="*/ 1370 h 1485"/>
                <a:gd name="T62" fmla="*/ 5868 w 9905"/>
                <a:gd name="T63" fmla="*/ 1395 h 1485"/>
                <a:gd name="T64" fmla="*/ 6117 w 9905"/>
                <a:gd name="T65" fmla="*/ 1372 h 1485"/>
                <a:gd name="T66" fmla="*/ 5884 w 9905"/>
                <a:gd name="T67" fmla="*/ 10 h 1485"/>
                <a:gd name="T68" fmla="*/ 5152 w 9905"/>
                <a:gd name="T69" fmla="*/ 88 h 1485"/>
                <a:gd name="T70" fmla="*/ 882 w 9905"/>
                <a:gd name="T71" fmla="*/ 682 h 1485"/>
                <a:gd name="T72" fmla="*/ 652 w 9905"/>
                <a:gd name="T73" fmla="*/ 1475 h 1485"/>
                <a:gd name="T74" fmla="*/ 0 w 9905"/>
                <a:gd name="T75" fmla="*/ 122 h 1485"/>
                <a:gd name="T76" fmla="*/ 622 w 9905"/>
                <a:gd name="T77" fmla="*/ 7 h 1485"/>
                <a:gd name="T78" fmla="*/ 882 w 9905"/>
                <a:gd name="T79" fmla="*/ 682 h 1485"/>
                <a:gd name="T80" fmla="*/ 592 w 9905"/>
                <a:gd name="T81" fmla="*/ 595 h 1485"/>
                <a:gd name="T82" fmla="*/ 592 w 9905"/>
                <a:gd name="T83" fmla="*/ 238 h 1485"/>
                <a:gd name="T84" fmla="*/ 237 w 9905"/>
                <a:gd name="T85" fmla="*/ 595 h 1485"/>
                <a:gd name="T86" fmla="*/ 859 w 9905"/>
                <a:gd name="T87" fmla="*/ 1032 h 1485"/>
                <a:gd name="T88" fmla="*/ 237 w 9905"/>
                <a:gd name="T89" fmla="*/ 812 h 1485"/>
                <a:gd name="T90" fmla="*/ 607 w 9905"/>
                <a:gd name="T91" fmla="*/ 1250 h 1485"/>
                <a:gd name="T92" fmla="*/ 7492 w 9905"/>
                <a:gd name="T93" fmla="*/ 125 h 1485"/>
                <a:gd name="T94" fmla="*/ 6642 w 9905"/>
                <a:gd name="T95" fmla="*/ 10 h 1485"/>
                <a:gd name="T96" fmla="*/ 6527 w 9905"/>
                <a:gd name="T97" fmla="*/ 1365 h 1485"/>
                <a:gd name="T98" fmla="*/ 7484 w 9905"/>
                <a:gd name="T99" fmla="*/ 1478 h 1485"/>
                <a:gd name="T100" fmla="*/ 6764 w 9905"/>
                <a:gd name="T101" fmla="*/ 1248 h 1485"/>
                <a:gd name="T102" fmla="*/ 7307 w 9905"/>
                <a:gd name="T103" fmla="*/ 822 h 1485"/>
                <a:gd name="T104" fmla="*/ 7307 w 9905"/>
                <a:gd name="T105" fmla="*/ 592 h 1485"/>
                <a:gd name="T106" fmla="*/ 6764 w 9905"/>
                <a:gd name="T107" fmla="*/ 240 h 1485"/>
                <a:gd name="T108" fmla="*/ 1635 w 9905"/>
                <a:gd name="T109" fmla="*/ 893 h 1485"/>
                <a:gd name="T110" fmla="*/ 1517 w 9905"/>
                <a:gd name="T111" fmla="*/ 0 h 1485"/>
                <a:gd name="T112" fmla="*/ 1399 w 9905"/>
                <a:gd name="T113" fmla="*/ 885 h 1485"/>
                <a:gd name="T114" fmla="*/ 2605 w 9905"/>
                <a:gd name="T115" fmla="*/ 885 h 1485"/>
                <a:gd name="T116" fmla="*/ 2367 w 9905"/>
                <a:gd name="T117" fmla="*/ 7 h 1485"/>
                <a:gd name="T118" fmla="*/ 2002 w 9905"/>
                <a:gd name="T119" fmla="*/ 1260 h 1485"/>
                <a:gd name="T120" fmla="*/ 4320 w 9905"/>
                <a:gd name="T121" fmla="*/ 0 h 1485"/>
                <a:gd name="T122" fmla="*/ 4439 w 9905"/>
                <a:gd name="T123" fmla="*/ 1477 h 1485"/>
                <a:gd name="T124" fmla="*/ 4202 w 9905"/>
                <a:gd name="T125" fmla="*/ 115 h 1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905" h="1485">
                  <a:moveTo>
                    <a:pt x="8929" y="1267"/>
                  </a:moveTo>
                  <a:cubicBezTo>
                    <a:pt x="8959" y="1305"/>
                    <a:pt x="9097" y="1485"/>
                    <a:pt x="9402" y="1485"/>
                  </a:cubicBezTo>
                  <a:cubicBezTo>
                    <a:pt x="9700" y="1485"/>
                    <a:pt x="9905" y="1313"/>
                    <a:pt x="9905" y="1072"/>
                  </a:cubicBezTo>
                  <a:cubicBezTo>
                    <a:pt x="9905" y="913"/>
                    <a:pt x="9842" y="787"/>
                    <a:pt x="9609" y="673"/>
                  </a:cubicBezTo>
                  <a:cubicBezTo>
                    <a:pt x="9545" y="643"/>
                    <a:pt x="9368" y="558"/>
                    <a:pt x="9368" y="558"/>
                  </a:cubicBezTo>
                  <a:cubicBezTo>
                    <a:pt x="9277" y="513"/>
                    <a:pt x="9235" y="460"/>
                    <a:pt x="9235" y="387"/>
                  </a:cubicBezTo>
                  <a:cubicBezTo>
                    <a:pt x="9235" y="310"/>
                    <a:pt x="9298" y="227"/>
                    <a:pt x="9452" y="227"/>
                  </a:cubicBezTo>
                  <a:cubicBezTo>
                    <a:pt x="9540" y="227"/>
                    <a:pt x="9609" y="255"/>
                    <a:pt x="9645" y="272"/>
                  </a:cubicBezTo>
                  <a:cubicBezTo>
                    <a:pt x="9662" y="280"/>
                    <a:pt x="9704" y="300"/>
                    <a:pt x="9743" y="300"/>
                  </a:cubicBezTo>
                  <a:cubicBezTo>
                    <a:pt x="9795" y="300"/>
                    <a:pt x="9852" y="263"/>
                    <a:pt x="9852" y="188"/>
                  </a:cubicBezTo>
                  <a:cubicBezTo>
                    <a:pt x="9852" y="125"/>
                    <a:pt x="9807" y="92"/>
                    <a:pt x="9767" y="73"/>
                  </a:cubicBezTo>
                  <a:cubicBezTo>
                    <a:pt x="9704" y="43"/>
                    <a:pt x="9605" y="0"/>
                    <a:pt x="9440" y="0"/>
                  </a:cubicBezTo>
                  <a:cubicBezTo>
                    <a:pt x="9179" y="0"/>
                    <a:pt x="8985" y="165"/>
                    <a:pt x="8985" y="395"/>
                  </a:cubicBezTo>
                  <a:cubicBezTo>
                    <a:pt x="8985" y="605"/>
                    <a:pt x="9125" y="710"/>
                    <a:pt x="9297" y="792"/>
                  </a:cubicBezTo>
                  <a:cubicBezTo>
                    <a:pt x="9329" y="807"/>
                    <a:pt x="9455" y="868"/>
                    <a:pt x="9490" y="885"/>
                  </a:cubicBezTo>
                  <a:cubicBezTo>
                    <a:pt x="9598" y="937"/>
                    <a:pt x="9655" y="987"/>
                    <a:pt x="9655" y="1077"/>
                  </a:cubicBezTo>
                  <a:cubicBezTo>
                    <a:pt x="9655" y="1175"/>
                    <a:pt x="9564" y="1257"/>
                    <a:pt x="9425" y="1257"/>
                  </a:cubicBezTo>
                  <a:cubicBezTo>
                    <a:pt x="9227" y="1257"/>
                    <a:pt x="9120" y="1127"/>
                    <a:pt x="9102" y="1105"/>
                  </a:cubicBezTo>
                  <a:lnTo>
                    <a:pt x="8929" y="1267"/>
                  </a:lnTo>
                  <a:close/>
                  <a:moveTo>
                    <a:pt x="7727" y="1267"/>
                  </a:moveTo>
                  <a:cubicBezTo>
                    <a:pt x="7757" y="1305"/>
                    <a:pt x="7897" y="1485"/>
                    <a:pt x="8202" y="1485"/>
                  </a:cubicBezTo>
                  <a:cubicBezTo>
                    <a:pt x="8500" y="1485"/>
                    <a:pt x="8704" y="1313"/>
                    <a:pt x="8704" y="1072"/>
                  </a:cubicBezTo>
                  <a:cubicBezTo>
                    <a:pt x="8704" y="913"/>
                    <a:pt x="8642" y="787"/>
                    <a:pt x="8407" y="673"/>
                  </a:cubicBezTo>
                  <a:cubicBezTo>
                    <a:pt x="8345" y="643"/>
                    <a:pt x="8168" y="558"/>
                    <a:pt x="8168" y="558"/>
                  </a:cubicBezTo>
                  <a:cubicBezTo>
                    <a:pt x="8075" y="513"/>
                    <a:pt x="8034" y="460"/>
                    <a:pt x="8034" y="387"/>
                  </a:cubicBezTo>
                  <a:cubicBezTo>
                    <a:pt x="8034" y="310"/>
                    <a:pt x="8097" y="227"/>
                    <a:pt x="8252" y="227"/>
                  </a:cubicBezTo>
                  <a:cubicBezTo>
                    <a:pt x="8340" y="227"/>
                    <a:pt x="8407" y="255"/>
                    <a:pt x="8443" y="272"/>
                  </a:cubicBezTo>
                  <a:cubicBezTo>
                    <a:pt x="8462" y="280"/>
                    <a:pt x="8504" y="300"/>
                    <a:pt x="8543" y="300"/>
                  </a:cubicBezTo>
                  <a:cubicBezTo>
                    <a:pt x="8595" y="300"/>
                    <a:pt x="8652" y="263"/>
                    <a:pt x="8652" y="188"/>
                  </a:cubicBezTo>
                  <a:cubicBezTo>
                    <a:pt x="8652" y="125"/>
                    <a:pt x="8607" y="92"/>
                    <a:pt x="8567" y="73"/>
                  </a:cubicBezTo>
                  <a:cubicBezTo>
                    <a:pt x="8504" y="43"/>
                    <a:pt x="8404" y="0"/>
                    <a:pt x="8240" y="0"/>
                  </a:cubicBezTo>
                  <a:cubicBezTo>
                    <a:pt x="7979" y="0"/>
                    <a:pt x="7785" y="165"/>
                    <a:pt x="7785" y="395"/>
                  </a:cubicBezTo>
                  <a:cubicBezTo>
                    <a:pt x="7785" y="605"/>
                    <a:pt x="7927" y="710"/>
                    <a:pt x="8097" y="792"/>
                  </a:cubicBezTo>
                  <a:cubicBezTo>
                    <a:pt x="8130" y="807"/>
                    <a:pt x="8257" y="868"/>
                    <a:pt x="8292" y="885"/>
                  </a:cubicBezTo>
                  <a:cubicBezTo>
                    <a:pt x="8398" y="937"/>
                    <a:pt x="8455" y="987"/>
                    <a:pt x="8455" y="1077"/>
                  </a:cubicBezTo>
                  <a:cubicBezTo>
                    <a:pt x="8455" y="1175"/>
                    <a:pt x="8364" y="1257"/>
                    <a:pt x="8225" y="1257"/>
                  </a:cubicBezTo>
                  <a:cubicBezTo>
                    <a:pt x="8025" y="1257"/>
                    <a:pt x="7920" y="1127"/>
                    <a:pt x="7902" y="1105"/>
                  </a:cubicBezTo>
                  <a:lnTo>
                    <a:pt x="7727" y="1267"/>
                  </a:lnTo>
                  <a:close/>
                  <a:moveTo>
                    <a:pt x="2880" y="1267"/>
                  </a:moveTo>
                  <a:cubicBezTo>
                    <a:pt x="2910" y="1305"/>
                    <a:pt x="3049" y="1485"/>
                    <a:pt x="3354" y="1485"/>
                  </a:cubicBezTo>
                  <a:cubicBezTo>
                    <a:pt x="3654" y="1485"/>
                    <a:pt x="3857" y="1313"/>
                    <a:pt x="3857" y="1072"/>
                  </a:cubicBezTo>
                  <a:cubicBezTo>
                    <a:pt x="3857" y="913"/>
                    <a:pt x="3795" y="787"/>
                    <a:pt x="3560" y="673"/>
                  </a:cubicBezTo>
                  <a:cubicBezTo>
                    <a:pt x="3497" y="643"/>
                    <a:pt x="3322" y="558"/>
                    <a:pt x="3322" y="558"/>
                  </a:cubicBezTo>
                  <a:cubicBezTo>
                    <a:pt x="3229" y="513"/>
                    <a:pt x="3187" y="460"/>
                    <a:pt x="3187" y="387"/>
                  </a:cubicBezTo>
                  <a:cubicBezTo>
                    <a:pt x="3187" y="310"/>
                    <a:pt x="3250" y="227"/>
                    <a:pt x="3405" y="227"/>
                  </a:cubicBezTo>
                  <a:cubicBezTo>
                    <a:pt x="3493" y="227"/>
                    <a:pt x="3562" y="255"/>
                    <a:pt x="3597" y="272"/>
                  </a:cubicBezTo>
                  <a:cubicBezTo>
                    <a:pt x="3615" y="280"/>
                    <a:pt x="3657" y="300"/>
                    <a:pt x="3697" y="300"/>
                  </a:cubicBezTo>
                  <a:cubicBezTo>
                    <a:pt x="3749" y="300"/>
                    <a:pt x="3805" y="263"/>
                    <a:pt x="3805" y="188"/>
                  </a:cubicBezTo>
                  <a:cubicBezTo>
                    <a:pt x="3805" y="125"/>
                    <a:pt x="3760" y="92"/>
                    <a:pt x="3720" y="73"/>
                  </a:cubicBezTo>
                  <a:cubicBezTo>
                    <a:pt x="3657" y="43"/>
                    <a:pt x="3559" y="0"/>
                    <a:pt x="3393" y="0"/>
                  </a:cubicBezTo>
                  <a:cubicBezTo>
                    <a:pt x="3132" y="0"/>
                    <a:pt x="2939" y="165"/>
                    <a:pt x="2939" y="395"/>
                  </a:cubicBezTo>
                  <a:cubicBezTo>
                    <a:pt x="2939" y="605"/>
                    <a:pt x="3080" y="710"/>
                    <a:pt x="3250" y="792"/>
                  </a:cubicBezTo>
                  <a:cubicBezTo>
                    <a:pt x="3282" y="807"/>
                    <a:pt x="3409" y="868"/>
                    <a:pt x="3443" y="885"/>
                  </a:cubicBezTo>
                  <a:cubicBezTo>
                    <a:pt x="3552" y="937"/>
                    <a:pt x="3609" y="987"/>
                    <a:pt x="3609" y="1077"/>
                  </a:cubicBezTo>
                  <a:cubicBezTo>
                    <a:pt x="3609" y="1175"/>
                    <a:pt x="3517" y="1257"/>
                    <a:pt x="3379" y="1257"/>
                  </a:cubicBezTo>
                  <a:cubicBezTo>
                    <a:pt x="3180" y="1257"/>
                    <a:pt x="3074" y="1127"/>
                    <a:pt x="3055" y="1105"/>
                  </a:cubicBezTo>
                  <a:lnTo>
                    <a:pt x="2880" y="1267"/>
                  </a:lnTo>
                  <a:close/>
                  <a:moveTo>
                    <a:pt x="5023" y="0"/>
                  </a:moveTo>
                  <a:cubicBezTo>
                    <a:pt x="4952" y="0"/>
                    <a:pt x="4905" y="52"/>
                    <a:pt x="4905" y="113"/>
                  </a:cubicBezTo>
                  <a:lnTo>
                    <a:pt x="4905" y="1370"/>
                  </a:lnTo>
                  <a:cubicBezTo>
                    <a:pt x="4905" y="1433"/>
                    <a:pt x="4960" y="1483"/>
                    <a:pt x="5023" y="1483"/>
                  </a:cubicBezTo>
                  <a:cubicBezTo>
                    <a:pt x="5085" y="1483"/>
                    <a:pt x="5140" y="1433"/>
                    <a:pt x="5140" y="1370"/>
                  </a:cubicBezTo>
                  <a:lnTo>
                    <a:pt x="5140" y="463"/>
                  </a:lnTo>
                  <a:cubicBezTo>
                    <a:pt x="5140" y="463"/>
                    <a:pt x="5717" y="1200"/>
                    <a:pt x="5868" y="1395"/>
                  </a:cubicBezTo>
                  <a:cubicBezTo>
                    <a:pt x="5907" y="1443"/>
                    <a:pt x="5934" y="1485"/>
                    <a:pt x="6002" y="1485"/>
                  </a:cubicBezTo>
                  <a:cubicBezTo>
                    <a:pt x="6070" y="1485"/>
                    <a:pt x="6117" y="1435"/>
                    <a:pt x="6117" y="1372"/>
                  </a:cubicBezTo>
                  <a:lnTo>
                    <a:pt x="6117" y="10"/>
                  </a:lnTo>
                  <a:lnTo>
                    <a:pt x="5884" y="10"/>
                  </a:lnTo>
                  <a:lnTo>
                    <a:pt x="5884" y="1027"/>
                  </a:lnTo>
                  <a:cubicBezTo>
                    <a:pt x="5884" y="1027"/>
                    <a:pt x="5242" y="203"/>
                    <a:pt x="5152" y="88"/>
                  </a:cubicBezTo>
                  <a:cubicBezTo>
                    <a:pt x="5110" y="35"/>
                    <a:pt x="5079" y="0"/>
                    <a:pt x="5023" y="0"/>
                  </a:cubicBezTo>
                  <a:close/>
                  <a:moveTo>
                    <a:pt x="882" y="682"/>
                  </a:moveTo>
                  <a:cubicBezTo>
                    <a:pt x="924" y="702"/>
                    <a:pt x="1099" y="777"/>
                    <a:pt x="1099" y="1037"/>
                  </a:cubicBezTo>
                  <a:cubicBezTo>
                    <a:pt x="1099" y="1283"/>
                    <a:pt x="915" y="1475"/>
                    <a:pt x="652" y="1475"/>
                  </a:cubicBezTo>
                  <a:lnTo>
                    <a:pt x="0" y="1475"/>
                  </a:lnTo>
                  <a:lnTo>
                    <a:pt x="0" y="122"/>
                  </a:lnTo>
                  <a:cubicBezTo>
                    <a:pt x="0" y="53"/>
                    <a:pt x="47" y="7"/>
                    <a:pt x="115" y="7"/>
                  </a:cubicBezTo>
                  <a:lnTo>
                    <a:pt x="622" y="7"/>
                  </a:lnTo>
                  <a:cubicBezTo>
                    <a:pt x="868" y="7"/>
                    <a:pt x="1030" y="155"/>
                    <a:pt x="1030" y="380"/>
                  </a:cubicBezTo>
                  <a:cubicBezTo>
                    <a:pt x="1030" y="572"/>
                    <a:pt x="922" y="657"/>
                    <a:pt x="882" y="682"/>
                  </a:cubicBezTo>
                  <a:moveTo>
                    <a:pt x="237" y="595"/>
                  </a:moveTo>
                  <a:lnTo>
                    <a:pt x="592" y="595"/>
                  </a:lnTo>
                  <a:cubicBezTo>
                    <a:pt x="718" y="595"/>
                    <a:pt x="790" y="515"/>
                    <a:pt x="790" y="417"/>
                  </a:cubicBezTo>
                  <a:cubicBezTo>
                    <a:pt x="790" y="318"/>
                    <a:pt x="725" y="238"/>
                    <a:pt x="592" y="238"/>
                  </a:cubicBezTo>
                  <a:lnTo>
                    <a:pt x="237" y="238"/>
                  </a:lnTo>
                  <a:lnTo>
                    <a:pt x="237" y="595"/>
                  </a:lnTo>
                  <a:close/>
                  <a:moveTo>
                    <a:pt x="607" y="1250"/>
                  </a:moveTo>
                  <a:cubicBezTo>
                    <a:pt x="774" y="1250"/>
                    <a:pt x="859" y="1152"/>
                    <a:pt x="859" y="1032"/>
                  </a:cubicBezTo>
                  <a:cubicBezTo>
                    <a:pt x="859" y="910"/>
                    <a:pt x="777" y="812"/>
                    <a:pt x="607" y="812"/>
                  </a:cubicBezTo>
                  <a:lnTo>
                    <a:pt x="237" y="812"/>
                  </a:lnTo>
                  <a:lnTo>
                    <a:pt x="237" y="1250"/>
                  </a:lnTo>
                  <a:lnTo>
                    <a:pt x="607" y="1250"/>
                  </a:lnTo>
                  <a:close/>
                  <a:moveTo>
                    <a:pt x="7367" y="240"/>
                  </a:moveTo>
                  <a:cubicBezTo>
                    <a:pt x="7445" y="240"/>
                    <a:pt x="7492" y="190"/>
                    <a:pt x="7492" y="125"/>
                  </a:cubicBezTo>
                  <a:cubicBezTo>
                    <a:pt x="7492" y="60"/>
                    <a:pt x="7443" y="10"/>
                    <a:pt x="7367" y="10"/>
                  </a:cubicBezTo>
                  <a:lnTo>
                    <a:pt x="6642" y="10"/>
                  </a:lnTo>
                  <a:cubicBezTo>
                    <a:pt x="6575" y="10"/>
                    <a:pt x="6527" y="58"/>
                    <a:pt x="6527" y="125"/>
                  </a:cubicBezTo>
                  <a:lnTo>
                    <a:pt x="6527" y="1365"/>
                  </a:lnTo>
                  <a:cubicBezTo>
                    <a:pt x="6527" y="1430"/>
                    <a:pt x="6575" y="1478"/>
                    <a:pt x="6642" y="1478"/>
                  </a:cubicBezTo>
                  <a:lnTo>
                    <a:pt x="7484" y="1478"/>
                  </a:lnTo>
                  <a:lnTo>
                    <a:pt x="7484" y="1248"/>
                  </a:lnTo>
                  <a:lnTo>
                    <a:pt x="6764" y="1248"/>
                  </a:lnTo>
                  <a:lnTo>
                    <a:pt x="6764" y="822"/>
                  </a:lnTo>
                  <a:lnTo>
                    <a:pt x="7307" y="822"/>
                  </a:lnTo>
                  <a:cubicBezTo>
                    <a:pt x="7389" y="822"/>
                    <a:pt x="7435" y="773"/>
                    <a:pt x="7435" y="707"/>
                  </a:cubicBezTo>
                  <a:cubicBezTo>
                    <a:pt x="7435" y="640"/>
                    <a:pt x="7390" y="592"/>
                    <a:pt x="7307" y="592"/>
                  </a:cubicBezTo>
                  <a:lnTo>
                    <a:pt x="6764" y="592"/>
                  </a:lnTo>
                  <a:lnTo>
                    <a:pt x="6764" y="240"/>
                  </a:lnTo>
                  <a:lnTo>
                    <a:pt x="7367" y="240"/>
                  </a:lnTo>
                  <a:close/>
                  <a:moveTo>
                    <a:pt x="1635" y="893"/>
                  </a:moveTo>
                  <a:lnTo>
                    <a:pt x="1635" y="115"/>
                  </a:lnTo>
                  <a:cubicBezTo>
                    <a:pt x="1635" y="52"/>
                    <a:pt x="1589" y="0"/>
                    <a:pt x="1517" y="0"/>
                  </a:cubicBezTo>
                  <a:cubicBezTo>
                    <a:pt x="1443" y="0"/>
                    <a:pt x="1399" y="52"/>
                    <a:pt x="1399" y="115"/>
                  </a:cubicBezTo>
                  <a:lnTo>
                    <a:pt x="1399" y="885"/>
                  </a:lnTo>
                  <a:cubicBezTo>
                    <a:pt x="1399" y="1215"/>
                    <a:pt x="1630" y="1483"/>
                    <a:pt x="2002" y="1483"/>
                  </a:cubicBezTo>
                  <a:cubicBezTo>
                    <a:pt x="2372" y="1483"/>
                    <a:pt x="2605" y="1215"/>
                    <a:pt x="2605" y="885"/>
                  </a:cubicBezTo>
                  <a:lnTo>
                    <a:pt x="2605" y="7"/>
                  </a:lnTo>
                  <a:lnTo>
                    <a:pt x="2367" y="7"/>
                  </a:lnTo>
                  <a:lnTo>
                    <a:pt x="2367" y="892"/>
                  </a:lnTo>
                  <a:cubicBezTo>
                    <a:pt x="2367" y="1087"/>
                    <a:pt x="2237" y="1260"/>
                    <a:pt x="2002" y="1260"/>
                  </a:cubicBezTo>
                  <a:cubicBezTo>
                    <a:pt x="1765" y="1262"/>
                    <a:pt x="1635" y="1088"/>
                    <a:pt x="1635" y="893"/>
                  </a:cubicBezTo>
                  <a:close/>
                  <a:moveTo>
                    <a:pt x="4320" y="0"/>
                  </a:moveTo>
                  <a:cubicBezTo>
                    <a:pt x="4393" y="0"/>
                    <a:pt x="4439" y="52"/>
                    <a:pt x="4439" y="115"/>
                  </a:cubicBezTo>
                  <a:lnTo>
                    <a:pt x="4439" y="1477"/>
                  </a:lnTo>
                  <a:lnTo>
                    <a:pt x="4202" y="1477"/>
                  </a:lnTo>
                  <a:lnTo>
                    <a:pt x="4202" y="115"/>
                  </a:lnTo>
                  <a:cubicBezTo>
                    <a:pt x="4202" y="52"/>
                    <a:pt x="4247" y="0"/>
                    <a:pt x="4320" y="0"/>
                  </a:cubicBezTo>
                  <a:close/>
                </a:path>
              </a:pathLst>
            </a:custGeom>
            <a:grpFill/>
            <a:ln w="9525">
              <a:noFill/>
              <a:round/>
              <a:headEnd/>
              <a:tailEnd/>
            </a:ln>
          </p:spPr>
          <p:txBody>
            <a:bodyPr/>
            <a:lstStyle/>
            <a:p>
              <a:pPr eaLnBrk="1" fontAlgn="auto" hangingPunct="1">
                <a:spcBef>
                  <a:spcPts val="0"/>
                </a:spcBef>
                <a:spcAft>
                  <a:spcPts val="0"/>
                </a:spcAft>
                <a:defRPr/>
              </a:pPr>
              <a:endParaRPr lang="en-US">
                <a:latin typeface="+mn-lt"/>
              </a:endParaRPr>
            </a:p>
          </p:txBody>
        </p:sp>
      </p:grpSp>
      <p:sp>
        <p:nvSpPr>
          <p:cNvPr id="5" name="Picture Placeholder 5"/>
          <p:cNvSpPr>
            <a:spLocks noGrp="1"/>
          </p:cNvSpPr>
          <p:nvPr>
            <p:ph type="pic" sz="quarter" idx="11"/>
          </p:nvPr>
        </p:nvSpPr>
        <p:spPr>
          <a:xfrm>
            <a:off x="-9144" y="-4713"/>
            <a:ext cx="12207240" cy="6876288"/>
          </a:xfrm>
          <a:solidFill>
            <a:schemeClr val="tx1">
              <a:lumMod val="65000"/>
              <a:lumOff val="35000"/>
            </a:schemeClr>
          </a:solidFill>
        </p:spPr>
        <p:txBody>
          <a:bodyPr lIns="1920240" tIns="731520" rIns="1828800" rtlCol="0">
            <a:noAutofit/>
          </a:bodyPr>
          <a:lstStyle>
            <a:lvl1pPr marL="0" indent="0">
              <a:lnSpc>
                <a:spcPct val="100000"/>
              </a:lnSpc>
              <a:spcBef>
                <a:spcPts val="0"/>
              </a:spcBef>
              <a:buNone/>
              <a:defRPr sz="1800">
                <a:solidFill>
                  <a:schemeClr val="bg1"/>
                </a:solidFill>
              </a:defRPr>
            </a:lvl1pPr>
          </a:lstStyle>
          <a:p>
            <a:pPr lvl="0"/>
            <a:r>
              <a:rPr lang="en-US" noProof="0"/>
              <a:t>Click icon to add picture</a:t>
            </a:r>
            <a:endParaRPr lang="en-GB" noProof="0"/>
          </a:p>
        </p:txBody>
      </p:sp>
    </p:spTree>
    <p:extLst>
      <p:ext uri="{BB962C8B-B14F-4D97-AF65-F5344CB8AC3E}">
        <p14:creationId xmlns:p14="http://schemas.microsoft.com/office/powerpoint/2010/main" val="215664708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Open / Close 6 (alt dark image, no text)">
    <p:spTree>
      <p:nvGrpSpPr>
        <p:cNvPr id="1" name=""/>
        <p:cNvGrpSpPr/>
        <p:nvPr/>
      </p:nvGrpSpPr>
      <p:grpSpPr>
        <a:xfrm>
          <a:off x="0" y="0"/>
          <a:ext cx="0" cy="0"/>
          <a:chOff x="0" y="0"/>
          <a:chExt cx="0" cy="0"/>
        </a:xfrm>
      </p:grpSpPr>
      <p:grpSp>
        <p:nvGrpSpPr>
          <p:cNvPr id="3" name="Group 4">
            <a:extLst>
              <a:ext uri="{FF2B5EF4-FFF2-40B4-BE49-F238E27FC236}">
                <a16:creationId xmlns:a16="http://schemas.microsoft.com/office/drawing/2014/main" id="{EEA22612-2BF5-A748-B3A5-5AFCEAD31E48}"/>
              </a:ext>
            </a:extLst>
          </p:cNvPr>
          <p:cNvGrpSpPr>
            <a:grpSpLocks noChangeAspect="1"/>
          </p:cNvGrpSpPr>
          <p:nvPr/>
        </p:nvGrpSpPr>
        <p:grpSpPr bwMode="auto">
          <a:xfrm>
            <a:off x="5305044" y="5518737"/>
            <a:ext cx="1581912" cy="804798"/>
            <a:chOff x="1436" y="934"/>
            <a:chExt cx="4800" cy="2442"/>
          </a:xfrm>
          <a:solidFill>
            <a:srgbClr val="FFFFFF"/>
          </a:solidFill>
        </p:grpSpPr>
        <p:sp>
          <p:nvSpPr>
            <p:cNvPr id="4" name="Freeform 12">
              <a:extLst>
                <a:ext uri="{FF2B5EF4-FFF2-40B4-BE49-F238E27FC236}">
                  <a16:creationId xmlns:a16="http://schemas.microsoft.com/office/drawing/2014/main" id="{F165DA40-F66F-CF44-AF5C-29B737011C33}"/>
                </a:ext>
              </a:extLst>
            </p:cNvPr>
            <p:cNvSpPr>
              <a:spLocks noEditPoints="1"/>
            </p:cNvSpPr>
            <p:nvPr/>
          </p:nvSpPr>
          <p:spPr bwMode="auto">
            <a:xfrm>
              <a:off x="1436" y="934"/>
              <a:ext cx="4794" cy="2442"/>
            </a:xfrm>
            <a:custGeom>
              <a:avLst/>
              <a:gdLst>
                <a:gd name="T0" fmla="*/ 9572 w 9986"/>
                <a:gd name="T1" fmla="*/ 153 h 5085"/>
                <a:gd name="T2" fmla="*/ 6835 w 9986"/>
                <a:gd name="T3" fmla="*/ 925 h 5085"/>
                <a:gd name="T4" fmla="*/ 6895 w 9986"/>
                <a:gd name="T5" fmla="*/ 780 h 5085"/>
                <a:gd name="T6" fmla="*/ 3251 w 9986"/>
                <a:gd name="T7" fmla="*/ 1478 h 5085"/>
                <a:gd name="T8" fmla="*/ 4555 w 9986"/>
                <a:gd name="T9" fmla="*/ 55 h 5085"/>
                <a:gd name="T10" fmla="*/ 5001 w 9986"/>
                <a:gd name="T11" fmla="*/ 740 h 5085"/>
                <a:gd name="T12" fmla="*/ 1260 w 9986"/>
                <a:gd name="T13" fmla="*/ 320 h 5085"/>
                <a:gd name="T14" fmla="*/ 738 w 9986"/>
                <a:gd name="T15" fmla="*/ 1331 h 5085"/>
                <a:gd name="T16" fmla="*/ 8772 w 9986"/>
                <a:gd name="T17" fmla="*/ 158 h 5085"/>
                <a:gd name="T18" fmla="*/ 8053 w 9986"/>
                <a:gd name="T19" fmla="*/ 1163 h 5085"/>
                <a:gd name="T20" fmla="*/ 2988 w 9986"/>
                <a:gd name="T21" fmla="*/ 740 h 5085"/>
                <a:gd name="T22" fmla="*/ 9814 w 9986"/>
                <a:gd name="T23" fmla="*/ 4415 h 5085"/>
                <a:gd name="T24" fmla="*/ 9918 w 9986"/>
                <a:gd name="T25" fmla="*/ 4246 h 5085"/>
                <a:gd name="T26" fmla="*/ 9562 w 9986"/>
                <a:gd name="T27" fmla="*/ 4273 h 5085"/>
                <a:gd name="T28" fmla="*/ 9408 w 9986"/>
                <a:gd name="T29" fmla="*/ 4780 h 5085"/>
                <a:gd name="T30" fmla="*/ 9380 w 9986"/>
                <a:gd name="T31" fmla="*/ 4447 h 5085"/>
                <a:gd name="T32" fmla="*/ 9389 w 9986"/>
                <a:gd name="T33" fmla="*/ 4671 h 5085"/>
                <a:gd name="T34" fmla="*/ 8917 w 9986"/>
                <a:gd name="T35" fmla="*/ 4533 h 5085"/>
                <a:gd name="T36" fmla="*/ 9001 w 9986"/>
                <a:gd name="T37" fmla="*/ 4836 h 5085"/>
                <a:gd name="T38" fmla="*/ 8919 w 9986"/>
                <a:gd name="T39" fmla="*/ 4466 h 5085"/>
                <a:gd name="T40" fmla="*/ 8387 w 9986"/>
                <a:gd name="T41" fmla="*/ 4323 h 5085"/>
                <a:gd name="T42" fmla="*/ 8282 w 9986"/>
                <a:gd name="T43" fmla="*/ 4879 h 5085"/>
                <a:gd name="T44" fmla="*/ 8045 w 9986"/>
                <a:gd name="T45" fmla="*/ 4336 h 5085"/>
                <a:gd name="T46" fmla="*/ 8228 w 9986"/>
                <a:gd name="T47" fmla="*/ 4852 h 5085"/>
                <a:gd name="T48" fmla="*/ 7788 w 9986"/>
                <a:gd name="T49" fmla="*/ 4291 h 5085"/>
                <a:gd name="T50" fmla="*/ 7635 w 9986"/>
                <a:gd name="T51" fmla="*/ 4246 h 5085"/>
                <a:gd name="T52" fmla="*/ 7339 w 9986"/>
                <a:gd name="T53" fmla="*/ 4323 h 5085"/>
                <a:gd name="T54" fmla="*/ 7070 w 9986"/>
                <a:gd name="T55" fmla="*/ 4833 h 5085"/>
                <a:gd name="T56" fmla="*/ 6828 w 9986"/>
                <a:gd name="T57" fmla="*/ 4769 h 5085"/>
                <a:gd name="T58" fmla="*/ 6985 w 9986"/>
                <a:gd name="T59" fmla="*/ 4912 h 5085"/>
                <a:gd name="T60" fmla="*/ 6985 w 9986"/>
                <a:gd name="T61" fmla="*/ 4435 h 5085"/>
                <a:gd name="T62" fmla="*/ 6510 w 9986"/>
                <a:gd name="T63" fmla="*/ 4260 h 5085"/>
                <a:gd name="T64" fmla="*/ 6046 w 9986"/>
                <a:gd name="T65" fmla="*/ 4804 h 5085"/>
                <a:gd name="T66" fmla="*/ 6059 w 9986"/>
                <a:gd name="T67" fmla="*/ 4643 h 5085"/>
                <a:gd name="T68" fmla="*/ 6098 w 9986"/>
                <a:gd name="T69" fmla="*/ 4567 h 5085"/>
                <a:gd name="T70" fmla="*/ 6099 w 9986"/>
                <a:gd name="T71" fmla="*/ 4896 h 5085"/>
                <a:gd name="T72" fmla="*/ 5833 w 9986"/>
                <a:gd name="T73" fmla="*/ 4717 h 5085"/>
                <a:gd name="T74" fmla="*/ 5913 w 9986"/>
                <a:gd name="T75" fmla="*/ 4530 h 5085"/>
                <a:gd name="T76" fmla="*/ 5956 w 9986"/>
                <a:gd name="T77" fmla="*/ 4779 h 5085"/>
                <a:gd name="T78" fmla="*/ 5277 w 9986"/>
                <a:gd name="T79" fmla="*/ 4491 h 5085"/>
                <a:gd name="T80" fmla="*/ 5069 w 9986"/>
                <a:gd name="T81" fmla="*/ 4796 h 5085"/>
                <a:gd name="T82" fmla="*/ 5399 w 9986"/>
                <a:gd name="T83" fmla="*/ 4882 h 5085"/>
                <a:gd name="T84" fmla="*/ 4727 w 9986"/>
                <a:gd name="T85" fmla="*/ 4653 h 5085"/>
                <a:gd name="T86" fmla="*/ 4495 w 9986"/>
                <a:gd name="T87" fmla="*/ 4284 h 5085"/>
                <a:gd name="T88" fmla="*/ 3755 w 9986"/>
                <a:gd name="T89" fmla="*/ 4512 h 5085"/>
                <a:gd name="T90" fmla="*/ 4028 w 9986"/>
                <a:gd name="T91" fmla="*/ 5028 h 5085"/>
                <a:gd name="T92" fmla="*/ 4023 w 9986"/>
                <a:gd name="T93" fmla="*/ 4799 h 5085"/>
                <a:gd name="T94" fmla="*/ 3948 w 9986"/>
                <a:gd name="T95" fmla="*/ 4459 h 5085"/>
                <a:gd name="T96" fmla="*/ 3405 w 9986"/>
                <a:gd name="T97" fmla="*/ 4531 h 5085"/>
                <a:gd name="T98" fmla="*/ 3205 w 9986"/>
                <a:gd name="T99" fmla="*/ 4459 h 5085"/>
                <a:gd name="T100" fmla="*/ 2844 w 9986"/>
                <a:gd name="T101" fmla="*/ 4291 h 5085"/>
                <a:gd name="T102" fmla="*/ 2753 w 9986"/>
                <a:gd name="T103" fmla="*/ 4435 h 5085"/>
                <a:gd name="T104" fmla="*/ 2577 w 9986"/>
                <a:gd name="T105" fmla="*/ 4531 h 5085"/>
                <a:gd name="T106" fmla="*/ 2001 w 9986"/>
                <a:gd name="T107" fmla="*/ 4693 h 5085"/>
                <a:gd name="T108" fmla="*/ 1969 w 9986"/>
                <a:gd name="T109" fmla="*/ 4796 h 5085"/>
                <a:gd name="T110" fmla="*/ 1912 w 9986"/>
                <a:gd name="T111" fmla="*/ 4439 h 5085"/>
                <a:gd name="T112" fmla="*/ 1500 w 9986"/>
                <a:gd name="T113" fmla="*/ 4439 h 5085"/>
                <a:gd name="T114" fmla="*/ 965 w 9986"/>
                <a:gd name="T115" fmla="*/ 4513 h 5085"/>
                <a:gd name="T116" fmla="*/ 753 w 9986"/>
                <a:gd name="T117" fmla="*/ 4882 h 5085"/>
                <a:gd name="T118" fmla="*/ 1083 w 9986"/>
                <a:gd name="T119" fmla="*/ 4796 h 5085"/>
                <a:gd name="T120" fmla="*/ 159 w 9986"/>
                <a:gd name="T121" fmla="*/ 4653 h 5085"/>
                <a:gd name="T122" fmla="*/ 93 w 9986"/>
                <a:gd name="T123" fmla="*/ 4908 h 5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986" h="5085">
                  <a:moveTo>
                    <a:pt x="9986" y="81"/>
                  </a:moveTo>
                  <a:cubicBezTo>
                    <a:pt x="9986" y="41"/>
                    <a:pt x="9953" y="8"/>
                    <a:pt x="9913" y="8"/>
                  </a:cubicBezTo>
                  <a:lnTo>
                    <a:pt x="9093" y="8"/>
                  </a:lnTo>
                  <a:cubicBezTo>
                    <a:pt x="9053" y="8"/>
                    <a:pt x="9020" y="40"/>
                    <a:pt x="9020" y="81"/>
                  </a:cubicBezTo>
                  <a:cubicBezTo>
                    <a:pt x="9020" y="121"/>
                    <a:pt x="9051" y="153"/>
                    <a:pt x="9093" y="153"/>
                  </a:cubicBezTo>
                  <a:lnTo>
                    <a:pt x="9438" y="153"/>
                  </a:lnTo>
                  <a:lnTo>
                    <a:pt x="9438" y="1468"/>
                  </a:lnTo>
                  <a:lnTo>
                    <a:pt x="9572" y="1468"/>
                  </a:lnTo>
                  <a:lnTo>
                    <a:pt x="9572" y="153"/>
                  </a:lnTo>
                  <a:lnTo>
                    <a:pt x="9915" y="153"/>
                  </a:lnTo>
                  <a:cubicBezTo>
                    <a:pt x="9955" y="155"/>
                    <a:pt x="9986" y="121"/>
                    <a:pt x="9986" y="81"/>
                  </a:cubicBezTo>
                  <a:close/>
                  <a:moveTo>
                    <a:pt x="7113" y="1"/>
                  </a:moveTo>
                  <a:cubicBezTo>
                    <a:pt x="7085" y="1"/>
                    <a:pt x="7065" y="20"/>
                    <a:pt x="7051" y="43"/>
                  </a:cubicBezTo>
                  <a:cubicBezTo>
                    <a:pt x="7040" y="66"/>
                    <a:pt x="6505" y="1386"/>
                    <a:pt x="6505" y="1386"/>
                  </a:cubicBezTo>
                  <a:cubicBezTo>
                    <a:pt x="6501" y="1395"/>
                    <a:pt x="6500" y="1403"/>
                    <a:pt x="6500" y="1411"/>
                  </a:cubicBezTo>
                  <a:cubicBezTo>
                    <a:pt x="6500" y="1448"/>
                    <a:pt x="6528" y="1476"/>
                    <a:pt x="6565" y="1476"/>
                  </a:cubicBezTo>
                  <a:cubicBezTo>
                    <a:pt x="6593" y="1476"/>
                    <a:pt x="6617" y="1460"/>
                    <a:pt x="6626" y="1435"/>
                  </a:cubicBezTo>
                  <a:lnTo>
                    <a:pt x="6835" y="925"/>
                  </a:lnTo>
                  <a:lnTo>
                    <a:pt x="7393" y="925"/>
                  </a:lnTo>
                  <a:lnTo>
                    <a:pt x="7615" y="1468"/>
                  </a:lnTo>
                  <a:lnTo>
                    <a:pt x="7756" y="1468"/>
                  </a:lnTo>
                  <a:cubicBezTo>
                    <a:pt x="7756" y="1468"/>
                    <a:pt x="7188" y="65"/>
                    <a:pt x="7176" y="41"/>
                  </a:cubicBezTo>
                  <a:cubicBezTo>
                    <a:pt x="7163" y="20"/>
                    <a:pt x="7142" y="1"/>
                    <a:pt x="7113" y="1"/>
                  </a:cubicBezTo>
                  <a:moveTo>
                    <a:pt x="6895" y="780"/>
                  </a:moveTo>
                  <a:lnTo>
                    <a:pt x="7115" y="240"/>
                  </a:lnTo>
                  <a:lnTo>
                    <a:pt x="7335" y="780"/>
                  </a:lnTo>
                  <a:lnTo>
                    <a:pt x="6895" y="780"/>
                  </a:lnTo>
                  <a:close/>
                  <a:moveTo>
                    <a:pt x="4490" y="1"/>
                  </a:moveTo>
                  <a:cubicBezTo>
                    <a:pt x="4463" y="1"/>
                    <a:pt x="4441" y="20"/>
                    <a:pt x="4430" y="41"/>
                  </a:cubicBezTo>
                  <a:cubicBezTo>
                    <a:pt x="4418" y="65"/>
                    <a:pt x="3995" y="1108"/>
                    <a:pt x="3995" y="1108"/>
                  </a:cubicBezTo>
                  <a:cubicBezTo>
                    <a:pt x="3995" y="1108"/>
                    <a:pt x="3572" y="63"/>
                    <a:pt x="3560" y="41"/>
                  </a:cubicBezTo>
                  <a:cubicBezTo>
                    <a:pt x="3548" y="18"/>
                    <a:pt x="3526" y="1"/>
                    <a:pt x="3500" y="1"/>
                  </a:cubicBezTo>
                  <a:cubicBezTo>
                    <a:pt x="3468" y="1"/>
                    <a:pt x="3443" y="25"/>
                    <a:pt x="3435" y="55"/>
                  </a:cubicBezTo>
                  <a:cubicBezTo>
                    <a:pt x="3426" y="85"/>
                    <a:pt x="3188" y="1400"/>
                    <a:pt x="3188" y="1400"/>
                  </a:cubicBezTo>
                  <a:cubicBezTo>
                    <a:pt x="3188" y="1405"/>
                    <a:pt x="3186" y="1408"/>
                    <a:pt x="3186" y="1413"/>
                  </a:cubicBezTo>
                  <a:cubicBezTo>
                    <a:pt x="3186" y="1450"/>
                    <a:pt x="3216" y="1478"/>
                    <a:pt x="3251" y="1478"/>
                  </a:cubicBezTo>
                  <a:cubicBezTo>
                    <a:pt x="3283" y="1478"/>
                    <a:pt x="3310" y="1455"/>
                    <a:pt x="3316" y="1425"/>
                  </a:cubicBezTo>
                  <a:lnTo>
                    <a:pt x="3523" y="300"/>
                  </a:lnTo>
                  <a:cubicBezTo>
                    <a:pt x="3523" y="300"/>
                    <a:pt x="3921" y="1283"/>
                    <a:pt x="3933" y="1306"/>
                  </a:cubicBezTo>
                  <a:cubicBezTo>
                    <a:pt x="3945" y="1330"/>
                    <a:pt x="3966" y="1348"/>
                    <a:pt x="3995" y="1348"/>
                  </a:cubicBezTo>
                  <a:cubicBezTo>
                    <a:pt x="4022" y="1348"/>
                    <a:pt x="4045" y="1330"/>
                    <a:pt x="4056" y="1306"/>
                  </a:cubicBezTo>
                  <a:cubicBezTo>
                    <a:pt x="4068" y="1283"/>
                    <a:pt x="4466" y="300"/>
                    <a:pt x="4466" y="300"/>
                  </a:cubicBezTo>
                  <a:lnTo>
                    <a:pt x="4681" y="1470"/>
                  </a:lnTo>
                  <a:lnTo>
                    <a:pt x="4815" y="1470"/>
                  </a:lnTo>
                  <a:cubicBezTo>
                    <a:pt x="4815" y="1470"/>
                    <a:pt x="4563" y="85"/>
                    <a:pt x="4555" y="55"/>
                  </a:cubicBezTo>
                  <a:cubicBezTo>
                    <a:pt x="4545" y="25"/>
                    <a:pt x="4522" y="1"/>
                    <a:pt x="4490" y="1"/>
                  </a:cubicBezTo>
                  <a:moveTo>
                    <a:pt x="5740" y="146"/>
                  </a:moveTo>
                  <a:cubicBezTo>
                    <a:pt x="5898" y="146"/>
                    <a:pt x="6047" y="208"/>
                    <a:pt x="6158" y="320"/>
                  </a:cubicBezTo>
                  <a:cubicBezTo>
                    <a:pt x="6185" y="346"/>
                    <a:pt x="6235" y="346"/>
                    <a:pt x="6261" y="320"/>
                  </a:cubicBezTo>
                  <a:cubicBezTo>
                    <a:pt x="6275" y="306"/>
                    <a:pt x="6283" y="288"/>
                    <a:pt x="6283" y="268"/>
                  </a:cubicBezTo>
                  <a:cubicBezTo>
                    <a:pt x="6283" y="248"/>
                    <a:pt x="6275" y="230"/>
                    <a:pt x="6261" y="216"/>
                  </a:cubicBezTo>
                  <a:lnTo>
                    <a:pt x="6253" y="208"/>
                  </a:lnTo>
                  <a:cubicBezTo>
                    <a:pt x="6115" y="75"/>
                    <a:pt x="5933" y="1"/>
                    <a:pt x="5740" y="1"/>
                  </a:cubicBezTo>
                  <a:cubicBezTo>
                    <a:pt x="5333" y="1"/>
                    <a:pt x="5001" y="333"/>
                    <a:pt x="5001" y="740"/>
                  </a:cubicBezTo>
                  <a:cubicBezTo>
                    <a:pt x="5001" y="1146"/>
                    <a:pt x="5333" y="1478"/>
                    <a:pt x="5740" y="1478"/>
                  </a:cubicBezTo>
                  <a:cubicBezTo>
                    <a:pt x="5955" y="1478"/>
                    <a:pt x="6148" y="1386"/>
                    <a:pt x="6283" y="1238"/>
                  </a:cubicBezTo>
                  <a:lnTo>
                    <a:pt x="6180" y="1135"/>
                  </a:lnTo>
                  <a:cubicBezTo>
                    <a:pt x="6072" y="1255"/>
                    <a:pt x="5915" y="1331"/>
                    <a:pt x="5740" y="1331"/>
                  </a:cubicBezTo>
                  <a:cubicBezTo>
                    <a:pt x="5413" y="1331"/>
                    <a:pt x="5147" y="1065"/>
                    <a:pt x="5147" y="738"/>
                  </a:cubicBezTo>
                  <a:cubicBezTo>
                    <a:pt x="5147" y="413"/>
                    <a:pt x="5413" y="146"/>
                    <a:pt x="5740" y="146"/>
                  </a:cubicBezTo>
                  <a:moveTo>
                    <a:pt x="736" y="146"/>
                  </a:moveTo>
                  <a:cubicBezTo>
                    <a:pt x="895" y="146"/>
                    <a:pt x="1043" y="208"/>
                    <a:pt x="1156" y="320"/>
                  </a:cubicBezTo>
                  <a:cubicBezTo>
                    <a:pt x="1183" y="346"/>
                    <a:pt x="1233" y="346"/>
                    <a:pt x="1260" y="320"/>
                  </a:cubicBezTo>
                  <a:cubicBezTo>
                    <a:pt x="1273" y="306"/>
                    <a:pt x="1281" y="288"/>
                    <a:pt x="1281" y="268"/>
                  </a:cubicBezTo>
                  <a:cubicBezTo>
                    <a:pt x="1281" y="248"/>
                    <a:pt x="1275" y="230"/>
                    <a:pt x="1260" y="216"/>
                  </a:cubicBezTo>
                  <a:lnTo>
                    <a:pt x="1251" y="208"/>
                  </a:lnTo>
                  <a:cubicBezTo>
                    <a:pt x="1113" y="75"/>
                    <a:pt x="931" y="1"/>
                    <a:pt x="738" y="1"/>
                  </a:cubicBezTo>
                  <a:cubicBezTo>
                    <a:pt x="331" y="1"/>
                    <a:pt x="0" y="333"/>
                    <a:pt x="0" y="740"/>
                  </a:cubicBezTo>
                  <a:cubicBezTo>
                    <a:pt x="0" y="1146"/>
                    <a:pt x="331" y="1478"/>
                    <a:pt x="738" y="1478"/>
                  </a:cubicBezTo>
                  <a:cubicBezTo>
                    <a:pt x="953" y="1478"/>
                    <a:pt x="1147" y="1386"/>
                    <a:pt x="1281" y="1238"/>
                  </a:cubicBezTo>
                  <a:lnTo>
                    <a:pt x="1178" y="1135"/>
                  </a:lnTo>
                  <a:cubicBezTo>
                    <a:pt x="1070" y="1255"/>
                    <a:pt x="911" y="1331"/>
                    <a:pt x="738" y="1331"/>
                  </a:cubicBezTo>
                  <a:cubicBezTo>
                    <a:pt x="411" y="1331"/>
                    <a:pt x="145" y="1065"/>
                    <a:pt x="145" y="738"/>
                  </a:cubicBezTo>
                  <a:cubicBezTo>
                    <a:pt x="143" y="413"/>
                    <a:pt x="410" y="146"/>
                    <a:pt x="736" y="146"/>
                  </a:cubicBezTo>
                  <a:moveTo>
                    <a:pt x="8613" y="748"/>
                  </a:moveTo>
                  <a:cubicBezTo>
                    <a:pt x="8573" y="728"/>
                    <a:pt x="8333" y="603"/>
                    <a:pt x="8298" y="585"/>
                  </a:cubicBezTo>
                  <a:cubicBezTo>
                    <a:pt x="8172" y="520"/>
                    <a:pt x="8126" y="463"/>
                    <a:pt x="8126" y="366"/>
                  </a:cubicBezTo>
                  <a:cubicBezTo>
                    <a:pt x="8126" y="231"/>
                    <a:pt x="8236" y="145"/>
                    <a:pt x="8408" y="145"/>
                  </a:cubicBezTo>
                  <a:cubicBezTo>
                    <a:pt x="8508" y="145"/>
                    <a:pt x="8606" y="188"/>
                    <a:pt x="8663" y="221"/>
                  </a:cubicBezTo>
                  <a:cubicBezTo>
                    <a:pt x="8673" y="226"/>
                    <a:pt x="8686" y="230"/>
                    <a:pt x="8698" y="230"/>
                  </a:cubicBezTo>
                  <a:cubicBezTo>
                    <a:pt x="8738" y="230"/>
                    <a:pt x="8772" y="198"/>
                    <a:pt x="8772" y="158"/>
                  </a:cubicBezTo>
                  <a:cubicBezTo>
                    <a:pt x="8772" y="131"/>
                    <a:pt x="8756" y="108"/>
                    <a:pt x="8735" y="95"/>
                  </a:cubicBezTo>
                  <a:cubicBezTo>
                    <a:pt x="8663" y="55"/>
                    <a:pt x="8542" y="0"/>
                    <a:pt x="8410" y="0"/>
                  </a:cubicBezTo>
                  <a:cubicBezTo>
                    <a:pt x="8158" y="0"/>
                    <a:pt x="7983" y="150"/>
                    <a:pt x="7983" y="366"/>
                  </a:cubicBezTo>
                  <a:cubicBezTo>
                    <a:pt x="7983" y="560"/>
                    <a:pt x="8110" y="651"/>
                    <a:pt x="8235" y="715"/>
                  </a:cubicBezTo>
                  <a:cubicBezTo>
                    <a:pt x="8270" y="733"/>
                    <a:pt x="8513" y="858"/>
                    <a:pt x="8550" y="878"/>
                  </a:cubicBezTo>
                  <a:cubicBezTo>
                    <a:pt x="8647" y="928"/>
                    <a:pt x="8700" y="1005"/>
                    <a:pt x="8700" y="1091"/>
                  </a:cubicBezTo>
                  <a:cubicBezTo>
                    <a:pt x="8700" y="1208"/>
                    <a:pt x="8601" y="1331"/>
                    <a:pt x="8418" y="1331"/>
                  </a:cubicBezTo>
                  <a:cubicBezTo>
                    <a:pt x="8240" y="1331"/>
                    <a:pt x="8101" y="1211"/>
                    <a:pt x="8065" y="1175"/>
                  </a:cubicBezTo>
                  <a:lnTo>
                    <a:pt x="8053" y="1163"/>
                  </a:lnTo>
                  <a:lnTo>
                    <a:pt x="7945" y="1261"/>
                  </a:lnTo>
                  <a:lnTo>
                    <a:pt x="7958" y="1273"/>
                  </a:lnTo>
                  <a:cubicBezTo>
                    <a:pt x="8006" y="1320"/>
                    <a:pt x="8180" y="1475"/>
                    <a:pt x="8418" y="1475"/>
                  </a:cubicBezTo>
                  <a:cubicBezTo>
                    <a:pt x="8685" y="1475"/>
                    <a:pt x="8845" y="1278"/>
                    <a:pt x="8845" y="1088"/>
                  </a:cubicBezTo>
                  <a:cubicBezTo>
                    <a:pt x="8843" y="950"/>
                    <a:pt x="8760" y="825"/>
                    <a:pt x="8613" y="748"/>
                  </a:cubicBezTo>
                  <a:moveTo>
                    <a:pt x="2250" y="1"/>
                  </a:moveTo>
                  <a:cubicBezTo>
                    <a:pt x="1843" y="1"/>
                    <a:pt x="1511" y="333"/>
                    <a:pt x="1511" y="740"/>
                  </a:cubicBezTo>
                  <a:cubicBezTo>
                    <a:pt x="1511" y="1146"/>
                    <a:pt x="1843" y="1478"/>
                    <a:pt x="2250" y="1478"/>
                  </a:cubicBezTo>
                  <a:cubicBezTo>
                    <a:pt x="2656" y="1478"/>
                    <a:pt x="2988" y="1146"/>
                    <a:pt x="2988" y="740"/>
                  </a:cubicBezTo>
                  <a:cubicBezTo>
                    <a:pt x="2988" y="333"/>
                    <a:pt x="2656" y="1"/>
                    <a:pt x="2250" y="1"/>
                  </a:cubicBezTo>
                  <a:moveTo>
                    <a:pt x="2250" y="1331"/>
                  </a:moveTo>
                  <a:cubicBezTo>
                    <a:pt x="1923" y="1331"/>
                    <a:pt x="1656" y="1065"/>
                    <a:pt x="1656" y="738"/>
                  </a:cubicBezTo>
                  <a:cubicBezTo>
                    <a:pt x="1656" y="411"/>
                    <a:pt x="1923" y="145"/>
                    <a:pt x="2250" y="145"/>
                  </a:cubicBezTo>
                  <a:cubicBezTo>
                    <a:pt x="2576" y="145"/>
                    <a:pt x="2843" y="411"/>
                    <a:pt x="2843" y="738"/>
                  </a:cubicBezTo>
                  <a:cubicBezTo>
                    <a:pt x="2841" y="1066"/>
                    <a:pt x="2576" y="1331"/>
                    <a:pt x="2250" y="1331"/>
                  </a:cubicBezTo>
                  <a:close/>
                  <a:moveTo>
                    <a:pt x="9887" y="4438"/>
                  </a:moveTo>
                  <a:lnTo>
                    <a:pt x="9886" y="4303"/>
                  </a:lnTo>
                  <a:lnTo>
                    <a:pt x="9814" y="4415"/>
                  </a:lnTo>
                  <a:lnTo>
                    <a:pt x="9799" y="4415"/>
                  </a:lnTo>
                  <a:lnTo>
                    <a:pt x="9726" y="4306"/>
                  </a:lnTo>
                  <a:lnTo>
                    <a:pt x="9726" y="4438"/>
                  </a:lnTo>
                  <a:lnTo>
                    <a:pt x="9694" y="4438"/>
                  </a:lnTo>
                  <a:lnTo>
                    <a:pt x="9694" y="4246"/>
                  </a:lnTo>
                  <a:lnTo>
                    <a:pt x="9721" y="4246"/>
                  </a:lnTo>
                  <a:lnTo>
                    <a:pt x="9807" y="4377"/>
                  </a:lnTo>
                  <a:lnTo>
                    <a:pt x="9891" y="4246"/>
                  </a:lnTo>
                  <a:lnTo>
                    <a:pt x="9918" y="4246"/>
                  </a:lnTo>
                  <a:lnTo>
                    <a:pt x="9918" y="4438"/>
                  </a:lnTo>
                  <a:lnTo>
                    <a:pt x="9887" y="4438"/>
                  </a:lnTo>
                  <a:close/>
                  <a:moveTo>
                    <a:pt x="9492" y="4246"/>
                  </a:moveTo>
                  <a:lnTo>
                    <a:pt x="9666" y="4246"/>
                  </a:lnTo>
                  <a:lnTo>
                    <a:pt x="9666" y="4273"/>
                  </a:lnTo>
                  <a:lnTo>
                    <a:pt x="9596" y="4273"/>
                  </a:lnTo>
                  <a:lnTo>
                    <a:pt x="9596" y="4438"/>
                  </a:lnTo>
                  <a:lnTo>
                    <a:pt x="9562" y="4438"/>
                  </a:lnTo>
                  <a:lnTo>
                    <a:pt x="9562" y="4273"/>
                  </a:lnTo>
                  <a:lnTo>
                    <a:pt x="9492" y="4273"/>
                  </a:lnTo>
                  <a:lnTo>
                    <a:pt x="9492" y="4246"/>
                  </a:lnTo>
                  <a:close/>
                  <a:moveTo>
                    <a:pt x="9167" y="4896"/>
                  </a:moveTo>
                  <a:cubicBezTo>
                    <a:pt x="9133" y="4885"/>
                    <a:pt x="9105" y="4871"/>
                    <a:pt x="9086" y="4854"/>
                  </a:cubicBezTo>
                  <a:lnTo>
                    <a:pt x="9114" y="4804"/>
                  </a:lnTo>
                  <a:cubicBezTo>
                    <a:pt x="9134" y="4820"/>
                    <a:pt x="9159" y="4833"/>
                    <a:pt x="9188" y="4842"/>
                  </a:cubicBezTo>
                  <a:cubicBezTo>
                    <a:pt x="9218" y="4852"/>
                    <a:pt x="9249" y="4857"/>
                    <a:pt x="9281" y="4857"/>
                  </a:cubicBezTo>
                  <a:cubicBezTo>
                    <a:pt x="9324" y="4857"/>
                    <a:pt x="9356" y="4850"/>
                    <a:pt x="9377" y="4837"/>
                  </a:cubicBezTo>
                  <a:cubicBezTo>
                    <a:pt x="9397" y="4824"/>
                    <a:pt x="9408" y="4805"/>
                    <a:pt x="9408" y="4780"/>
                  </a:cubicBezTo>
                  <a:cubicBezTo>
                    <a:pt x="9408" y="4763"/>
                    <a:pt x="9402" y="4750"/>
                    <a:pt x="9390" y="4740"/>
                  </a:cubicBezTo>
                  <a:cubicBezTo>
                    <a:pt x="9379" y="4730"/>
                    <a:pt x="9365" y="4723"/>
                    <a:pt x="9348" y="4717"/>
                  </a:cubicBezTo>
                  <a:cubicBezTo>
                    <a:pt x="9330" y="4712"/>
                    <a:pt x="9307" y="4708"/>
                    <a:pt x="9279" y="4703"/>
                  </a:cubicBezTo>
                  <a:cubicBezTo>
                    <a:pt x="9241" y="4696"/>
                    <a:pt x="9210" y="4688"/>
                    <a:pt x="9187" y="4681"/>
                  </a:cubicBezTo>
                  <a:cubicBezTo>
                    <a:pt x="9163" y="4674"/>
                    <a:pt x="9144" y="4661"/>
                    <a:pt x="9127" y="4643"/>
                  </a:cubicBezTo>
                  <a:cubicBezTo>
                    <a:pt x="9111" y="4625"/>
                    <a:pt x="9103" y="4601"/>
                    <a:pt x="9103" y="4569"/>
                  </a:cubicBezTo>
                  <a:cubicBezTo>
                    <a:pt x="9103" y="4530"/>
                    <a:pt x="9119" y="4498"/>
                    <a:pt x="9152" y="4473"/>
                  </a:cubicBezTo>
                  <a:cubicBezTo>
                    <a:pt x="9185" y="4448"/>
                    <a:pt x="9230" y="4435"/>
                    <a:pt x="9289" y="4435"/>
                  </a:cubicBezTo>
                  <a:cubicBezTo>
                    <a:pt x="9319" y="4435"/>
                    <a:pt x="9349" y="4439"/>
                    <a:pt x="9380" y="4447"/>
                  </a:cubicBezTo>
                  <a:cubicBezTo>
                    <a:pt x="9410" y="4455"/>
                    <a:pt x="9435" y="4466"/>
                    <a:pt x="9455" y="4479"/>
                  </a:cubicBezTo>
                  <a:lnTo>
                    <a:pt x="9427" y="4530"/>
                  </a:lnTo>
                  <a:cubicBezTo>
                    <a:pt x="9388" y="4503"/>
                    <a:pt x="9342" y="4490"/>
                    <a:pt x="9289" y="4490"/>
                  </a:cubicBezTo>
                  <a:cubicBezTo>
                    <a:pt x="9248" y="4490"/>
                    <a:pt x="9218" y="4497"/>
                    <a:pt x="9197" y="4511"/>
                  </a:cubicBezTo>
                  <a:cubicBezTo>
                    <a:pt x="9176" y="4525"/>
                    <a:pt x="9166" y="4544"/>
                    <a:pt x="9166" y="4567"/>
                  </a:cubicBezTo>
                  <a:cubicBezTo>
                    <a:pt x="9166" y="4585"/>
                    <a:pt x="9172" y="4599"/>
                    <a:pt x="9184" y="4610"/>
                  </a:cubicBezTo>
                  <a:cubicBezTo>
                    <a:pt x="9195" y="4621"/>
                    <a:pt x="9210" y="4629"/>
                    <a:pt x="9227" y="4634"/>
                  </a:cubicBezTo>
                  <a:cubicBezTo>
                    <a:pt x="9244" y="4639"/>
                    <a:pt x="9268" y="4644"/>
                    <a:pt x="9298" y="4649"/>
                  </a:cubicBezTo>
                  <a:cubicBezTo>
                    <a:pt x="9336" y="4656"/>
                    <a:pt x="9366" y="4664"/>
                    <a:pt x="9389" y="4671"/>
                  </a:cubicBezTo>
                  <a:cubicBezTo>
                    <a:pt x="9411" y="4678"/>
                    <a:pt x="9431" y="4690"/>
                    <a:pt x="9447" y="4707"/>
                  </a:cubicBezTo>
                  <a:cubicBezTo>
                    <a:pt x="9463" y="4724"/>
                    <a:pt x="9471" y="4748"/>
                    <a:pt x="9471" y="4779"/>
                  </a:cubicBezTo>
                  <a:cubicBezTo>
                    <a:pt x="9471" y="4820"/>
                    <a:pt x="9454" y="4852"/>
                    <a:pt x="9420" y="4876"/>
                  </a:cubicBezTo>
                  <a:cubicBezTo>
                    <a:pt x="9385" y="4900"/>
                    <a:pt x="9338" y="4912"/>
                    <a:pt x="9277" y="4912"/>
                  </a:cubicBezTo>
                  <a:cubicBezTo>
                    <a:pt x="9239" y="4912"/>
                    <a:pt x="9202" y="4907"/>
                    <a:pt x="9167" y="4896"/>
                  </a:cubicBezTo>
                  <a:moveTo>
                    <a:pt x="8688" y="4533"/>
                  </a:moveTo>
                  <a:cubicBezTo>
                    <a:pt x="8658" y="4562"/>
                    <a:pt x="8640" y="4599"/>
                    <a:pt x="8636" y="4646"/>
                  </a:cubicBezTo>
                  <a:lnTo>
                    <a:pt x="8969" y="4646"/>
                  </a:lnTo>
                  <a:cubicBezTo>
                    <a:pt x="8965" y="4599"/>
                    <a:pt x="8948" y="4562"/>
                    <a:pt x="8917" y="4533"/>
                  </a:cubicBezTo>
                  <a:cubicBezTo>
                    <a:pt x="8886" y="4504"/>
                    <a:pt x="8848" y="4490"/>
                    <a:pt x="8802" y="4490"/>
                  </a:cubicBezTo>
                  <a:cubicBezTo>
                    <a:pt x="8757" y="4490"/>
                    <a:pt x="8719" y="4504"/>
                    <a:pt x="8688" y="4533"/>
                  </a:cubicBezTo>
                  <a:close/>
                  <a:moveTo>
                    <a:pt x="9029" y="4693"/>
                  </a:moveTo>
                  <a:lnTo>
                    <a:pt x="8636" y="4693"/>
                  </a:lnTo>
                  <a:cubicBezTo>
                    <a:pt x="8640" y="4742"/>
                    <a:pt x="8658" y="4781"/>
                    <a:pt x="8692" y="4811"/>
                  </a:cubicBezTo>
                  <a:cubicBezTo>
                    <a:pt x="8726" y="4841"/>
                    <a:pt x="8769" y="4856"/>
                    <a:pt x="8821" y="4856"/>
                  </a:cubicBezTo>
                  <a:cubicBezTo>
                    <a:pt x="8850" y="4856"/>
                    <a:pt x="8877" y="4851"/>
                    <a:pt x="8901" y="4841"/>
                  </a:cubicBezTo>
                  <a:cubicBezTo>
                    <a:pt x="8926" y="4830"/>
                    <a:pt x="8947" y="4815"/>
                    <a:pt x="8965" y="4795"/>
                  </a:cubicBezTo>
                  <a:lnTo>
                    <a:pt x="9001" y="4836"/>
                  </a:lnTo>
                  <a:cubicBezTo>
                    <a:pt x="8980" y="4861"/>
                    <a:pt x="8954" y="4880"/>
                    <a:pt x="8922" y="4893"/>
                  </a:cubicBezTo>
                  <a:cubicBezTo>
                    <a:pt x="8891" y="4906"/>
                    <a:pt x="8857" y="4912"/>
                    <a:pt x="8819" y="4912"/>
                  </a:cubicBezTo>
                  <a:cubicBezTo>
                    <a:pt x="8771" y="4912"/>
                    <a:pt x="8728" y="4902"/>
                    <a:pt x="8691" y="4882"/>
                  </a:cubicBezTo>
                  <a:cubicBezTo>
                    <a:pt x="8654" y="4861"/>
                    <a:pt x="8625" y="4833"/>
                    <a:pt x="8604" y="4796"/>
                  </a:cubicBezTo>
                  <a:cubicBezTo>
                    <a:pt x="8583" y="4760"/>
                    <a:pt x="8572" y="4719"/>
                    <a:pt x="8572" y="4673"/>
                  </a:cubicBezTo>
                  <a:cubicBezTo>
                    <a:pt x="8572" y="4628"/>
                    <a:pt x="8582" y="4587"/>
                    <a:pt x="8602" y="4550"/>
                  </a:cubicBezTo>
                  <a:cubicBezTo>
                    <a:pt x="8622" y="4514"/>
                    <a:pt x="8650" y="4486"/>
                    <a:pt x="8685" y="4466"/>
                  </a:cubicBezTo>
                  <a:cubicBezTo>
                    <a:pt x="8720" y="4445"/>
                    <a:pt x="8759" y="4435"/>
                    <a:pt x="8802" y="4435"/>
                  </a:cubicBezTo>
                  <a:cubicBezTo>
                    <a:pt x="8846" y="4435"/>
                    <a:pt x="8885" y="4445"/>
                    <a:pt x="8919" y="4466"/>
                  </a:cubicBezTo>
                  <a:cubicBezTo>
                    <a:pt x="8954" y="4486"/>
                    <a:pt x="8981" y="4514"/>
                    <a:pt x="9001" y="4550"/>
                  </a:cubicBezTo>
                  <a:cubicBezTo>
                    <a:pt x="9020" y="4586"/>
                    <a:pt x="9030" y="4627"/>
                    <a:pt x="9030" y="4673"/>
                  </a:cubicBezTo>
                  <a:lnTo>
                    <a:pt x="9029" y="4693"/>
                  </a:lnTo>
                  <a:close/>
                  <a:moveTo>
                    <a:pt x="8388" y="4439"/>
                  </a:moveTo>
                  <a:lnTo>
                    <a:pt x="8452" y="4439"/>
                  </a:lnTo>
                  <a:lnTo>
                    <a:pt x="8452" y="4908"/>
                  </a:lnTo>
                  <a:lnTo>
                    <a:pt x="8388" y="4908"/>
                  </a:lnTo>
                  <a:lnTo>
                    <a:pt x="8388" y="4439"/>
                  </a:lnTo>
                  <a:close/>
                  <a:moveTo>
                    <a:pt x="8387" y="4323"/>
                  </a:moveTo>
                  <a:cubicBezTo>
                    <a:pt x="8378" y="4314"/>
                    <a:pt x="8374" y="4303"/>
                    <a:pt x="8374" y="4291"/>
                  </a:cubicBezTo>
                  <a:cubicBezTo>
                    <a:pt x="8374" y="4279"/>
                    <a:pt x="8378" y="4268"/>
                    <a:pt x="8387" y="4260"/>
                  </a:cubicBezTo>
                  <a:cubicBezTo>
                    <a:pt x="8396" y="4251"/>
                    <a:pt x="8407" y="4246"/>
                    <a:pt x="8420" y="4246"/>
                  </a:cubicBezTo>
                  <a:cubicBezTo>
                    <a:pt x="8434" y="4246"/>
                    <a:pt x="8445" y="4250"/>
                    <a:pt x="8454" y="4259"/>
                  </a:cubicBezTo>
                  <a:cubicBezTo>
                    <a:pt x="8462" y="4268"/>
                    <a:pt x="8467" y="4278"/>
                    <a:pt x="8467" y="4290"/>
                  </a:cubicBezTo>
                  <a:cubicBezTo>
                    <a:pt x="8467" y="4303"/>
                    <a:pt x="8462" y="4314"/>
                    <a:pt x="8454" y="4323"/>
                  </a:cubicBezTo>
                  <a:cubicBezTo>
                    <a:pt x="8445" y="4332"/>
                    <a:pt x="8434" y="4336"/>
                    <a:pt x="8420" y="4336"/>
                  </a:cubicBezTo>
                  <a:cubicBezTo>
                    <a:pt x="8407" y="4336"/>
                    <a:pt x="8396" y="4332"/>
                    <a:pt x="8387" y="4323"/>
                  </a:cubicBezTo>
                  <a:close/>
                  <a:moveTo>
                    <a:pt x="8282" y="4879"/>
                  </a:moveTo>
                  <a:cubicBezTo>
                    <a:pt x="8270" y="4890"/>
                    <a:pt x="8255" y="4898"/>
                    <a:pt x="8238" y="4904"/>
                  </a:cubicBezTo>
                  <a:cubicBezTo>
                    <a:pt x="8220" y="4910"/>
                    <a:pt x="8202" y="4912"/>
                    <a:pt x="8183" y="4912"/>
                  </a:cubicBezTo>
                  <a:cubicBezTo>
                    <a:pt x="8139" y="4912"/>
                    <a:pt x="8105" y="4900"/>
                    <a:pt x="8081" y="4877"/>
                  </a:cubicBezTo>
                  <a:cubicBezTo>
                    <a:pt x="8057" y="4853"/>
                    <a:pt x="8045" y="4819"/>
                    <a:pt x="8045" y="4776"/>
                  </a:cubicBezTo>
                  <a:lnTo>
                    <a:pt x="8045" y="4492"/>
                  </a:lnTo>
                  <a:lnTo>
                    <a:pt x="7961" y="4492"/>
                  </a:lnTo>
                  <a:lnTo>
                    <a:pt x="7961" y="4439"/>
                  </a:lnTo>
                  <a:lnTo>
                    <a:pt x="8045" y="4439"/>
                  </a:lnTo>
                  <a:lnTo>
                    <a:pt x="8045" y="4336"/>
                  </a:lnTo>
                  <a:lnTo>
                    <a:pt x="8108" y="4336"/>
                  </a:lnTo>
                  <a:lnTo>
                    <a:pt x="8108" y="4439"/>
                  </a:lnTo>
                  <a:lnTo>
                    <a:pt x="8251" y="4439"/>
                  </a:lnTo>
                  <a:lnTo>
                    <a:pt x="8251" y="4492"/>
                  </a:lnTo>
                  <a:lnTo>
                    <a:pt x="8108" y="4492"/>
                  </a:lnTo>
                  <a:lnTo>
                    <a:pt x="8108" y="4772"/>
                  </a:lnTo>
                  <a:cubicBezTo>
                    <a:pt x="8108" y="4800"/>
                    <a:pt x="8115" y="4822"/>
                    <a:pt x="8129" y="4836"/>
                  </a:cubicBezTo>
                  <a:cubicBezTo>
                    <a:pt x="8143" y="4851"/>
                    <a:pt x="8164" y="4858"/>
                    <a:pt x="8190" y="4858"/>
                  </a:cubicBezTo>
                  <a:cubicBezTo>
                    <a:pt x="8203" y="4858"/>
                    <a:pt x="8216" y="4856"/>
                    <a:pt x="8228" y="4852"/>
                  </a:cubicBezTo>
                  <a:cubicBezTo>
                    <a:pt x="8240" y="4848"/>
                    <a:pt x="8251" y="4842"/>
                    <a:pt x="8260" y="4834"/>
                  </a:cubicBezTo>
                  <a:lnTo>
                    <a:pt x="8282" y="4879"/>
                  </a:lnTo>
                  <a:close/>
                  <a:moveTo>
                    <a:pt x="7803" y="4439"/>
                  </a:moveTo>
                  <a:lnTo>
                    <a:pt x="7866" y="4439"/>
                  </a:lnTo>
                  <a:lnTo>
                    <a:pt x="7866" y="4908"/>
                  </a:lnTo>
                  <a:lnTo>
                    <a:pt x="7803" y="4908"/>
                  </a:lnTo>
                  <a:lnTo>
                    <a:pt x="7803" y="4439"/>
                  </a:lnTo>
                  <a:close/>
                  <a:moveTo>
                    <a:pt x="7802" y="4323"/>
                  </a:moveTo>
                  <a:cubicBezTo>
                    <a:pt x="7793" y="4314"/>
                    <a:pt x="7788" y="4303"/>
                    <a:pt x="7788" y="4291"/>
                  </a:cubicBezTo>
                  <a:cubicBezTo>
                    <a:pt x="7788" y="4279"/>
                    <a:pt x="7793" y="4268"/>
                    <a:pt x="7802" y="4260"/>
                  </a:cubicBezTo>
                  <a:cubicBezTo>
                    <a:pt x="7811" y="4251"/>
                    <a:pt x="7822" y="4246"/>
                    <a:pt x="7835" y="4246"/>
                  </a:cubicBezTo>
                  <a:cubicBezTo>
                    <a:pt x="7848" y="4246"/>
                    <a:pt x="7859" y="4250"/>
                    <a:pt x="7868" y="4259"/>
                  </a:cubicBezTo>
                  <a:cubicBezTo>
                    <a:pt x="7877" y="4268"/>
                    <a:pt x="7881" y="4278"/>
                    <a:pt x="7881" y="4290"/>
                  </a:cubicBezTo>
                  <a:cubicBezTo>
                    <a:pt x="7881" y="4303"/>
                    <a:pt x="7877" y="4314"/>
                    <a:pt x="7868" y="4323"/>
                  </a:cubicBezTo>
                  <a:cubicBezTo>
                    <a:pt x="7859" y="4332"/>
                    <a:pt x="7848" y="4336"/>
                    <a:pt x="7835" y="4336"/>
                  </a:cubicBezTo>
                  <a:cubicBezTo>
                    <a:pt x="7822" y="4336"/>
                    <a:pt x="7811" y="4332"/>
                    <a:pt x="7802" y="4323"/>
                  </a:cubicBezTo>
                  <a:close/>
                  <a:moveTo>
                    <a:pt x="7571" y="4246"/>
                  </a:moveTo>
                  <a:lnTo>
                    <a:pt x="7635" y="4246"/>
                  </a:lnTo>
                  <a:lnTo>
                    <a:pt x="7635" y="4908"/>
                  </a:lnTo>
                  <a:lnTo>
                    <a:pt x="7571" y="4908"/>
                  </a:lnTo>
                  <a:lnTo>
                    <a:pt x="7571" y="4246"/>
                  </a:lnTo>
                  <a:close/>
                  <a:moveTo>
                    <a:pt x="7340" y="4439"/>
                  </a:moveTo>
                  <a:lnTo>
                    <a:pt x="7403" y="4439"/>
                  </a:lnTo>
                  <a:lnTo>
                    <a:pt x="7403" y="4908"/>
                  </a:lnTo>
                  <a:lnTo>
                    <a:pt x="7340" y="4908"/>
                  </a:lnTo>
                  <a:lnTo>
                    <a:pt x="7340" y="4439"/>
                  </a:lnTo>
                  <a:close/>
                  <a:moveTo>
                    <a:pt x="7339" y="4323"/>
                  </a:moveTo>
                  <a:cubicBezTo>
                    <a:pt x="7330" y="4314"/>
                    <a:pt x="7325" y="4303"/>
                    <a:pt x="7325" y="4291"/>
                  </a:cubicBezTo>
                  <a:cubicBezTo>
                    <a:pt x="7325" y="4279"/>
                    <a:pt x="7330" y="4268"/>
                    <a:pt x="7339" y="4260"/>
                  </a:cubicBezTo>
                  <a:cubicBezTo>
                    <a:pt x="7348" y="4251"/>
                    <a:pt x="7359" y="4246"/>
                    <a:pt x="7372" y="4246"/>
                  </a:cubicBezTo>
                  <a:cubicBezTo>
                    <a:pt x="7385" y="4246"/>
                    <a:pt x="7396" y="4250"/>
                    <a:pt x="7405" y="4259"/>
                  </a:cubicBezTo>
                  <a:cubicBezTo>
                    <a:pt x="7414" y="4268"/>
                    <a:pt x="7418" y="4278"/>
                    <a:pt x="7418" y="4290"/>
                  </a:cubicBezTo>
                  <a:cubicBezTo>
                    <a:pt x="7418" y="4303"/>
                    <a:pt x="7414" y="4314"/>
                    <a:pt x="7405" y="4323"/>
                  </a:cubicBezTo>
                  <a:cubicBezTo>
                    <a:pt x="7396" y="4332"/>
                    <a:pt x="7385" y="4336"/>
                    <a:pt x="7372" y="4336"/>
                  </a:cubicBezTo>
                  <a:cubicBezTo>
                    <a:pt x="7359" y="4336"/>
                    <a:pt x="7348" y="4332"/>
                    <a:pt x="7339" y="4323"/>
                  </a:cubicBezTo>
                  <a:close/>
                  <a:moveTo>
                    <a:pt x="7070" y="4833"/>
                  </a:moveTo>
                  <a:cubicBezTo>
                    <a:pt x="7096" y="4818"/>
                    <a:pt x="7117" y="4797"/>
                    <a:pt x="7133" y="4769"/>
                  </a:cubicBezTo>
                  <a:cubicBezTo>
                    <a:pt x="7148" y="4741"/>
                    <a:pt x="7155" y="4709"/>
                    <a:pt x="7155" y="4673"/>
                  </a:cubicBezTo>
                  <a:cubicBezTo>
                    <a:pt x="7155" y="4638"/>
                    <a:pt x="7148" y="4606"/>
                    <a:pt x="7133" y="4578"/>
                  </a:cubicBezTo>
                  <a:cubicBezTo>
                    <a:pt x="7117" y="4550"/>
                    <a:pt x="7096" y="4528"/>
                    <a:pt x="7070" y="4513"/>
                  </a:cubicBezTo>
                  <a:cubicBezTo>
                    <a:pt x="7043" y="4498"/>
                    <a:pt x="7013" y="4491"/>
                    <a:pt x="6980" y="4491"/>
                  </a:cubicBezTo>
                  <a:cubicBezTo>
                    <a:pt x="6947" y="4491"/>
                    <a:pt x="6917" y="4498"/>
                    <a:pt x="6890" y="4513"/>
                  </a:cubicBezTo>
                  <a:cubicBezTo>
                    <a:pt x="6864" y="4528"/>
                    <a:pt x="6843" y="4550"/>
                    <a:pt x="6828" y="4578"/>
                  </a:cubicBezTo>
                  <a:cubicBezTo>
                    <a:pt x="6813" y="4606"/>
                    <a:pt x="6805" y="4638"/>
                    <a:pt x="6805" y="4673"/>
                  </a:cubicBezTo>
                  <a:cubicBezTo>
                    <a:pt x="6805" y="4709"/>
                    <a:pt x="6813" y="4741"/>
                    <a:pt x="6828" y="4769"/>
                  </a:cubicBezTo>
                  <a:cubicBezTo>
                    <a:pt x="6843" y="4797"/>
                    <a:pt x="6864" y="4818"/>
                    <a:pt x="6890" y="4833"/>
                  </a:cubicBezTo>
                  <a:cubicBezTo>
                    <a:pt x="6917" y="4849"/>
                    <a:pt x="6947" y="4856"/>
                    <a:pt x="6980" y="4856"/>
                  </a:cubicBezTo>
                  <a:cubicBezTo>
                    <a:pt x="7013" y="4856"/>
                    <a:pt x="7043" y="4849"/>
                    <a:pt x="7070" y="4833"/>
                  </a:cubicBezTo>
                  <a:close/>
                  <a:moveTo>
                    <a:pt x="7104" y="4465"/>
                  </a:moveTo>
                  <a:cubicBezTo>
                    <a:pt x="7140" y="4485"/>
                    <a:pt x="7168" y="4513"/>
                    <a:pt x="7188" y="4549"/>
                  </a:cubicBezTo>
                  <a:cubicBezTo>
                    <a:pt x="7209" y="4586"/>
                    <a:pt x="7219" y="4627"/>
                    <a:pt x="7219" y="4673"/>
                  </a:cubicBezTo>
                  <a:cubicBezTo>
                    <a:pt x="7219" y="4720"/>
                    <a:pt x="7209" y="4761"/>
                    <a:pt x="7188" y="4797"/>
                  </a:cubicBezTo>
                  <a:cubicBezTo>
                    <a:pt x="7168" y="4834"/>
                    <a:pt x="7140" y="4862"/>
                    <a:pt x="7104" y="4882"/>
                  </a:cubicBezTo>
                  <a:cubicBezTo>
                    <a:pt x="7069" y="4902"/>
                    <a:pt x="7029" y="4912"/>
                    <a:pt x="6985" y="4912"/>
                  </a:cubicBezTo>
                  <a:cubicBezTo>
                    <a:pt x="6945" y="4912"/>
                    <a:pt x="6910" y="4904"/>
                    <a:pt x="6879" y="4887"/>
                  </a:cubicBezTo>
                  <a:cubicBezTo>
                    <a:pt x="6847" y="4871"/>
                    <a:pt x="6822" y="4847"/>
                    <a:pt x="6803" y="4815"/>
                  </a:cubicBezTo>
                  <a:lnTo>
                    <a:pt x="6803" y="4908"/>
                  </a:lnTo>
                  <a:lnTo>
                    <a:pt x="6742" y="4908"/>
                  </a:lnTo>
                  <a:lnTo>
                    <a:pt x="6742" y="4246"/>
                  </a:lnTo>
                  <a:lnTo>
                    <a:pt x="6806" y="4246"/>
                  </a:lnTo>
                  <a:lnTo>
                    <a:pt x="6806" y="4528"/>
                  </a:lnTo>
                  <a:cubicBezTo>
                    <a:pt x="6825" y="4498"/>
                    <a:pt x="6851" y="4475"/>
                    <a:pt x="6881" y="4459"/>
                  </a:cubicBezTo>
                  <a:cubicBezTo>
                    <a:pt x="6912" y="4443"/>
                    <a:pt x="6946" y="4435"/>
                    <a:pt x="6985" y="4435"/>
                  </a:cubicBezTo>
                  <a:cubicBezTo>
                    <a:pt x="7029" y="4435"/>
                    <a:pt x="7069" y="4445"/>
                    <a:pt x="7104" y="4465"/>
                  </a:cubicBezTo>
                  <a:close/>
                  <a:moveTo>
                    <a:pt x="6511" y="4439"/>
                  </a:moveTo>
                  <a:lnTo>
                    <a:pt x="6574" y="4439"/>
                  </a:lnTo>
                  <a:lnTo>
                    <a:pt x="6574" y="4908"/>
                  </a:lnTo>
                  <a:lnTo>
                    <a:pt x="6511" y="4908"/>
                  </a:lnTo>
                  <a:lnTo>
                    <a:pt x="6511" y="4439"/>
                  </a:lnTo>
                  <a:close/>
                  <a:moveTo>
                    <a:pt x="6510" y="4323"/>
                  </a:moveTo>
                  <a:cubicBezTo>
                    <a:pt x="6501" y="4314"/>
                    <a:pt x="6496" y="4303"/>
                    <a:pt x="6496" y="4291"/>
                  </a:cubicBezTo>
                  <a:cubicBezTo>
                    <a:pt x="6496" y="4279"/>
                    <a:pt x="6501" y="4268"/>
                    <a:pt x="6510" y="4260"/>
                  </a:cubicBezTo>
                  <a:cubicBezTo>
                    <a:pt x="6519" y="4251"/>
                    <a:pt x="6530" y="4246"/>
                    <a:pt x="6543" y="4246"/>
                  </a:cubicBezTo>
                  <a:cubicBezTo>
                    <a:pt x="6556" y="4246"/>
                    <a:pt x="6567" y="4250"/>
                    <a:pt x="6576" y="4259"/>
                  </a:cubicBezTo>
                  <a:cubicBezTo>
                    <a:pt x="6585" y="4268"/>
                    <a:pt x="6589" y="4278"/>
                    <a:pt x="6589" y="4290"/>
                  </a:cubicBezTo>
                  <a:cubicBezTo>
                    <a:pt x="6589" y="4303"/>
                    <a:pt x="6585" y="4314"/>
                    <a:pt x="6576" y="4323"/>
                  </a:cubicBezTo>
                  <a:cubicBezTo>
                    <a:pt x="6567" y="4332"/>
                    <a:pt x="6556" y="4336"/>
                    <a:pt x="6543" y="4336"/>
                  </a:cubicBezTo>
                  <a:cubicBezTo>
                    <a:pt x="6530" y="4336"/>
                    <a:pt x="6519" y="4332"/>
                    <a:pt x="6510" y="4323"/>
                  </a:cubicBezTo>
                  <a:close/>
                  <a:moveTo>
                    <a:pt x="6099" y="4896"/>
                  </a:moveTo>
                  <a:cubicBezTo>
                    <a:pt x="6064" y="4885"/>
                    <a:pt x="6037" y="4871"/>
                    <a:pt x="6017" y="4854"/>
                  </a:cubicBezTo>
                  <a:lnTo>
                    <a:pt x="6046" y="4804"/>
                  </a:lnTo>
                  <a:cubicBezTo>
                    <a:pt x="6066" y="4820"/>
                    <a:pt x="6090" y="4833"/>
                    <a:pt x="6120" y="4842"/>
                  </a:cubicBezTo>
                  <a:cubicBezTo>
                    <a:pt x="6150" y="4852"/>
                    <a:pt x="6181" y="4857"/>
                    <a:pt x="6213" y="4857"/>
                  </a:cubicBezTo>
                  <a:cubicBezTo>
                    <a:pt x="6256" y="4857"/>
                    <a:pt x="6288" y="4850"/>
                    <a:pt x="6308" y="4837"/>
                  </a:cubicBezTo>
                  <a:cubicBezTo>
                    <a:pt x="6329" y="4824"/>
                    <a:pt x="6339" y="4805"/>
                    <a:pt x="6339" y="4780"/>
                  </a:cubicBezTo>
                  <a:cubicBezTo>
                    <a:pt x="6339" y="4763"/>
                    <a:pt x="6333" y="4750"/>
                    <a:pt x="6322" y="4740"/>
                  </a:cubicBezTo>
                  <a:cubicBezTo>
                    <a:pt x="6311" y="4730"/>
                    <a:pt x="6296" y="4723"/>
                    <a:pt x="6279" y="4717"/>
                  </a:cubicBezTo>
                  <a:cubicBezTo>
                    <a:pt x="6262" y="4712"/>
                    <a:pt x="6239" y="4708"/>
                    <a:pt x="6210" y="4703"/>
                  </a:cubicBezTo>
                  <a:cubicBezTo>
                    <a:pt x="6172" y="4696"/>
                    <a:pt x="6141" y="4688"/>
                    <a:pt x="6118" y="4681"/>
                  </a:cubicBezTo>
                  <a:cubicBezTo>
                    <a:pt x="6095" y="4674"/>
                    <a:pt x="6075" y="4661"/>
                    <a:pt x="6059" y="4643"/>
                  </a:cubicBezTo>
                  <a:cubicBezTo>
                    <a:pt x="6042" y="4625"/>
                    <a:pt x="6034" y="4601"/>
                    <a:pt x="6034" y="4569"/>
                  </a:cubicBezTo>
                  <a:cubicBezTo>
                    <a:pt x="6034" y="4530"/>
                    <a:pt x="6051" y="4498"/>
                    <a:pt x="6083" y="4473"/>
                  </a:cubicBezTo>
                  <a:cubicBezTo>
                    <a:pt x="6116" y="4448"/>
                    <a:pt x="6162" y="4435"/>
                    <a:pt x="6220" y="4435"/>
                  </a:cubicBezTo>
                  <a:cubicBezTo>
                    <a:pt x="6251" y="4435"/>
                    <a:pt x="6281" y="4439"/>
                    <a:pt x="6311" y="4447"/>
                  </a:cubicBezTo>
                  <a:cubicBezTo>
                    <a:pt x="6342" y="4455"/>
                    <a:pt x="6367" y="4466"/>
                    <a:pt x="6386" y="4479"/>
                  </a:cubicBezTo>
                  <a:lnTo>
                    <a:pt x="6359" y="4530"/>
                  </a:lnTo>
                  <a:cubicBezTo>
                    <a:pt x="6320" y="4503"/>
                    <a:pt x="6274" y="4490"/>
                    <a:pt x="6220" y="4490"/>
                  </a:cubicBezTo>
                  <a:cubicBezTo>
                    <a:pt x="6180" y="4490"/>
                    <a:pt x="6149" y="4497"/>
                    <a:pt x="6129" y="4511"/>
                  </a:cubicBezTo>
                  <a:cubicBezTo>
                    <a:pt x="6108" y="4525"/>
                    <a:pt x="6098" y="4544"/>
                    <a:pt x="6098" y="4567"/>
                  </a:cubicBezTo>
                  <a:cubicBezTo>
                    <a:pt x="6098" y="4585"/>
                    <a:pt x="6104" y="4599"/>
                    <a:pt x="6115" y="4610"/>
                  </a:cubicBezTo>
                  <a:cubicBezTo>
                    <a:pt x="6127" y="4621"/>
                    <a:pt x="6141" y="4629"/>
                    <a:pt x="6158" y="4634"/>
                  </a:cubicBezTo>
                  <a:cubicBezTo>
                    <a:pt x="6176" y="4639"/>
                    <a:pt x="6200" y="4644"/>
                    <a:pt x="6230" y="4649"/>
                  </a:cubicBezTo>
                  <a:cubicBezTo>
                    <a:pt x="6268" y="4656"/>
                    <a:pt x="6298" y="4664"/>
                    <a:pt x="6320" y="4671"/>
                  </a:cubicBezTo>
                  <a:cubicBezTo>
                    <a:pt x="6343" y="4678"/>
                    <a:pt x="6362" y="4690"/>
                    <a:pt x="6378" y="4707"/>
                  </a:cubicBezTo>
                  <a:cubicBezTo>
                    <a:pt x="6395" y="4724"/>
                    <a:pt x="6403" y="4748"/>
                    <a:pt x="6403" y="4779"/>
                  </a:cubicBezTo>
                  <a:cubicBezTo>
                    <a:pt x="6403" y="4820"/>
                    <a:pt x="6385" y="4852"/>
                    <a:pt x="6351" y="4876"/>
                  </a:cubicBezTo>
                  <a:cubicBezTo>
                    <a:pt x="6317" y="4900"/>
                    <a:pt x="6269" y="4912"/>
                    <a:pt x="6209" y="4912"/>
                  </a:cubicBezTo>
                  <a:cubicBezTo>
                    <a:pt x="6170" y="4912"/>
                    <a:pt x="6134" y="4907"/>
                    <a:pt x="6099" y="4896"/>
                  </a:cubicBezTo>
                  <a:moveTo>
                    <a:pt x="5653" y="4896"/>
                  </a:moveTo>
                  <a:cubicBezTo>
                    <a:pt x="5618" y="4885"/>
                    <a:pt x="5591" y="4871"/>
                    <a:pt x="5571" y="4854"/>
                  </a:cubicBezTo>
                  <a:lnTo>
                    <a:pt x="5600" y="4804"/>
                  </a:lnTo>
                  <a:cubicBezTo>
                    <a:pt x="5619" y="4820"/>
                    <a:pt x="5644" y="4833"/>
                    <a:pt x="5674" y="4842"/>
                  </a:cubicBezTo>
                  <a:cubicBezTo>
                    <a:pt x="5704" y="4852"/>
                    <a:pt x="5735" y="4857"/>
                    <a:pt x="5767" y="4857"/>
                  </a:cubicBezTo>
                  <a:cubicBezTo>
                    <a:pt x="5810" y="4857"/>
                    <a:pt x="5842" y="4850"/>
                    <a:pt x="5862" y="4837"/>
                  </a:cubicBezTo>
                  <a:cubicBezTo>
                    <a:pt x="5883" y="4824"/>
                    <a:pt x="5893" y="4805"/>
                    <a:pt x="5893" y="4780"/>
                  </a:cubicBezTo>
                  <a:cubicBezTo>
                    <a:pt x="5893" y="4763"/>
                    <a:pt x="5887" y="4750"/>
                    <a:pt x="5876" y="4740"/>
                  </a:cubicBezTo>
                  <a:cubicBezTo>
                    <a:pt x="5865" y="4730"/>
                    <a:pt x="5850" y="4723"/>
                    <a:pt x="5833" y="4717"/>
                  </a:cubicBezTo>
                  <a:cubicBezTo>
                    <a:pt x="5816" y="4712"/>
                    <a:pt x="5793" y="4708"/>
                    <a:pt x="5764" y="4703"/>
                  </a:cubicBezTo>
                  <a:cubicBezTo>
                    <a:pt x="5726" y="4696"/>
                    <a:pt x="5695" y="4688"/>
                    <a:pt x="5672" y="4681"/>
                  </a:cubicBezTo>
                  <a:cubicBezTo>
                    <a:pt x="5649" y="4674"/>
                    <a:pt x="5629" y="4661"/>
                    <a:pt x="5613" y="4643"/>
                  </a:cubicBezTo>
                  <a:cubicBezTo>
                    <a:pt x="5596" y="4625"/>
                    <a:pt x="5588" y="4601"/>
                    <a:pt x="5588" y="4569"/>
                  </a:cubicBezTo>
                  <a:cubicBezTo>
                    <a:pt x="5588" y="4530"/>
                    <a:pt x="5604" y="4498"/>
                    <a:pt x="5637" y="4473"/>
                  </a:cubicBezTo>
                  <a:cubicBezTo>
                    <a:pt x="5670" y="4448"/>
                    <a:pt x="5716" y="4435"/>
                    <a:pt x="5774" y="4435"/>
                  </a:cubicBezTo>
                  <a:cubicBezTo>
                    <a:pt x="5804" y="4435"/>
                    <a:pt x="5835" y="4439"/>
                    <a:pt x="5865" y="4447"/>
                  </a:cubicBezTo>
                  <a:cubicBezTo>
                    <a:pt x="5896" y="4455"/>
                    <a:pt x="5921" y="4466"/>
                    <a:pt x="5940" y="4479"/>
                  </a:cubicBezTo>
                  <a:lnTo>
                    <a:pt x="5913" y="4530"/>
                  </a:lnTo>
                  <a:cubicBezTo>
                    <a:pt x="5874" y="4503"/>
                    <a:pt x="5828" y="4490"/>
                    <a:pt x="5774" y="4490"/>
                  </a:cubicBezTo>
                  <a:cubicBezTo>
                    <a:pt x="5734" y="4490"/>
                    <a:pt x="5703" y="4497"/>
                    <a:pt x="5682" y="4511"/>
                  </a:cubicBezTo>
                  <a:cubicBezTo>
                    <a:pt x="5662" y="4525"/>
                    <a:pt x="5652" y="4544"/>
                    <a:pt x="5652" y="4567"/>
                  </a:cubicBezTo>
                  <a:cubicBezTo>
                    <a:pt x="5652" y="4585"/>
                    <a:pt x="5657" y="4599"/>
                    <a:pt x="5669" y="4610"/>
                  </a:cubicBezTo>
                  <a:cubicBezTo>
                    <a:pt x="5681" y="4621"/>
                    <a:pt x="5695" y="4629"/>
                    <a:pt x="5712" y="4634"/>
                  </a:cubicBezTo>
                  <a:cubicBezTo>
                    <a:pt x="5730" y="4639"/>
                    <a:pt x="5754" y="4644"/>
                    <a:pt x="5784" y="4649"/>
                  </a:cubicBezTo>
                  <a:cubicBezTo>
                    <a:pt x="5821" y="4656"/>
                    <a:pt x="5852" y="4664"/>
                    <a:pt x="5874" y="4671"/>
                  </a:cubicBezTo>
                  <a:cubicBezTo>
                    <a:pt x="5897" y="4678"/>
                    <a:pt x="5916" y="4690"/>
                    <a:pt x="5932" y="4707"/>
                  </a:cubicBezTo>
                  <a:cubicBezTo>
                    <a:pt x="5948" y="4724"/>
                    <a:pt x="5956" y="4748"/>
                    <a:pt x="5956" y="4779"/>
                  </a:cubicBezTo>
                  <a:cubicBezTo>
                    <a:pt x="5956" y="4820"/>
                    <a:pt x="5939" y="4852"/>
                    <a:pt x="5905" y="4876"/>
                  </a:cubicBezTo>
                  <a:cubicBezTo>
                    <a:pt x="5871" y="4900"/>
                    <a:pt x="5823" y="4912"/>
                    <a:pt x="5762" y="4912"/>
                  </a:cubicBezTo>
                  <a:cubicBezTo>
                    <a:pt x="5724" y="4912"/>
                    <a:pt x="5688" y="4907"/>
                    <a:pt x="5653" y="4896"/>
                  </a:cubicBezTo>
                  <a:moveTo>
                    <a:pt x="5367" y="4833"/>
                  </a:moveTo>
                  <a:cubicBezTo>
                    <a:pt x="5393" y="4818"/>
                    <a:pt x="5414" y="4797"/>
                    <a:pt x="5429" y="4769"/>
                  </a:cubicBezTo>
                  <a:cubicBezTo>
                    <a:pt x="5444" y="4741"/>
                    <a:pt x="5451" y="4709"/>
                    <a:pt x="5451" y="4673"/>
                  </a:cubicBezTo>
                  <a:cubicBezTo>
                    <a:pt x="5451" y="4638"/>
                    <a:pt x="5444" y="4606"/>
                    <a:pt x="5429" y="4578"/>
                  </a:cubicBezTo>
                  <a:cubicBezTo>
                    <a:pt x="5414" y="4550"/>
                    <a:pt x="5393" y="4528"/>
                    <a:pt x="5367" y="4513"/>
                  </a:cubicBezTo>
                  <a:cubicBezTo>
                    <a:pt x="5340" y="4498"/>
                    <a:pt x="5310" y="4491"/>
                    <a:pt x="5277" y="4491"/>
                  </a:cubicBezTo>
                  <a:cubicBezTo>
                    <a:pt x="5244" y="4491"/>
                    <a:pt x="5214" y="4498"/>
                    <a:pt x="5187" y="4513"/>
                  </a:cubicBezTo>
                  <a:cubicBezTo>
                    <a:pt x="5161" y="4528"/>
                    <a:pt x="5140" y="4550"/>
                    <a:pt x="5124" y="4578"/>
                  </a:cubicBezTo>
                  <a:cubicBezTo>
                    <a:pt x="5109" y="4606"/>
                    <a:pt x="5102" y="4638"/>
                    <a:pt x="5102" y="4673"/>
                  </a:cubicBezTo>
                  <a:cubicBezTo>
                    <a:pt x="5102" y="4709"/>
                    <a:pt x="5109" y="4741"/>
                    <a:pt x="5124" y="4769"/>
                  </a:cubicBezTo>
                  <a:cubicBezTo>
                    <a:pt x="5140" y="4797"/>
                    <a:pt x="5161" y="4818"/>
                    <a:pt x="5187" y="4833"/>
                  </a:cubicBezTo>
                  <a:cubicBezTo>
                    <a:pt x="5214" y="4849"/>
                    <a:pt x="5244" y="4856"/>
                    <a:pt x="5277" y="4856"/>
                  </a:cubicBezTo>
                  <a:cubicBezTo>
                    <a:pt x="5310" y="4856"/>
                    <a:pt x="5340" y="4849"/>
                    <a:pt x="5367" y="4833"/>
                  </a:cubicBezTo>
                  <a:close/>
                  <a:moveTo>
                    <a:pt x="5154" y="4882"/>
                  </a:moveTo>
                  <a:cubicBezTo>
                    <a:pt x="5118" y="4861"/>
                    <a:pt x="5089" y="4833"/>
                    <a:pt x="5069" y="4796"/>
                  </a:cubicBezTo>
                  <a:cubicBezTo>
                    <a:pt x="5048" y="4760"/>
                    <a:pt x="5037" y="4719"/>
                    <a:pt x="5037" y="4673"/>
                  </a:cubicBezTo>
                  <a:cubicBezTo>
                    <a:pt x="5037" y="4628"/>
                    <a:pt x="5048" y="4587"/>
                    <a:pt x="5069" y="4550"/>
                  </a:cubicBezTo>
                  <a:cubicBezTo>
                    <a:pt x="5089" y="4514"/>
                    <a:pt x="5118" y="4486"/>
                    <a:pt x="5154" y="4466"/>
                  </a:cubicBezTo>
                  <a:cubicBezTo>
                    <a:pt x="5191" y="4445"/>
                    <a:pt x="5232" y="4435"/>
                    <a:pt x="5277" y="4435"/>
                  </a:cubicBezTo>
                  <a:cubicBezTo>
                    <a:pt x="5322" y="4435"/>
                    <a:pt x="5363" y="4445"/>
                    <a:pt x="5399" y="4466"/>
                  </a:cubicBezTo>
                  <a:cubicBezTo>
                    <a:pt x="5436" y="4486"/>
                    <a:pt x="5464" y="4514"/>
                    <a:pt x="5485" y="4550"/>
                  </a:cubicBezTo>
                  <a:cubicBezTo>
                    <a:pt x="5505" y="4587"/>
                    <a:pt x="5516" y="4628"/>
                    <a:pt x="5516" y="4673"/>
                  </a:cubicBezTo>
                  <a:cubicBezTo>
                    <a:pt x="5516" y="4719"/>
                    <a:pt x="5505" y="4760"/>
                    <a:pt x="5485" y="4796"/>
                  </a:cubicBezTo>
                  <a:cubicBezTo>
                    <a:pt x="5464" y="4833"/>
                    <a:pt x="5436" y="4861"/>
                    <a:pt x="5399" y="4882"/>
                  </a:cubicBezTo>
                  <a:cubicBezTo>
                    <a:pt x="5363" y="4902"/>
                    <a:pt x="5322" y="4912"/>
                    <a:pt x="5277" y="4912"/>
                  </a:cubicBezTo>
                  <a:cubicBezTo>
                    <a:pt x="5232" y="4912"/>
                    <a:pt x="5191" y="4902"/>
                    <a:pt x="5154" y="4882"/>
                  </a:cubicBezTo>
                  <a:close/>
                  <a:moveTo>
                    <a:pt x="4869" y="4612"/>
                  </a:moveTo>
                  <a:cubicBezTo>
                    <a:pt x="4902" y="4585"/>
                    <a:pt x="4918" y="4547"/>
                    <a:pt x="4918" y="4498"/>
                  </a:cubicBezTo>
                  <a:cubicBezTo>
                    <a:pt x="4918" y="4447"/>
                    <a:pt x="4902" y="4408"/>
                    <a:pt x="4869" y="4381"/>
                  </a:cubicBezTo>
                  <a:cubicBezTo>
                    <a:pt x="4836" y="4354"/>
                    <a:pt x="4789" y="4341"/>
                    <a:pt x="4727" y="4341"/>
                  </a:cubicBezTo>
                  <a:lnTo>
                    <a:pt x="4561" y="4341"/>
                  </a:lnTo>
                  <a:lnTo>
                    <a:pt x="4561" y="4653"/>
                  </a:lnTo>
                  <a:lnTo>
                    <a:pt x="4727" y="4653"/>
                  </a:lnTo>
                  <a:cubicBezTo>
                    <a:pt x="4789" y="4653"/>
                    <a:pt x="4836" y="4639"/>
                    <a:pt x="4869" y="4612"/>
                  </a:cubicBezTo>
                  <a:close/>
                  <a:moveTo>
                    <a:pt x="4917" y="4341"/>
                  </a:moveTo>
                  <a:cubicBezTo>
                    <a:pt x="4962" y="4379"/>
                    <a:pt x="4985" y="4431"/>
                    <a:pt x="4985" y="4498"/>
                  </a:cubicBezTo>
                  <a:cubicBezTo>
                    <a:pt x="4985" y="4564"/>
                    <a:pt x="4962" y="4616"/>
                    <a:pt x="4917" y="4654"/>
                  </a:cubicBezTo>
                  <a:cubicBezTo>
                    <a:pt x="4871" y="4692"/>
                    <a:pt x="4809" y="4711"/>
                    <a:pt x="4729" y="4711"/>
                  </a:cubicBezTo>
                  <a:lnTo>
                    <a:pt x="4561" y="4711"/>
                  </a:lnTo>
                  <a:lnTo>
                    <a:pt x="4561" y="4908"/>
                  </a:lnTo>
                  <a:lnTo>
                    <a:pt x="4495" y="4908"/>
                  </a:lnTo>
                  <a:lnTo>
                    <a:pt x="4495" y="4284"/>
                  </a:lnTo>
                  <a:lnTo>
                    <a:pt x="4729" y="4284"/>
                  </a:lnTo>
                  <a:cubicBezTo>
                    <a:pt x="4809" y="4284"/>
                    <a:pt x="4871" y="4303"/>
                    <a:pt x="4917" y="4341"/>
                  </a:cubicBezTo>
                  <a:moveTo>
                    <a:pt x="3939" y="4812"/>
                  </a:moveTo>
                  <a:cubicBezTo>
                    <a:pt x="3966" y="4797"/>
                    <a:pt x="3987" y="4777"/>
                    <a:pt x="4002" y="4751"/>
                  </a:cubicBezTo>
                  <a:cubicBezTo>
                    <a:pt x="4018" y="4725"/>
                    <a:pt x="4025" y="4695"/>
                    <a:pt x="4025" y="4662"/>
                  </a:cubicBezTo>
                  <a:cubicBezTo>
                    <a:pt x="4025" y="4628"/>
                    <a:pt x="4018" y="4599"/>
                    <a:pt x="4002" y="4573"/>
                  </a:cubicBezTo>
                  <a:cubicBezTo>
                    <a:pt x="3987" y="4547"/>
                    <a:pt x="3966" y="4527"/>
                    <a:pt x="3939" y="4512"/>
                  </a:cubicBezTo>
                  <a:cubicBezTo>
                    <a:pt x="3912" y="4498"/>
                    <a:pt x="3881" y="4491"/>
                    <a:pt x="3846" y="4491"/>
                  </a:cubicBezTo>
                  <a:cubicBezTo>
                    <a:pt x="3812" y="4491"/>
                    <a:pt x="3782" y="4498"/>
                    <a:pt x="3755" y="4512"/>
                  </a:cubicBezTo>
                  <a:cubicBezTo>
                    <a:pt x="3728" y="4526"/>
                    <a:pt x="3707" y="4546"/>
                    <a:pt x="3691" y="4573"/>
                  </a:cubicBezTo>
                  <a:cubicBezTo>
                    <a:pt x="3676" y="4599"/>
                    <a:pt x="3669" y="4628"/>
                    <a:pt x="3669" y="4662"/>
                  </a:cubicBezTo>
                  <a:cubicBezTo>
                    <a:pt x="3669" y="4695"/>
                    <a:pt x="3676" y="4725"/>
                    <a:pt x="3691" y="4751"/>
                  </a:cubicBezTo>
                  <a:cubicBezTo>
                    <a:pt x="3707" y="4777"/>
                    <a:pt x="3728" y="4797"/>
                    <a:pt x="3755" y="4812"/>
                  </a:cubicBezTo>
                  <a:cubicBezTo>
                    <a:pt x="3782" y="4827"/>
                    <a:pt x="3812" y="4834"/>
                    <a:pt x="3846" y="4834"/>
                  </a:cubicBezTo>
                  <a:cubicBezTo>
                    <a:pt x="3880" y="4834"/>
                    <a:pt x="3911" y="4827"/>
                    <a:pt x="3939" y="4812"/>
                  </a:cubicBezTo>
                  <a:moveTo>
                    <a:pt x="4087" y="4439"/>
                  </a:moveTo>
                  <a:lnTo>
                    <a:pt x="4087" y="4851"/>
                  </a:lnTo>
                  <a:cubicBezTo>
                    <a:pt x="4087" y="4930"/>
                    <a:pt x="4067" y="4990"/>
                    <a:pt x="4028" y="5028"/>
                  </a:cubicBezTo>
                  <a:cubicBezTo>
                    <a:pt x="3989" y="5066"/>
                    <a:pt x="3930" y="5085"/>
                    <a:pt x="3852" y="5085"/>
                  </a:cubicBezTo>
                  <a:cubicBezTo>
                    <a:pt x="3808" y="5085"/>
                    <a:pt x="3767" y="5079"/>
                    <a:pt x="3728" y="5066"/>
                  </a:cubicBezTo>
                  <a:cubicBezTo>
                    <a:pt x="3689" y="5053"/>
                    <a:pt x="3657" y="5036"/>
                    <a:pt x="3633" y="5013"/>
                  </a:cubicBezTo>
                  <a:lnTo>
                    <a:pt x="3665" y="4965"/>
                  </a:lnTo>
                  <a:cubicBezTo>
                    <a:pt x="3688" y="4985"/>
                    <a:pt x="3715" y="5001"/>
                    <a:pt x="3748" y="5012"/>
                  </a:cubicBezTo>
                  <a:cubicBezTo>
                    <a:pt x="3780" y="5024"/>
                    <a:pt x="3814" y="5029"/>
                    <a:pt x="3850" y="5029"/>
                  </a:cubicBezTo>
                  <a:cubicBezTo>
                    <a:pt x="3910" y="5029"/>
                    <a:pt x="3953" y="5015"/>
                    <a:pt x="3981" y="4988"/>
                  </a:cubicBezTo>
                  <a:cubicBezTo>
                    <a:pt x="4009" y="4960"/>
                    <a:pt x="4023" y="4917"/>
                    <a:pt x="4023" y="4859"/>
                  </a:cubicBezTo>
                  <a:lnTo>
                    <a:pt x="4023" y="4799"/>
                  </a:lnTo>
                  <a:cubicBezTo>
                    <a:pt x="4004" y="4829"/>
                    <a:pt x="3978" y="4851"/>
                    <a:pt x="3946" y="4867"/>
                  </a:cubicBezTo>
                  <a:cubicBezTo>
                    <a:pt x="3914" y="4882"/>
                    <a:pt x="3879" y="4890"/>
                    <a:pt x="3840" y="4890"/>
                  </a:cubicBezTo>
                  <a:cubicBezTo>
                    <a:pt x="3796" y="4890"/>
                    <a:pt x="3756" y="4880"/>
                    <a:pt x="3720" y="4861"/>
                  </a:cubicBezTo>
                  <a:cubicBezTo>
                    <a:pt x="3684" y="4842"/>
                    <a:pt x="3656" y="4815"/>
                    <a:pt x="3635" y="4780"/>
                  </a:cubicBezTo>
                  <a:cubicBezTo>
                    <a:pt x="3614" y="4745"/>
                    <a:pt x="3604" y="4706"/>
                    <a:pt x="3604" y="4662"/>
                  </a:cubicBezTo>
                  <a:cubicBezTo>
                    <a:pt x="3604" y="4618"/>
                    <a:pt x="3614" y="4578"/>
                    <a:pt x="3635" y="4544"/>
                  </a:cubicBezTo>
                  <a:cubicBezTo>
                    <a:pt x="3656" y="4510"/>
                    <a:pt x="3684" y="4483"/>
                    <a:pt x="3719" y="4464"/>
                  </a:cubicBezTo>
                  <a:cubicBezTo>
                    <a:pt x="3755" y="4445"/>
                    <a:pt x="3795" y="4435"/>
                    <a:pt x="3840" y="4435"/>
                  </a:cubicBezTo>
                  <a:cubicBezTo>
                    <a:pt x="3880" y="4435"/>
                    <a:pt x="3916" y="4443"/>
                    <a:pt x="3948" y="4459"/>
                  </a:cubicBezTo>
                  <a:cubicBezTo>
                    <a:pt x="3981" y="4475"/>
                    <a:pt x="4006" y="4499"/>
                    <a:pt x="4026" y="4529"/>
                  </a:cubicBezTo>
                  <a:lnTo>
                    <a:pt x="4026" y="4439"/>
                  </a:lnTo>
                  <a:lnTo>
                    <a:pt x="4087" y="4439"/>
                  </a:lnTo>
                  <a:close/>
                  <a:moveTo>
                    <a:pt x="3453" y="4487"/>
                  </a:moveTo>
                  <a:cubicBezTo>
                    <a:pt x="3487" y="4521"/>
                    <a:pt x="3505" y="4570"/>
                    <a:pt x="3505" y="4636"/>
                  </a:cubicBezTo>
                  <a:lnTo>
                    <a:pt x="3505" y="4908"/>
                  </a:lnTo>
                  <a:lnTo>
                    <a:pt x="3441" y="4908"/>
                  </a:lnTo>
                  <a:lnTo>
                    <a:pt x="3441" y="4642"/>
                  </a:lnTo>
                  <a:cubicBezTo>
                    <a:pt x="3441" y="4593"/>
                    <a:pt x="3429" y="4556"/>
                    <a:pt x="3405" y="4531"/>
                  </a:cubicBezTo>
                  <a:cubicBezTo>
                    <a:pt x="3380" y="4505"/>
                    <a:pt x="3345" y="4492"/>
                    <a:pt x="3300" y="4492"/>
                  </a:cubicBezTo>
                  <a:cubicBezTo>
                    <a:pt x="3249" y="4492"/>
                    <a:pt x="3209" y="4507"/>
                    <a:pt x="3180" y="4537"/>
                  </a:cubicBezTo>
                  <a:cubicBezTo>
                    <a:pt x="3150" y="4567"/>
                    <a:pt x="3136" y="4609"/>
                    <a:pt x="3136" y="4662"/>
                  </a:cubicBezTo>
                  <a:lnTo>
                    <a:pt x="3136" y="4908"/>
                  </a:lnTo>
                  <a:lnTo>
                    <a:pt x="3072" y="4908"/>
                  </a:lnTo>
                  <a:lnTo>
                    <a:pt x="3072" y="4439"/>
                  </a:lnTo>
                  <a:lnTo>
                    <a:pt x="3133" y="4439"/>
                  </a:lnTo>
                  <a:lnTo>
                    <a:pt x="3133" y="4525"/>
                  </a:lnTo>
                  <a:cubicBezTo>
                    <a:pt x="3150" y="4497"/>
                    <a:pt x="3174" y="4475"/>
                    <a:pt x="3205" y="4459"/>
                  </a:cubicBezTo>
                  <a:cubicBezTo>
                    <a:pt x="3236" y="4443"/>
                    <a:pt x="3271" y="4435"/>
                    <a:pt x="3312" y="4435"/>
                  </a:cubicBezTo>
                  <a:cubicBezTo>
                    <a:pt x="3371" y="4435"/>
                    <a:pt x="3418" y="4452"/>
                    <a:pt x="3453" y="4487"/>
                  </a:cubicBezTo>
                  <a:close/>
                  <a:moveTo>
                    <a:pt x="2858" y="4439"/>
                  </a:moveTo>
                  <a:lnTo>
                    <a:pt x="2922" y="4439"/>
                  </a:lnTo>
                  <a:lnTo>
                    <a:pt x="2922" y="4908"/>
                  </a:lnTo>
                  <a:lnTo>
                    <a:pt x="2858" y="4908"/>
                  </a:lnTo>
                  <a:lnTo>
                    <a:pt x="2858" y="4439"/>
                  </a:lnTo>
                  <a:close/>
                  <a:moveTo>
                    <a:pt x="2858" y="4323"/>
                  </a:moveTo>
                  <a:cubicBezTo>
                    <a:pt x="2849" y="4314"/>
                    <a:pt x="2844" y="4303"/>
                    <a:pt x="2844" y="4291"/>
                  </a:cubicBezTo>
                  <a:cubicBezTo>
                    <a:pt x="2844" y="4279"/>
                    <a:pt x="2849" y="4268"/>
                    <a:pt x="2858" y="4260"/>
                  </a:cubicBezTo>
                  <a:cubicBezTo>
                    <a:pt x="2867" y="4251"/>
                    <a:pt x="2878" y="4246"/>
                    <a:pt x="2891" y="4246"/>
                  </a:cubicBezTo>
                  <a:cubicBezTo>
                    <a:pt x="2904" y="4246"/>
                    <a:pt x="2915" y="4250"/>
                    <a:pt x="2924" y="4259"/>
                  </a:cubicBezTo>
                  <a:cubicBezTo>
                    <a:pt x="2933" y="4268"/>
                    <a:pt x="2937" y="4278"/>
                    <a:pt x="2937" y="4290"/>
                  </a:cubicBezTo>
                  <a:cubicBezTo>
                    <a:pt x="2937" y="4303"/>
                    <a:pt x="2933" y="4314"/>
                    <a:pt x="2924" y="4323"/>
                  </a:cubicBezTo>
                  <a:cubicBezTo>
                    <a:pt x="2915" y="4332"/>
                    <a:pt x="2904" y="4336"/>
                    <a:pt x="2891" y="4336"/>
                  </a:cubicBezTo>
                  <a:cubicBezTo>
                    <a:pt x="2878" y="4336"/>
                    <a:pt x="2867" y="4332"/>
                    <a:pt x="2858" y="4323"/>
                  </a:cubicBezTo>
                  <a:close/>
                  <a:moveTo>
                    <a:pt x="2643" y="4459"/>
                  </a:moveTo>
                  <a:cubicBezTo>
                    <a:pt x="2673" y="4443"/>
                    <a:pt x="2710" y="4435"/>
                    <a:pt x="2753" y="4435"/>
                  </a:cubicBezTo>
                  <a:lnTo>
                    <a:pt x="2753" y="4497"/>
                  </a:lnTo>
                  <a:lnTo>
                    <a:pt x="2738" y="4496"/>
                  </a:lnTo>
                  <a:cubicBezTo>
                    <a:pt x="2688" y="4496"/>
                    <a:pt x="2650" y="4511"/>
                    <a:pt x="2622" y="4541"/>
                  </a:cubicBezTo>
                  <a:cubicBezTo>
                    <a:pt x="2594" y="4572"/>
                    <a:pt x="2580" y="4614"/>
                    <a:pt x="2580" y="4669"/>
                  </a:cubicBezTo>
                  <a:lnTo>
                    <a:pt x="2580" y="4908"/>
                  </a:lnTo>
                  <a:lnTo>
                    <a:pt x="2516" y="4908"/>
                  </a:lnTo>
                  <a:lnTo>
                    <a:pt x="2516" y="4439"/>
                  </a:lnTo>
                  <a:lnTo>
                    <a:pt x="2577" y="4439"/>
                  </a:lnTo>
                  <a:lnTo>
                    <a:pt x="2577" y="4531"/>
                  </a:lnTo>
                  <a:cubicBezTo>
                    <a:pt x="2592" y="4499"/>
                    <a:pt x="2614" y="4475"/>
                    <a:pt x="2643" y="4459"/>
                  </a:cubicBezTo>
                  <a:close/>
                  <a:moveTo>
                    <a:pt x="2053" y="4533"/>
                  </a:moveTo>
                  <a:cubicBezTo>
                    <a:pt x="2023" y="4562"/>
                    <a:pt x="2005" y="4599"/>
                    <a:pt x="2001" y="4646"/>
                  </a:cubicBezTo>
                  <a:lnTo>
                    <a:pt x="2335" y="4646"/>
                  </a:lnTo>
                  <a:cubicBezTo>
                    <a:pt x="2330" y="4599"/>
                    <a:pt x="2313" y="4562"/>
                    <a:pt x="2282" y="4533"/>
                  </a:cubicBezTo>
                  <a:cubicBezTo>
                    <a:pt x="2252" y="4504"/>
                    <a:pt x="2213" y="4490"/>
                    <a:pt x="2167" y="4490"/>
                  </a:cubicBezTo>
                  <a:cubicBezTo>
                    <a:pt x="2122" y="4490"/>
                    <a:pt x="2084" y="4504"/>
                    <a:pt x="2053" y="4533"/>
                  </a:cubicBezTo>
                  <a:close/>
                  <a:moveTo>
                    <a:pt x="2395" y="4693"/>
                  </a:moveTo>
                  <a:lnTo>
                    <a:pt x="2001" y="4693"/>
                  </a:lnTo>
                  <a:cubicBezTo>
                    <a:pt x="2005" y="4742"/>
                    <a:pt x="2023" y="4781"/>
                    <a:pt x="2057" y="4811"/>
                  </a:cubicBezTo>
                  <a:cubicBezTo>
                    <a:pt x="2091" y="4841"/>
                    <a:pt x="2134" y="4856"/>
                    <a:pt x="2186" y="4856"/>
                  </a:cubicBezTo>
                  <a:cubicBezTo>
                    <a:pt x="2215" y="4856"/>
                    <a:pt x="2242" y="4851"/>
                    <a:pt x="2267" y="4841"/>
                  </a:cubicBezTo>
                  <a:cubicBezTo>
                    <a:pt x="2291" y="4830"/>
                    <a:pt x="2312" y="4815"/>
                    <a:pt x="2330" y="4795"/>
                  </a:cubicBezTo>
                  <a:lnTo>
                    <a:pt x="2366" y="4836"/>
                  </a:lnTo>
                  <a:cubicBezTo>
                    <a:pt x="2345" y="4861"/>
                    <a:pt x="2319" y="4880"/>
                    <a:pt x="2288" y="4893"/>
                  </a:cubicBezTo>
                  <a:cubicBezTo>
                    <a:pt x="2256" y="4906"/>
                    <a:pt x="2222" y="4912"/>
                    <a:pt x="2184" y="4912"/>
                  </a:cubicBezTo>
                  <a:cubicBezTo>
                    <a:pt x="2136" y="4912"/>
                    <a:pt x="2093" y="4902"/>
                    <a:pt x="2056" y="4882"/>
                  </a:cubicBezTo>
                  <a:cubicBezTo>
                    <a:pt x="2019" y="4861"/>
                    <a:pt x="1990" y="4833"/>
                    <a:pt x="1969" y="4796"/>
                  </a:cubicBezTo>
                  <a:cubicBezTo>
                    <a:pt x="1948" y="4760"/>
                    <a:pt x="1938" y="4719"/>
                    <a:pt x="1938" y="4673"/>
                  </a:cubicBezTo>
                  <a:cubicBezTo>
                    <a:pt x="1938" y="4628"/>
                    <a:pt x="1948" y="4587"/>
                    <a:pt x="1968" y="4550"/>
                  </a:cubicBezTo>
                  <a:cubicBezTo>
                    <a:pt x="1988" y="4514"/>
                    <a:pt x="2015" y="4486"/>
                    <a:pt x="2050" y="4466"/>
                  </a:cubicBezTo>
                  <a:cubicBezTo>
                    <a:pt x="2085" y="4445"/>
                    <a:pt x="2124" y="4435"/>
                    <a:pt x="2167" y="4435"/>
                  </a:cubicBezTo>
                  <a:cubicBezTo>
                    <a:pt x="2211" y="4435"/>
                    <a:pt x="2250" y="4445"/>
                    <a:pt x="2285" y="4466"/>
                  </a:cubicBezTo>
                  <a:cubicBezTo>
                    <a:pt x="2319" y="4486"/>
                    <a:pt x="2346" y="4514"/>
                    <a:pt x="2366" y="4550"/>
                  </a:cubicBezTo>
                  <a:cubicBezTo>
                    <a:pt x="2386" y="4586"/>
                    <a:pt x="2395" y="4627"/>
                    <a:pt x="2395" y="4673"/>
                  </a:cubicBezTo>
                  <a:lnTo>
                    <a:pt x="2395" y="4693"/>
                  </a:lnTo>
                  <a:close/>
                  <a:moveTo>
                    <a:pt x="1912" y="4439"/>
                  </a:moveTo>
                  <a:lnTo>
                    <a:pt x="1734" y="4908"/>
                  </a:lnTo>
                  <a:lnTo>
                    <a:pt x="1674" y="4908"/>
                  </a:lnTo>
                  <a:lnTo>
                    <a:pt x="1525" y="4524"/>
                  </a:lnTo>
                  <a:lnTo>
                    <a:pt x="1377" y="4908"/>
                  </a:lnTo>
                  <a:lnTo>
                    <a:pt x="1317" y="4908"/>
                  </a:lnTo>
                  <a:lnTo>
                    <a:pt x="1140" y="4439"/>
                  </a:lnTo>
                  <a:lnTo>
                    <a:pt x="1201" y="4439"/>
                  </a:lnTo>
                  <a:lnTo>
                    <a:pt x="1348" y="4837"/>
                  </a:lnTo>
                  <a:lnTo>
                    <a:pt x="1500" y="4439"/>
                  </a:lnTo>
                  <a:lnTo>
                    <a:pt x="1554" y="4439"/>
                  </a:lnTo>
                  <a:lnTo>
                    <a:pt x="1704" y="4837"/>
                  </a:lnTo>
                  <a:lnTo>
                    <a:pt x="1854" y="4439"/>
                  </a:lnTo>
                  <a:lnTo>
                    <a:pt x="1912" y="4439"/>
                  </a:lnTo>
                  <a:close/>
                  <a:moveTo>
                    <a:pt x="965" y="4833"/>
                  </a:moveTo>
                  <a:cubicBezTo>
                    <a:pt x="992" y="4818"/>
                    <a:pt x="1013" y="4797"/>
                    <a:pt x="1027" y="4769"/>
                  </a:cubicBezTo>
                  <a:cubicBezTo>
                    <a:pt x="1042" y="4741"/>
                    <a:pt x="1050" y="4709"/>
                    <a:pt x="1050" y="4673"/>
                  </a:cubicBezTo>
                  <a:cubicBezTo>
                    <a:pt x="1050" y="4638"/>
                    <a:pt x="1042" y="4606"/>
                    <a:pt x="1027" y="4578"/>
                  </a:cubicBezTo>
                  <a:cubicBezTo>
                    <a:pt x="1013" y="4550"/>
                    <a:pt x="992" y="4528"/>
                    <a:pt x="965" y="4513"/>
                  </a:cubicBezTo>
                  <a:cubicBezTo>
                    <a:pt x="939" y="4498"/>
                    <a:pt x="909" y="4491"/>
                    <a:pt x="875" y="4491"/>
                  </a:cubicBezTo>
                  <a:cubicBezTo>
                    <a:pt x="842" y="4491"/>
                    <a:pt x="812" y="4498"/>
                    <a:pt x="786" y="4513"/>
                  </a:cubicBezTo>
                  <a:cubicBezTo>
                    <a:pt x="759" y="4528"/>
                    <a:pt x="738" y="4550"/>
                    <a:pt x="723" y="4578"/>
                  </a:cubicBezTo>
                  <a:cubicBezTo>
                    <a:pt x="708" y="4606"/>
                    <a:pt x="700" y="4638"/>
                    <a:pt x="700" y="4673"/>
                  </a:cubicBezTo>
                  <a:cubicBezTo>
                    <a:pt x="700" y="4709"/>
                    <a:pt x="708" y="4741"/>
                    <a:pt x="723" y="4769"/>
                  </a:cubicBezTo>
                  <a:cubicBezTo>
                    <a:pt x="738" y="4797"/>
                    <a:pt x="759" y="4818"/>
                    <a:pt x="786" y="4833"/>
                  </a:cubicBezTo>
                  <a:cubicBezTo>
                    <a:pt x="812" y="4849"/>
                    <a:pt x="842" y="4856"/>
                    <a:pt x="875" y="4856"/>
                  </a:cubicBezTo>
                  <a:cubicBezTo>
                    <a:pt x="909" y="4856"/>
                    <a:pt x="939" y="4849"/>
                    <a:pt x="965" y="4833"/>
                  </a:cubicBezTo>
                  <a:close/>
                  <a:moveTo>
                    <a:pt x="753" y="4882"/>
                  </a:moveTo>
                  <a:cubicBezTo>
                    <a:pt x="717" y="4861"/>
                    <a:pt x="688" y="4833"/>
                    <a:pt x="667" y="4796"/>
                  </a:cubicBezTo>
                  <a:cubicBezTo>
                    <a:pt x="646" y="4760"/>
                    <a:pt x="636" y="4719"/>
                    <a:pt x="636" y="4673"/>
                  </a:cubicBezTo>
                  <a:cubicBezTo>
                    <a:pt x="636" y="4628"/>
                    <a:pt x="646" y="4587"/>
                    <a:pt x="667" y="4550"/>
                  </a:cubicBezTo>
                  <a:cubicBezTo>
                    <a:pt x="688" y="4514"/>
                    <a:pt x="717" y="4486"/>
                    <a:pt x="753" y="4466"/>
                  </a:cubicBezTo>
                  <a:cubicBezTo>
                    <a:pt x="789" y="4445"/>
                    <a:pt x="830" y="4435"/>
                    <a:pt x="875" y="4435"/>
                  </a:cubicBezTo>
                  <a:cubicBezTo>
                    <a:pt x="921" y="4435"/>
                    <a:pt x="962" y="4445"/>
                    <a:pt x="998" y="4466"/>
                  </a:cubicBezTo>
                  <a:cubicBezTo>
                    <a:pt x="1034" y="4486"/>
                    <a:pt x="1063" y="4514"/>
                    <a:pt x="1083" y="4550"/>
                  </a:cubicBezTo>
                  <a:cubicBezTo>
                    <a:pt x="1104" y="4587"/>
                    <a:pt x="1114" y="4628"/>
                    <a:pt x="1114" y="4673"/>
                  </a:cubicBezTo>
                  <a:cubicBezTo>
                    <a:pt x="1114" y="4719"/>
                    <a:pt x="1104" y="4760"/>
                    <a:pt x="1083" y="4796"/>
                  </a:cubicBezTo>
                  <a:cubicBezTo>
                    <a:pt x="1063" y="4833"/>
                    <a:pt x="1034" y="4861"/>
                    <a:pt x="998" y="4882"/>
                  </a:cubicBezTo>
                  <a:cubicBezTo>
                    <a:pt x="962" y="4902"/>
                    <a:pt x="921" y="4912"/>
                    <a:pt x="875" y="4912"/>
                  </a:cubicBezTo>
                  <a:cubicBezTo>
                    <a:pt x="830" y="4912"/>
                    <a:pt x="789" y="4902"/>
                    <a:pt x="753" y="4882"/>
                  </a:cubicBezTo>
                  <a:close/>
                  <a:moveTo>
                    <a:pt x="468" y="4612"/>
                  </a:moveTo>
                  <a:cubicBezTo>
                    <a:pt x="501" y="4585"/>
                    <a:pt x="517" y="4547"/>
                    <a:pt x="517" y="4498"/>
                  </a:cubicBezTo>
                  <a:cubicBezTo>
                    <a:pt x="517" y="4447"/>
                    <a:pt x="501" y="4408"/>
                    <a:pt x="468" y="4381"/>
                  </a:cubicBezTo>
                  <a:cubicBezTo>
                    <a:pt x="435" y="4354"/>
                    <a:pt x="388" y="4341"/>
                    <a:pt x="326" y="4341"/>
                  </a:cubicBezTo>
                  <a:lnTo>
                    <a:pt x="159" y="4341"/>
                  </a:lnTo>
                  <a:lnTo>
                    <a:pt x="159" y="4653"/>
                  </a:lnTo>
                  <a:lnTo>
                    <a:pt x="326" y="4653"/>
                  </a:lnTo>
                  <a:cubicBezTo>
                    <a:pt x="388" y="4653"/>
                    <a:pt x="435" y="4639"/>
                    <a:pt x="468" y="4612"/>
                  </a:cubicBezTo>
                  <a:moveTo>
                    <a:pt x="515" y="4341"/>
                  </a:moveTo>
                  <a:cubicBezTo>
                    <a:pt x="560" y="4379"/>
                    <a:pt x="583" y="4431"/>
                    <a:pt x="583" y="4498"/>
                  </a:cubicBezTo>
                  <a:cubicBezTo>
                    <a:pt x="583" y="4564"/>
                    <a:pt x="560" y="4616"/>
                    <a:pt x="515" y="4654"/>
                  </a:cubicBezTo>
                  <a:cubicBezTo>
                    <a:pt x="470" y="4692"/>
                    <a:pt x="407" y="4711"/>
                    <a:pt x="327" y="4711"/>
                  </a:cubicBezTo>
                  <a:lnTo>
                    <a:pt x="159" y="4711"/>
                  </a:lnTo>
                  <a:lnTo>
                    <a:pt x="159" y="4908"/>
                  </a:lnTo>
                  <a:lnTo>
                    <a:pt x="93" y="4908"/>
                  </a:lnTo>
                  <a:lnTo>
                    <a:pt x="93" y="4284"/>
                  </a:lnTo>
                  <a:lnTo>
                    <a:pt x="327" y="4284"/>
                  </a:lnTo>
                  <a:cubicBezTo>
                    <a:pt x="407" y="4284"/>
                    <a:pt x="470" y="4303"/>
                    <a:pt x="515" y="4341"/>
                  </a:cubicBezTo>
                  <a:close/>
                </a:path>
              </a:pathLst>
            </a:custGeom>
            <a:grpFill/>
            <a:ln w="9525">
              <a:noFill/>
              <a:round/>
              <a:headEnd/>
              <a:tailEnd/>
            </a:ln>
          </p:spPr>
          <p:txBody>
            <a:bodyPr/>
            <a:lstStyle/>
            <a:p>
              <a:pPr eaLnBrk="1" fontAlgn="auto" hangingPunct="1">
                <a:spcBef>
                  <a:spcPts val="0"/>
                </a:spcBef>
                <a:spcAft>
                  <a:spcPts val="0"/>
                </a:spcAft>
                <a:defRPr/>
              </a:pPr>
              <a:endParaRPr lang="en-US">
                <a:latin typeface="+mn-lt"/>
              </a:endParaRPr>
            </a:p>
          </p:txBody>
        </p:sp>
        <p:sp>
          <p:nvSpPr>
            <p:cNvPr id="5" name="Freeform 13">
              <a:extLst>
                <a:ext uri="{FF2B5EF4-FFF2-40B4-BE49-F238E27FC236}">
                  <a16:creationId xmlns:a16="http://schemas.microsoft.com/office/drawing/2014/main" id="{1EFCFE5E-C135-1446-B25A-C8B637BE7E05}"/>
                </a:ext>
              </a:extLst>
            </p:cNvPr>
            <p:cNvSpPr>
              <a:spLocks noEditPoints="1"/>
            </p:cNvSpPr>
            <p:nvPr/>
          </p:nvSpPr>
          <p:spPr bwMode="auto">
            <a:xfrm>
              <a:off x="1481" y="1882"/>
              <a:ext cx="4755" cy="713"/>
            </a:xfrm>
            <a:custGeom>
              <a:avLst/>
              <a:gdLst>
                <a:gd name="T0" fmla="*/ 9402 w 9905"/>
                <a:gd name="T1" fmla="*/ 1485 h 1485"/>
                <a:gd name="T2" fmla="*/ 9609 w 9905"/>
                <a:gd name="T3" fmla="*/ 673 h 1485"/>
                <a:gd name="T4" fmla="*/ 9235 w 9905"/>
                <a:gd name="T5" fmla="*/ 387 h 1485"/>
                <a:gd name="T6" fmla="*/ 9645 w 9905"/>
                <a:gd name="T7" fmla="*/ 272 h 1485"/>
                <a:gd name="T8" fmla="*/ 9852 w 9905"/>
                <a:gd name="T9" fmla="*/ 188 h 1485"/>
                <a:gd name="T10" fmla="*/ 9440 w 9905"/>
                <a:gd name="T11" fmla="*/ 0 h 1485"/>
                <a:gd name="T12" fmla="*/ 9297 w 9905"/>
                <a:gd name="T13" fmla="*/ 792 h 1485"/>
                <a:gd name="T14" fmla="*/ 9655 w 9905"/>
                <a:gd name="T15" fmla="*/ 1077 h 1485"/>
                <a:gd name="T16" fmla="*/ 9102 w 9905"/>
                <a:gd name="T17" fmla="*/ 1105 h 1485"/>
                <a:gd name="T18" fmla="*/ 7727 w 9905"/>
                <a:gd name="T19" fmla="*/ 1267 h 1485"/>
                <a:gd name="T20" fmla="*/ 8704 w 9905"/>
                <a:gd name="T21" fmla="*/ 1072 h 1485"/>
                <a:gd name="T22" fmla="*/ 8168 w 9905"/>
                <a:gd name="T23" fmla="*/ 558 h 1485"/>
                <a:gd name="T24" fmla="*/ 8252 w 9905"/>
                <a:gd name="T25" fmla="*/ 227 h 1485"/>
                <a:gd name="T26" fmla="*/ 8543 w 9905"/>
                <a:gd name="T27" fmla="*/ 300 h 1485"/>
                <a:gd name="T28" fmla="*/ 8567 w 9905"/>
                <a:gd name="T29" fmla="*/ 73 h 1485"/>
                <a:gd name="T30" fmla="*/ 7785 w 9905"/>
                <a:gd name="T31" fmla="*/ 395 h 1485"/>
                <a:gd name="T32" fmla="*/ 8292 w 9905"/>
                <a:gd name="T33" fmla="*/ 885 h 1485"/>
                <a:gd name="T34" fmla="*/ 8225 w 9905"/>
                <a:gd name="T35" fmla="*/ 1257 h 1485"/>
                <a:gd name="T36" fmla="*/ 7727 w 9905"/>
                <a:gd name="T37" fmla="*/ 1267 h 1485"/>
                <a:gd name="T38" fmla="*/ 3354 w 9905"/>
                <a:gd name="T39" fmla="*/ 1485 h 1485"/>
                <a:gd name="T40" fmla="*/ 3560 w 9905"/>
                <a:gd name="T41" fmla="*/ 673 h 1485"/>
                <a:gd name="T42" fmla="*/ 3187 w 9905"/>
                <a:gd name="T43" fmla="*/ 387 h 1485"/>
                <a:gd name="T44" fmla="*/ 3597 w 9905"/>
                <a:gd name="T45" fmla="*/ 272 h 1485"/>
                <a:gd name="T46" fmla="*/ 3805 w 9905"/>
                <a:gd name="T47" fmla="*/ 188 h 1485"/>
                <a:gd name="T48" fmla="*/ 3393 w 9905"/>
                <a:gd name="T49" fmla="*/ 0 h 1485"/>
                <a:gd name="T50" fmla="*/ 3250 w 9905"/>
                <a:gd name="T51" fmla="*/ 792 h 1485"/>
                <a:gd name="T52" fmla="*/ 3609 w 9905"/>
                <a:gd name="T53" fmla="*/ 1077 h 1485"/>
                <a:gd name="T54" fmla="*/ 3055 w 9905"/>
                <a:gd name="T55" fmla="*/ 1105 h 1485"/>
                <a:gd name="T56" fmla="*/ 5023 w 9905"/>
                <a:gd name="T57" fmla="*/ 0 h 1485"/>
                <a:gd name="T58" fmla="*/ 4905 w 9905"/>
                <a:gd name="T59" fmla="*/ 1370 h 1485"/>
                <a:gd name="T60" fmla="*/ 5140 w 9905"/>
                <a:gd name="T61" fmla="*/ 1370 h 1485"/>
                <a:gd name="T62" fmla="*/ 5868 w 9905"/>
                <a:gd name="T63" fmla="*/ 1395 h 1485"/>
                <a:gd name="T64" fmla="*/ 6117 w 9905"/>
                <a:gd name="T65" fmla="*/ 1372 h 1485"/>
                <a:gd name="T66" fmla="*/ 5884 w 9905"/>
                <a:gd name="T67" fmla="*/ 10 h 1485"/>
                <a:gd name="T68" fmla="*/ 5152 w 9905"/>
                <a:gd name="T69" fmla="*/ 88 h 1485"/>
                <a:gd name="T70" fmla="*/ 882 w 9905"/>
                <a:gd name="T71" fmla="*/ 682 h 1485"/>
                <a:gd name="T72" fmla="*/ 652 w 9905"/>
                <a:gd name="T73" fmla="*/ 1475 h 1485"/>
                <a:gd name="T74" fmla="*/ 0 w 9905"/>
                <a:gd name="T75" fmla="*/ 122 h 1485"/>
                <a:gd name="T76" fmla="*/ 622 w 9905"/>
                <a:gd name="T77" fmla="*/ 7 h 1485"/>
                <a:gd name="T78" fmla="*/ 882 w 9905"/>
                <a:gd name="T79" fmla="*/ 682 h 1485"/>
                <a:gd name="T80" fmla="*/ 592 w 9905"/>
                <a:gd name="T81" fmla="*/ 595 h 1485"/>
                <a:gd name="T82" fmla="*/ 592 w 9905"/>
                <a:gd name="T83" fmla="*/ 238 h 1485"/>
                <a:gd name="T84" fmla="*/ 237 w 9905"/>
                <a:gd name="T85" fmla="*/ 595 h 1485"/>
                <a:gd name="T86" fmla="*/ 859 w 9905"/>
                <a:gd name="T87" fmla="*/ 1032 h 1485"/>
                <a:gd name="T88" fmla="*/ 237 w 9905"/>
                <a:gd name="T89" fmla="*/ 812 h 1485"/>
                <a:gd name="T90" fmla="*/ 607 w 9905"/>
                <a:gd name="T91" fmla="*/ 1250 h 1485"/>
                <a:gd name="T92" fmla="*/ 7492 w 9905"/>
                <a:gd name="T93" fmla="*/ 125 h 1485"/>
                <a:gd name="T94" fmla="*/ 6642 w 9905"/>
                <a:gd name="T95" fmla="*/ 10 h 1485"/>
                <a:gd name="T96" fmla="*/ 6527 w 9905"/>
                <a:gd name="T97" fmla="*/ 1365 h 1485"/>
                <a:gd name="T98" fmla="*/ 7484 w 9905"/>
                <a:gd name="T99" fmla="*/ 1478 h 1485"/>
                <a:gd name="T100" fmla="*/ 6764 w 9905"/>
                <a:gd name="T101" fmla="*/ 1248 h 1485"/>
                <a:gd name="T102" fmla="*/ 7307 w 9905"/>
                <a:gd name="T103" fmla="*/ 822 h 1485"/>
                <a:gd name="T104" fmla="*/ 7307 w 9905"/>
                <a:gd name="T105" fmla="*/ 592 h 1485"/>
                <a:gd name="T106" fmla="*/ 6764 w 9905"/>
                <a:gd name="T107" fmla="*/ 240 h 1485"/>
                <a:gd name="T108" fmla="*/ 1635 w 9905"/>
                <a:gd name="T109" fmla="*/ 893 h 1485"/>
                <a:gd name="T110" fmla="*/ 1517 w 9905"/>
                <a:gd name="T111" fmla="*/ 0 h 1485"/>
                <a:gd name="T112" fmla="*/ 1399 w 9905"/>
                <a:gd name="T113" fmla="*/ 885 h 1485"/>
                <a:gd name="T114" fmla="*/ 2605 w 9905"/>
                <a:gd name="T115" fmla="*/ 885 h 1485"/>
                <a:gd name="T116" fmla="*/ 2367 w 9905"/>
                <a:gd name="T117" fmla="*/ 7 h 1485"/>
                <a:gd name="T118" fmla="*/ 2002 w 9905"/>
                <a:gd name="T119" fmla="*/ 1260 h 1485"/>
                <a:gd name="T120" fmla="*/ 4320 w 9905"/>
                <a:gd name="T121" fmla="*/ 0 h 1485"/>
                <a:gd name="T122" fmla="*/ 4439 w 9905"/>
                <a:gd name="T123" fmla="*/ 1477 h 1485"/>
                <a:gd name="T124" fmla="*/ 4202 w 9905"/>
                <a:gd name="T125" fmla="*/ 115 h 1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905" h="1485">
                  <a:moveTo>
                    <a:pt x="8929" y="1267"/>
                  </a:moveTo>
                  <a:cubicBezTo>
                    <a:pt x="8959" y="1305"/>
                    <a:pt x="9097" y="1485"/>
                    <a:pt x="9402" y="1485"/>
                  </a:cubicBezTo>
                  <a:cubicBezTo>
                    <a:pt x="9700" y="1485"/>
                    <a:pt x="9905" y="1313"/>
                    <a:pt x="9905" y="1072"/>
                  </a:cubicBezTo>
                  <a:cubicBezTo>
                    <a:pt x="9905" y="913"/>
                    <a:pt x="9842" y="787"/>
                    <a:pt x="9609" y="673"/>
                  </a:cubicBezTo>
                  <a:cubicBezTo>
                    <a:pt x="9545" y="643"/>
                    <a:pt x="9368" y="558"/>
                    <a:pt x="9368" y="558"/>
                  </a:cubicBezTo>
                  <a:cubicBezTo>
                    <a:pt x="9277" y="513"/>
                    <a:pt x="9235" y="460"/>
                    <a:pt x="9235" y="387"/>
                  </a:cubicBezTo>
                  <a:cubicBezTo>
                    <a:pt x="9235" y="310"/>
                    <a:pt x="9298" y="227"/>
                    <a:pt x="9452" y="227"/>
                  </a:cubicBezTo>
                  <a:cubicBezTo>
                    <a:pt x="9540" y="227"/>
                    <a:pt x="9609" y="255"/>
                    <a:pt x="9645" y="272"/>
                  </a:cubicBezTo>
                  <a:cubicBezTo>
                    <a:pt x="9662" y="280"/>
                    <a:pt x="9704" y="300"/>
                    <a:pt x="9743" y="300"/>
                  </a:cubicBezTo>
                  <a:cubicBezTo>
                    <a:pt x="9795" y="300"/>
                    <a:pt x="9852" y="263"/>
                    <a:pt x="9852" y="188"/>
                  </a:cubicBezTo>
                  <a:cubicBezTo>
                    <a:pt x="9852" y="125"/>
                    <a:pt x="9807" y="92"/>
                    <a:pt x="9767" y="73"/>
                  </a:cubicBezTo>
                  <a:cubicBezTo>
                    <a:pt x="9704" y="43"/>
                    <a:pt x="9605" y="0"/>
                    <a:pt x="9440" y="0"/>
                  </a:cubicBezTo>
                  <a:cubicBezTo>
                    <a:pt x="9179" y="0"/>
                    <a:pt x="8985" y="165"/>
                    <a:pt x="8985" y="395"/>
                  </a:cubicBezTo>
                  <a:cubicBezTo>
                    <a:pt x="8985" y="605"/>
                    <a:pt x="9125" y="710"/>
                    <a:pt x="9297" y="792"/>
                  </a:cubicBezTo>
                  <a:cubicBezTo>
                    <a:pt x="9329" y="807"/>
                    <a:pt x="9455" y="868"/>
                    <a:pt x="9490" y="885"/>
                  </a:cubicBezTo>
                  <a:cubicBezTo>
                    <a:pt x="9598" y="937"/>
                    <a:pt x="9655" y="987"/>
                    <a:pt x="9655" y="1077"/>
                  </a:cubicBezTo>
                  <a:cubicBezTo>
                    <a:pt x="9655" y="1175"/>
                    <a:pt x="9564" y="1257"/>
                    <a:pt x="9425" y="1257"/>
                  </a:cubicBezTo>
                  <a:cubicBezTo>
                    <a:pt x="9227" y="1257"/>
                    <a:pt x="9120" y="1127"/>
                    <a:pt x="9102" y="1105"/>
                  </a:cubicBezTo>
                  <a:lnTo>
                    <a:pt x="8929" y="1267"/>
                  </a:lnTo>
                  <a:close/>
                  <a:moveTo>
                    <a:pt x="7727" y="1267"/>
                  </a:moveTo>
                  <a:cubicBezTo>
                    <a:pt x="7757" y="1305"/>
                    <a:pt x="7897" y="1485"/>
                    <a:pt x="8202" y="1485"/>
                  </a:cubicBezTo>
                  <a:cubicBezTo>
                    <a:pt x="8500" y="1485"/>
                    <a:pt x="8704" y="1313"/>
                    <a:pt x="8704" y="1072"/>
                  </a:cubicBezTo>
                  <a:cubicBezTo>
                    <a:pt x="8704" y="913"/>
                    <a:pt x="8642" y="787"/>
                    <a:pt x="8407" y="673"/>
                  </a:cubicBezTo>
                  <a:cubicBezTo>
                    <a:pt x="8345" y="643"/>
                    <a:pt x="8168" y="558"/>
                    <a:pt x="8168" y="558"/>
                  </a:cubicBezTo>
                  <a:cubicBezTo>
                    <a:pt x="8075" y="513"/>
                    <a:pt x="8034" y="460"/>
                    <a:pt x="8034" y="387"/>
                  </a:cubicBezTo>
                  <a:cubicBezTo>
                    <a:pt x="8034" y="310"/>
                    <a:pt x="8097" y="227"/>
                    <a:pt x="8252" y="227"/>
                  </a:cubicBezTo>
                  <a:cubicBezTo>
                    <a:pt x="8340" y="227"/>
                    <a:pt x="8407" y="255"/>
                    <a:pt x="8443" y="272"/>
                  </a:cubicBezTo>
                  <a:cubicBezTo>
                    <a:pt x="8462" y="280"/>
                    <a:pt x="8504" y="300"/>
                    <a:pt x="8543" y="300"/>
                  </a:cubicBezTo>
                  <a:cubicBezTo>
                    <a:pt x="8595" y="300"/>
                    <a:pt x="8652" y="263"/>
                    <a:pt x="8652" y="188"/>
                  </a:cubicBezTo>
                  <a:cubicBezTo>
                    <a:pt x="8652" y="125"/>
                    <a:pt x="8607" y="92"/>
                    <a:pt x="8567" y="73"/>
                  </a:cubicBezTo>
                  <a:cubicBezTo>
                    <a:pt x="8504" y="43"/>
                    <a:pt x="8404" y="0"/>
                    <a:pt x="8240" y="0"/>
                  </a:cubicBezTo>
                  <a:cubicBezTo>
                    <a:pt x="7979" y="0"/>
                    <a:pt x="7785" y="165"/>
                    <a:pt x="7785" y="395"/>
                  </a:cubicBezTo>
                  <a:cubicBezTo>
                    <a:pt x="7785" y="605"/>
                    <a:pt x="7927" y="710"/>
                    <a:pt x="8097" y="792"/>
                  </a:cubicBezTo>
                  <a:cubicBezTo>
                    <a:pt x="8130" y="807"/>
                    <a:pt x="8257" y="868"/>
                    <a:pt x="8292" y="885"/>
                  </a:cubicBezTo>
                  <a:cubicBezTo>
                    <a:pt x="8398" y="937"/>
                    <a:pt x="8455" y="987"/>
                    <a:pt x="8455" y="1077"/>
                  </a:cubicBezTo>
                  <a:cubicBezTo>
                    <a:pt x="8455" y="1175"/>
                    <a:pt x="8364" y="1257"/>
                    <a:pt x="8225" y="1257"/>
                  </a:cubicBezTo>
                  <a:cubicBezTo>
                    <a:pt x="8025" y="1257"/>
                    <a:pt x="7920" y="1127"/>
                    <a:pt x="7902" y="1105"/>
                  </a:cubicBezTo>
                  <a:lnTo>
                    <a:pt x="7727" y="1267"/>
                  </a:lnTo>
                  <a:close/>
                  <a:moveTo>
                    <a:pt x="2880" y="1267"/>
                  </a:moveTo>
                  <a:cubicBezTo>
                    <a:pt x="2910" y="1305"/>
                    <a:pt x="3049" y="1485"/>
                    <a:pt x="3354" y="1485"/>
                  </a:cubicBezTo>
                  <a:cubicBezTo>
                    <a:pt x="3654" y="1485"/>
                    <a:pt x="3857" y="1313"/>
                    <a:pt x="3857" y="1072"/>
                  </a:cubicBezTo>
                  <a:cubicBezTo>
                    <a:pt x="3857" y="913"/>
                    <a:pt x="3795" y="787"/>
                    <a:pt x="3560" y="673"/>
                  </a:cubicBezTo>
                  <a:cubicBezTo>
                    <a:pt x="3497" y="643"/>
                    <a:pt x="3322" y="558"/>
                    <a:pt x="3322" y="558"/>
                  </a:cubicBezTo>
                  <a:cubicBezTo>
                    <a:pt x="3229" y="513"/>
                    <a:pt x="3187" y="460"/>
                    <a:pt x="3187" y="387"/>
                  </a:cubicBezTo>
                  <a:cubicBezTo>
                    <a:pt x="3187" y="310"/>
                    <a:pt x="3250" y="227"/>
                    <a:pt x="3405" y="227"/>
                  </a:cubicBezTo>
                  <a:cubicBezTo>
                    <a:pt x="3493" y="227"/>
                    <a:pt x="3562" y="255"/>
                    <a:pt x="3597" y="272"/>
                  </a:cubicBezTo>
                  <a:cubicBezTo>
                    <a:pt x="3615" y="280"/>
                    <a:pt x="3657" y="300"/>
                    <a:pt x="3697" y="300"/>
                  </a:cubicBezTo>
                  <a:cubicBezTo>
                    <a:pt x="3749" y="300"/>
                    <a:pt x="3805" y="263"/>
                    <a:pt x="3805" y="188"/>
                  </a:cubicBezTo>
                  <a:cubicBezTo>
                    <a:pt x="3805" y="125"/>
                    <a:pt x="3760" y="92"/>
                    <a:pt x="3720" y="73"/>
                  </a:cubicBezTo>
                  <a:cubicBezTo>
                    <a:pt x="3657" y="43"/>
                    <a:pt x="3559" y="0"/>
                    <a:pt x="3393" y="0"/>
                  </a:cubicBezTo>
                  <a:cubicBezTo>
                    <a:pt x="3132" y="0"/>
                    <a:pt x="2939" y="165"/>
                    <a:pt x="2939" y="395"/>
                  </a:cubicBezTo>
                  <a:cubicBezTo>
                    <a:pt x="2939" y="605"/>
                    <a:pt x="3080" y="710"/>
                    <a:pt x="3250" y="792"/>
                  </a:cubicBezTo>
                  <a:cubicBezTo>
                    <a:pt x="3282" y="807"/>
                    <a:pt x="3409" y="868"/>
                    <a:pt x="3443" y="885"/>
                  </a:cubicBezTo>
                  <a:cubicBezTo>
                    <a:pt x="3552" y="937"/>
                    <a:pt x="3609" y="987"/>
                    <a:pt x="3609" y="1077"/>
                  </a:cubicBezTo>
                  <a:cubicBezTo>
                    <a:pt x="3609" y="1175"/>
                    <a:pt x="3517" y="1257"/>
                    <a:pt x="3379" y="1257"/>
                  </a:cubicBezTo>
                  <a:cubicBezTo>
                    <a:pt x="3180" y="1257"/>
                    <a:pt x="3074" y="1127"/>
                    <a:pt x="3055" y="1105"/>
                  </a:cubicBezTo>
                  <a:lnTo>
                    <a:pt x="2880" y="1267"/>
                  </a:lnTo>
                  <a:close/>
                  <a:moveTo>
                    <a:pt x="5023" y="0"/>
                  </a:moveTo>
                  <a:cubicBezTo>
                    <a:pt x="4952" y="0"/>
                    <a:pt x="4905" y="52"/>
                    <a:pt x="4905" y="113"/>
                  </a:cubicBezTo>
                  <a:lnTo>
                    <a:pt x="4905" y="1370"/>
                  </a:lnTo>
                  <a:cubicBezTo>
                    <a:pt x="4905" y="1433"/>
                    <a:pt x="4960" y="1483"/>
                    <a:pt x="5023" y="1483"/>
                  </a:cubicBezTo>
                  <a:cubicBezTo>
                    <a:pt x="5085" y="1483"/>
                    <a:pt x="5140" y="1433"/>
                    <a:pt x="5140" y="1370"/>
                  </a:cubicBezTo>
                  <a:lnTo>
                    <a:pt x="5140" y="463"/>
                  </a:lnTo>
                  <a:cubicBezTo>
                    <a:pt x="5140" y="463"/>
                    <a:pt x="5717" y="1200"/>
                    <a:pt x="5868" y="1395"/>
                  </a:cubicBezTo>
                  <a:cubicBezTo>
                    <a:pt x="5907" y="1443"/>
                    <a:pt x="5934" y="1485"/>
                    <a:pt x="6002" y="1485"/>
                  </a:cubicBezTo>
                  <a:cubicBezTo>
                    <a:pt x="6070" y="1485"/>
                    <a:pt x="6117" y="1435"/>
                    <a:pt x="6117" y="1372"/>
                  </a:cubicBezTo>
                  <a:lnTo>
                    <a:pt x="6117" y="10"/>
                  </a:lnTo>
                  <a:lnTo>
                    <a:pt x="5884" y="10"/>
                  </a:lnTo>
                  <a:lnTo>
                    <a:pt x="5884" y="1027"/>
                  </a:lnTo>
                  <a:cubicBezTo>
                    <a:pt x="5884" y="1027"/>
                    <a:pt x="5242" y="203"/>
                    <a:pt x="5152" y="88"/>
                  </a:cubicBezTo>
                  <a:cubicBezTo>
                    <a:pt x="5110" y="35"/>
                    <a:pt x="5079" y="0"/>
                    <a:pt x="5023" y="0"/>
                  </a:cubicBezTo>
                  <a:close/>
                  <a:moveTo>
                    <a:pt x="882" y="682"/>
                  </a:moveTo>
                  <a:cubicBezTo>
                    <a:pt x="924" y="702"/>
                    <a:pt x="1099" y="777"/>
                    <a:pt x="1099" y="1037"/>
                  </a:cubicBezTo>
                  <a:cubicBezTo>
                    <a:pt x="1099" y="1283"/>
                    <a:pt x="915" y="1475"/>
                    <a:pt x="652" y="1475"/>
                  </a:cubicBezTo>
                  <a:lnTo>
                    <a:pt x="0" y="1475"/>
                  </a:lnTo>
                  <a:lnTo>
                    <a:pt x="0" y="122"/>
                  </a:lnTo>
                  <a:cubicBezTo>
                    <a:pt x="0" y="53"/>
                    <a:pt x="47" y="7"/>
                    <a:pt x="115" y="7"/>
                  </a:cubicBezTo>
                  <a:lnTo>
                    <a:pt x="622" y="7"/>
                  </a:lnTo>
                  <a:cubicBezTo>
                    <a:pt x="868" y="7"/>
                    <a:pt x="1030" y="155"/>
                    <a:pt x="1030" y="380"/>
                  </a:cubicBezTo>
                  <a:cubicBezTo>
                    <a:pt x="1030" y="572"/>
                    <a:pt x="922" y="657"/>
                    <a:pt x="882" y="682"/>
                  </a:cubicBezTo>
                  <a:moveTo>
                    <a:pt x="237" y="595"/>
                  </a:moveTo>
                  <a:lnTo>
                    <a:pt x="592" y="595"/>
                  </a:lnTo>
                  <a:cubicBezTo>
                    <a:pt x="718" y="595"/>
                    <a:pt x="790" y="515"/>
                    <a:pt x="790" y="417"/>
                  </a:cubicBezTo>
                  <a:cubicBezTo>
                    <a:pt x="790" y="318"/>
                    <a:pt x="725" y="238"/>
                    <a:pt x="592" y="238"/>
                  </a:cubicBezTo>
                  <a:lnTo>
                    <a:pt x="237" y="238"/>
                  </a:lnTo>
                  <a:lnTo>
                    <a:pt x="237" y="595"/>
                  </a:lnTo>
                  <a:close/>
                  <a:moveTo>
                    <a:pt x="607" y="1250"/>
                  </a:moveTo>
                  <a:cubicBezTo>
                    <a:pt x="774" y="1250"/>
                    <a:pt x="859" y="1152"/>
                    <a:pt x="859" y="1032"/>
                  </a:cubicBezTo>
                  <a:cubicBezTo>
                    <a:pt x="859" y="910"/>
                    <a:pt x="777" y="812"/>
                    <a:pt x="607" y="812"/>
                  </a:cubicBezTo>
                  <a:lnTo>
                    <a:pt x="237" y="812"/>
                  </a:lnTo>
                  <a:lnTo>
                    <a:pt x="237" y="1250"/>
                  </a:lnTo>
                  <a:lnTo>
                    <a:pt x="607" y="1250"/>
                  </a:lnTo>
                  <a:close/>
                  <a:moveTo>
                    <a:pt x="7367" y="240"/>
                  </a:moveTo>
                  <a:cubicBezTo>
                    <a:pt x="7445" y="240"/>
                    <a:pt x="7492" y="190"/>
                    <a:pt x="7492" y="125"/>
                  </a:cubicBezTo>
                  <a:cubicBezTo>
                    <a:pt x="7492" y="60"/>
                    <a:pt x="7443" y="10"/>
                    <a:pt x="7367" y="10"/>
                  </a:cubicBezTo>
                  <a:lnTo>
                    <a:pt x="6642" y="10"/>
                  </a:lnTo>
                  <a:cubicBezTo>
                    <a:pt x="6575" y="10"/>
                    <a:pt x="6527" y="58"/>
                    <a:pt x="6527" y="125"/>
                  </a:cubicBezTo>
                  <a:lnTo>
                    <a:pt x="6527" y="1365"/>
                  </a:lnTo>
                  <a:cubicBezTo>
                    <a:pt x="6527" y="1430"/>
                    <a:pt x="6575" y="1478"/>
                    <a:pt x="6642" y="1478"/>
                  </a:cubicBezTo>
                  <a:lnTo>
                    <a:pt x="7484" y="1478"/>
                  </a:lnTo>
                  <a:lnTo>
                    <a:pt x="7484" y="1248"/>
                  </a:lnTo>
                  <a:lnTo>
                    <a:pt x="6764" y="1248"/>
                  </a:lnTo>
                  <a:lnTo>
                    <a:pt x="6764" y="822"/>
                  </a:lnTo>
                  <a:lnTo>
                    <a:pt x="7307" y="822"/>
                  </a:lnTo>
                  <a:cubicBezTo>
                    <a:pt x="7389" y="822"/>
                    <a:pt x="7435" y="773"/>
                    <a:pt x="7435" y="707"/>
                  </a:cubicBezTo>
                  <a:cubicBezTo>
                    <a:pt x="7435" y="640"/>
                    <a:pt x="7390" y="592"/>
                    <a:pt x="7307" y="592"/>
                  </a:cubicBezTo>
                  <a:lnTo>
                    <a:pt x="6764" y="592"/>
                  </a:lnTo>
                  <a:lnTo>
                    <a:pt x="6764" y="240"/>
                  </a:lnTo>
                  <a:lnTo>
                    <a:pt x="7367" y="240"/>
                  </a:lnTo>
                  <a:close/>
                  <a:moveTo>
                    <a:pt x="1635" y="893"/>
                  </a:moveTo>
                  <a:lnTo>
                    <a:pt x="1635" y="115"/>
                  </a:lnTo>
                  <a:cubicBezTo>
                    <a:pt x="1635" y="52"/>
                    <a:pt x="1589" y="0"/>
                    <a:pt x="1517" y="0"/>
                  </a:cubicBezTo>
                  <a:cubicBezTo>
                    <a:pt x="1443" y="0"/>
                    <a:pt x="1399" y="52"/>
                    <a:pt x="1399" y="115"/>
                  </a:cubicBezTo>
                  <a:lnTo>
                    <a:pt x="1399" y="885"/>
                  </a:lnTo>
                  <a:cubicBezTo>
                    <a:pt x="1399" y="1215"/>
                    <a:pt x="1630" y="1483"/>
                    <a:pt x="2002" y="1483"/>
                  </a:cubicBezTo>
                  <a:cubicBezTo>
                    <a:pt x="2372" y="1483"/>
                    <a:pt x="2605" y="1215"/>
                    <a:pt x="2605" y="885"/>
                  </a:cubicBezTo>
                  <a:lnTo>
                    <a:pt x="2605" y="7"/>
                  </a:lnTo>
                  <a:lnTo>
                    <a:pt x="2367" y="7"/>
                  </a:lnTo>
                  <a:lnTo>
                    <a:pt x="2367" y="892"/>
                  </a:lnTo>
                  <a:cubicBezTo>
                    <a:pt x="2367" y="1087"/>
                    <a:pt x="2237" y="1260"/>
                    <a:pt x="2002" y="1260"/>
                  </a:cubicBezTo>
                  <a:cubicBezTo>
                    <a:pt x="1765" y="1262"/>
                    <a:pt x="1635" y="1088"/>
                    <a:pt x="1635" y="893"/>
                  </a:cubicBezTo>
                  <a:close/>
                  <a:moveTo>
                    <a:pt x="4320" y="0"/>
                  </a:moveTo>
                  <a:cubicBezTo>
                    <a:pt x="4393" y="0"/>
                    <a:pt x="4439" y="52"/>
                    <a:pt x="4439" y="115"/>
                  </a:cubicBezTo>
                  <a:lnTo>
                    <a:pt x="4439" y="1477"/>
                  </a:lnTo>
                  <a:lnTo>
                    <a:pt x="4202" y="1477"/>
                  </a:lnTo>
                  <a:lnTo>
                    <a:pt x="4202" y="115"/>
                  </a:lnTo>
                  <a:cubicBezTo>
                    <a:pt x="4202" y="52"/>
                    <a:pt x="4247" y="0"/>
                    <a:pt x="4320" y="0"/>
                  </a:cubicBezTo>
                  <a:close/>
                </a:path>
              </a:pathLst>
            </a:custGeom>
            <a:grpFill/>
            <a:ln w="9525">
              <a:noFill/>
              <a:round/>
              <a:headEnd/>
              <a:tailEnd/>
            </a:ln>
          </p:spPr>
          <p:txBody>
            <a:bodyPr/>
            <a:lstStyle/>
            <a:p>
              <a:pPr eaLnBrk="1" fontAlgn="auto" hangingPunct="1">
                <a:spcBef>
                  <a:spcPts val="0"/>
                </a:spcBef>
                <a:spcAft>
                  <a:spcPts val="0"/>
                </a:spcAft>
                <a:defRPr/>
              </a:pPr>
              <a:endParaRPr lang="en-US">
                <a:latin typeface="+mn-lt"/>
              </a:endParaRPr>
            </a:p>
          </p:txBody>
        </p:sp>
      </p:grpSp>
      <p:sp>
        <p:nvSpPr>
          <p:cNvPr id="7" name="Picture Placeholder 5"/>
          <p:cNvSpPr>
            <a:spLocks noGrp="1"/>
          </p:cNvSpPr>
          <p:nvPr>
            <p:ph type="pic" sz="quarter" idx="11"/>
          </p:nvPr>
        </p:nvSpPr>
        <p:spPr>
          <a:xfrm>
            <a:off x="-9144" y="-4713"/>
            <a:ext cx="12207240" cy="6876288"/>
          </a:xfrm>
          <a:solidFill>
            <a:schemeClr val="bg1">
              <a:lumMod val="50000"/>
            </a:schemeClr>
          </a:solidFill>
        </p:spPr>
        <p:txBody>
          <a:bodyPr lIns="1920240" tIns="731520" rIns="1828800" rtlCol="0">
            <a:noAutofit/>
          </a:bodyPr>
          <a:lstStyle>
            <a:lvl1pPr marL="0" indent="0">
              <a:lnSpc>
                <a:spcPct val="100000"/>
              </a:lnSpc>
              <a:spcBef>
                <a:spcPts val="0"/>
              </a:spcBef>
              <a:buNone/>
              <a:defRPr sz="1800">
                <a:solidFill>
                  <a:schemeClr val="accent2"/>
                </a:solidFill>
              </a:defRPr>
            </a:lvl1pPr>
          </a:lstStyle>
          <a:p>
            <a:pPr lvl="0"/>
            <a:r>
              <a:rPr lang="en-US" noProof="0"/>
              <a:t>Click icon to add picture</a:t>
            </a:r>
            <a:endParaRPr lang="en-GB" noProof="0"/>
          </a:p>
        </p:txBody>
      </p:sp>
    </p:spTree>
    <p:extLst>
      <p:ext uri="{BB962C8B-B14F-4D97-AF65-F5344CB8AC3E}">
        <p14:creationId xmlns:p14="http://schemas.microsoft.com/office/powerpoint/2010/main" val="65049854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5_Main Blank">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A92413D-8710-44A7-A656-29F4FEA16B5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71769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4_Main Blank">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A92413D-8710-44A7-A656-29F4FEA16B54}"/>
              </a:ext>
            </a:extLst>
          </p:cNvPr>
          <p:cNvSpPr>
            <a:spLocks noGrp="1"/>
          </p:cNvSpPr>
          <p:nvPr>
            <p:ph type="title"/>
          </p:nvPr>
        </p:nvSpPr>
        <p:spPr/>
        <p:txBody>
          <a:bodyPr/>
          <a:lstStyle/>
          <a:p>
            <a:r>
              <a:rPr lang="en-US"/>
              <a:t>Click to edit Master title style</a:t>
            </a:r>
          </a:p>
        </p:txBody>
      </p:sp>
      <p:sp>
        <p:nvSpPr>
          <p:cNvPr id="8" name="Text Placeholder 7">
            <a:extLst>
              <a:ext uri="{FF2B5EF4-FFF2-40B4-BE49-F238E27FC236}">
                <a16:creationId xmlns:a16="http://schemas.microsoft.com/office/drawing/2014/main" id="{1CE9C83E-2AE6-4E6F-BCD1-413B2B24F1ED}"/>
              </a:ext>
            </a:extLst>
          </p:cNvPr>
          <p:cNvSpPr>
            <a:spLocks noGrp="1"/>
          </p:cNvSpPr>
          <p:nvPr>
            <p:ph type="body" sz="quarter" idx="10"/>
          </p:nvPr>
        </p:nvSpPr>
        <p:spPr>
          <a:xfrm>
            <a:off x="472445" y="2114546"/>
            <a:ext cx="5423863" cy="3949699"/>
          </a:xfrm>
          <a:prstGeom prst="rect">
            <a:avLst/>
          </a:prstGeom>
        </p:spPr>
        <p:txBody>
          <a:bodyPr lIns="0" tIns="0" rIns="0" bIns="0"/>
          <a:lstStyle>
            <a:lvl1pPr marL="137156" indent="-137156" algn="l">
              <a:lnSpc>
                <a:spcPct val="110000"/>
              </a:lnSpc>
              <a:spcBef>
                <a:spcPts val="0"/>
              </a:spcBef>
              <a:spcAft>
                <a:spcPts val="750"/>
              </a:spcAft>
              <a:buFont typeface="Arial" panose="020B0604020202020204" pitchFamily="34" charset="0"/>
              <a:buChar char="•"/>
              <a:defRPr sz="1050">
                <a:solidFill>
                  <a:schemeClr val="tx1"/>
                </a:solidFill>
                <a:latin typeface="+mj-lt"/>
              </a:defRPr>
            </a:lvl1pPr>
            <a:lvl2pPr marL="137156" indent="-137156" algn="l">
              <a:spcBef>
                <a:spcPts val="0"/>
              </a:spcBef>
              <a:spcAft>
                <a:spcPts val="750"/>
              </a:spcAft>
              <a:buFont typeface="Arial" panose="020B0604020202020204" pitchFamily="34" charset="0"/>
              <a:buChar char="•"/>
              <a:defRPr sz="1050">
                <a:solidFill>
                  <a:schemeClr val="tx1"/>
                </a:solidFill>
                <a:latin typeface="+mj-lt"/>
              </a:defRPr>
            </a:lvl2pPr>
            <a:lvl3pPr marL="274313" indent="-137156" algn="l">
              <a:lnSpc>
                <a:spcPct val="110000"/>
              </a:lnSpc>
              <a:spcBef>
                <a:spcPts val="0"/>
              </a:spcBef>
              <a:spcAft>
                <a:spcPts val="750"/>
              </a:spcAft>
              <a:buFont typeface="Arial" panose="020B0604020202020204" pitchFamily="34" charset="0"/>
              <a:buChar char="-"/>
              <a:defRPr sz="1050">
                <a:solidFill>
                  <a:schemeClr val="tx1"/>
                </a:solidFill>
                <a:latin typeface="+mj-lt"/>
              </a:defRPr>
            </a:lvl3pPr>
            <a:lvl4pPr marL="411470" indent="-137156" algn="l">
              <a:lnSpc>
                <a:spcPct val="110000"/>
              </a:lnSpc>
              <a:spcBef>
                <a:spcPts val="0"/>
              </a:spcBef>
              <a:spcAft>
                <a:spcPts val="750"/>
              </a:spcAft>
              <a:buFont typeface="Arial" panose="020B0604020202020204" pitchFamily="34" charset="0"/>
              <a:buChar char="-"/>
              <a:defRPr sz="1050">
                <a:solidFill>
                  <a:schemeClr val="tx1"/>
                </a:solidFill>
                <a:latin typeface="+mj-lt"/>
              </a:defRPr>
            </a:lvl4pPr>
            <a:lvl5pPr marL="548627" indent="-137156" algn="l">
              <a:lnSpc>
                <a:spcPct val="110000"/>
              </a:lnSpc>
              <a:spcBef>
                <a:spcPts val="0"/>
              </a:spcBef>
              <a:spcAft>
                <a:spcPts val="750"/>
              </a:spcAft>
              <a:buFont typeface="Arial" panose="020B0604020202020204" pitchFamily="34" charset="0"/>
              <a:buChar char="-"/>
              <a:defRPr sz="1050">
                <a:solidFill>
                  <a:schemeClr val="tx1"/>
                </a:solidFill>
                <a:latin typeface="+mj-lt"/>
              </a:defRPr>
            </a:lvl5pPr>
          </a:lstStyle>
          <a:p>
            <a:pPr lvl="0"/>
            <a:r>
              <a:rPr lang="en-US"/>
              <a:t>Edit Master text styles</a:t>
            </a:r>
          </a:p>
          <a:p>
            <a:pPr lvl="2"/>
            <a:r>
              <a:rPr lang="en-US"/>
              <a:t>Second level</a:t>
            </a:r>
          </a:p>
          <a:p>
            <a:pPr lvl="3"/>
            <a:r>
              <a:rPr lang="en-US"/>
              <a:t>Third level</a:t>
            </a:r>
          </a:p>
          <a:p>
            <a:pPr lvl="4"/>
            <a:r>
              <a:rPr lang="en-US"/>
              <a:t>Fourth level</a:t>
            </a:r>
          </a:p>
        </p:txBody>
      </p:sp>
      <p:sp>
        <p:nvSpPr>
          <p:cNvPr id="6" name="Text Placeholder 7">
            <a:extLst>
              <a:ext uri="{FF2B5EF4-FFF2-40B4-BE49-F238E27FC236}">
                <a16:creationId xmlns:a16="http://schemas.microsoft.com/office/drawing/2014/main" id="{8BBE4EBF-4A28-42C8-850D-855B28CA08B3}"/>
              </a:ext>
            </a:extLst>
          </p:cNvPr>
          <p:cNvSpPr>
            <a:spLocks noGrp="1"/>
          </p:cNvSpPr>
          <p:nvPr>
            <p:ph type="body" sz="quarter" idx="11"/>
          </p:nvPr>
        </p:nvSpPr>
        <p:spPr>
          <a:xfrm>
            <a:off x="6295702" y="2114546"/>
            <a:ext cx="5423863" cy="3949699"/>
          </a:xfrm>
          <a:prstGeom prst="rect">
            <a:avLst/>
          </a:prstGeom>
        </p:spPr>
        <p:txBody>
          <a:bodyPr lIns="0" tIns="0" rIns="0" bIns="0"/>
          <a:lstStyle>
            <a:lvl1pPr marL="137156" indent="-137156" algn="l">
              <a:lnSpc>
                <a:spcPct val="110000"/>
              </a:lnSpc>
              <a:spcBef>
                <a:spcPts val="0"/>
              </a:spcBef>
              <a:spcAft>
                <a:spcPts val="750"/>
              </a:spcAft>
              <a:buFont typeface="Arial" panose="020B0604020202020204" pitchFamily="34" charset="0"/>
              <a:buChar char="•"/>
              <a:defRPr sz="1050">
                <a:solidFill>
                  <a:schemeClr val="tx1"/>
                </a:solidFill>
                <a:latin typeface="+mj-lt"/>
              </a:defRPr>
            </a:lvl1pPr>
            <a:lvl2pPr marL="137156" indent="-137156" algn="l">
              <a:spcBef>
                <a:spcPts val="0"/>
              </a:spcBef>
              <a:spcAft>
                <a:spcPts val="750"/>
              </a:spcAft>
              <a:buFont typeface="Arial" panose="020B0604020202020204" pitchFamily="34" charset="0"/>
              <a:buChar char="•"/>
              <a:defRPr sz="1050">
                <a:solidFill>
                  <a:schemeClr val="tx1"/>
                </a:solidFill>
                <a:latin typeface="+mj-lt"/>
              </a:defRPr>
            </a:lvl2pPr>
            <a:lvl3pPr marL="274313" indent="-137156" algn="l">
              <a:lnSpc>
                <a:spcPct val="110000"/>
              </a:lnSpc>
              <a:spcBef>
                <a:spcPts val="0"/>
              </a:spcBef>
              <a:spcAft>
                <a:spcPts val="750"/>
              </a:spcAft>
              <a:buFont typeface="Arial" panose="020B0604020202020204" pitchFamily="34" charset="0"/>
              <a:buChar char="-"/>
              <a:defRPr sz="1050">
                <a:solidFill>
                  <a:schemeClr val="tx1"/>
                </a:solidFill>
                <a:latin typeface="+mj-lt"/>
              </a:defRPr>
            </a:lvl3pPr>
            <a:lvl4pPr marL="411470" indent="-137156" algn="l">
              <a:lnSpc>
                <a:spcPct val="110000"/>
              </a:lnSpc>
              <a:spcBef>
                <a:spcPts val="0"/>
              </a:spcBef>
              <a:spcAft>
                <a:spcPts val="750"/>
              </a:spcAft>
              <a:buFont typeface="Arial" panose="020B0604020202020204" pitchFamily="34" charset="0"/>
              <a:buChar char="-"/>
              <a:defRPr sz="1050">
                <a:solidFill>
                  <a:schemeClr val="tx1"/>
                </a:solidFill>
                <a:latin typeface="+mj-lt"/>
              </a:defRPr>
            </a:lvl4pPr>
            <a:lvl5pPr marL="548627" indent="-137156" algn="l">
              <a:lnSpc>
                <a:spcPct val="110000"/>
              </a:lnSpc>
              <a:spcBef>
                <a:spcPts val="0"/>
              </a:spcBef>
              <a:spcAft>
                <a:spcPts val="750"/>
              </a:spcAft>
              <a:buFont typeface="Arial" panose="020B0604020202020204" pitchFamily="34" charset="0"/>
              <a:buChar char="-"/>
              <a:defRPr sz="1050">
                <a:solidFill>
                  <a:schemeClr val="tx1"/>
                </a:solidFill>
                <a:latin typeface="+mj-lt"/>
              </a:defRPr>
            </a:lvl5pPr>
          </a:lstStyle>
          <a:p>
            <a:pPr lvl="0"/>
            <a:r>
              <a:rPr lang="en-US"/>
              <a:t>Edit Master text styles</a:t>
            </a:r>
          </a:p>
          <a:p>
            <a:pPr lvl="2"/>
            <a:r>
              <a:rPr lang="en-US"/>
              <a:t>Second level</a:t>
            </a:r>
          </a:p>
          <a:p>
            <a:pPr lvl="3"/>
            <a:r>
              <a:rPr lang="en-US"/>
              <a:t>Third level</a:t>
            </a:r>
          </a:p>
          <a:p>
            <a:pPr lvl="4"/>
            <a:r>
              <a:rPr lang="en-US"/>
              <a:t>Fourth level</a:t>
            </a:r>
          </a:p>
        </p:txBody>
      </p:sp>
      <p:sp>
        <p:nvSpPr>
          <p:cNvPr id="7" name="Text Placeholder 7">
            <a:extLst>
              <a:ext uri="{FF2B5EF4-FFF2-40B4-BE49-F238E27FC236}">
                <a16:creationId xmlns:a16="http://schemas.microsoft.com/office/drawing/2014/main" id="{73B844A1-0879-4498-8518-C12FF02DC3C9}"/>
              </a:ext>
            </a:extLst>
          </p:cNvPr>
          <p:cNvSpPr>
            <a:spLocks noGrp="1"/>
          </p:cNvSpPr>
          <p:nvPr>
            <p:ph type="body" sz="quarter" idx="12"/>
          </p:nvPr>
        </p:nvSpPr>
        <p:spPr>
          <a:xfrm>
            <a:off x="472439" y="1452555"/>
            <a:ext cx="11247120" cy="542924"/>
          </a:xfrm>
          <a:prstGeom prst="rect">
            <a:avLst/>
          </a:prstGeom>
        </p:spPr>
        <p:txBody>
          <a:bodyPr lIns="0" tIns="0" rIns="0" bIns="0"/>
          <a:lstStyle>
            <a:lvl1pPr marL="0" indent="0" algn="l">
              <a:lnSpc>
                <a:spcPct val="110000"/>
              </a:lnSpc>
              <a:spcBef>
                <a:spcPts val="0"/>
              </a:spcBef>
              <a:spcAft>
                <a:spcPts val="750"/>
              </a:spcAft>
              <a:buFont typeface="Arial" panose="020B0604020202020204" pitchFamily="34" charset="0"/>
              <a:buNone/>
              <a:defRPr sz="1350" b="1">
                <a:solidFill>
                  <a:schemeClr val="accent1"/>
                </a:solidFill>
                <a:latin typeface="+mj-lt"/>
              </a:defRPr>
            </a:lvl1pPr>
            <a:lvl2pPr marL="137156" indent="-137156" algn="l">
              <a:spcBef>
                <a:spcPts val="0"/>
              </a:spcBef>
              <a:spcAft>
                <a:spcPts val="750"/>
              </a:spcAft>
              <a:buFont typeface="Arial" panose="020B0604020202020204" pitchFamily="34" charset="0"/>
              <a:buChar char="•"/>
              <a:defRPr sz="1050">
                <a:solidFill>
                  <a:schemeClr val="tx1"/>
                </a:solidFill>
                <a:latin typeface="+mj-lt"/>
              </a:defRPr>
            </a:lvl2pPr>
            <a:lvl3pPr marL="137156" indent="0" algn="l">
              <a:lnSpc>
                <a:spcPct val="110000"/>
              </a:lnSpc>
              <a:spcBef>
                <a:spcPts val="0"/>
              </a:spcBef>
              <a:spcAft>
                <a:spcPts val="750"/>
              </a:spcAft>
              <a:buFont typeface="Arial" panose="020B0604020202020204" pitchFamily="34" charset="0"/>
              <a:buNone/>
              <a:defRPr sz="1050">
                <a:solidFill>
                  <a:schemeClr val="tx1"/>
                </a:solidFill>
                <a:latin typeface="+mj-lt"/>
              </a:defRPr>
            </a:lvl3pPr>
            <a:lvl4pPr marL="411470" indent="-137156" algn="l">
              <a:lnSpc>
                <a:spcPct val="110000"/>
              </a:lnSpc>
              <a:spcBef>
                <a:spcPts val="0"/>
              </a:spcBef>
              <a:spcAft>
                <a:spcPts val="750"/>
              </a:spcAft>
              <a:buFont typeface="Arial" panose="020B0604020202020204" pitchFamily="34" charset="0"/>
              <a:buChar char="-"/>
              <a:defRPr sz="1050">
                <a:solidFill>
                  <a:schemeClr val="tx1"/>
                </a:solidFill>
                <a:latin typeface="+mj-lt"/>
              </a:defRPr>
            </a:lvl4pPr>
            <a:lvl5pPr marL="548627" indent="-137156" algn="l">
              <a:lnSpc>
                <a:spcPct val="110000"/>
              </a:lnSpc>
              <a:spcBef>
                <a:spcPts val="0"/>
              </a:spcBef>
              <a:spcAft>
                <a:spcPts val="750"/>
              </a:spcAft>
              <a:buFont typeface="Arial" panose="020B0604020202020204" pitchFamily="34" charset="0"/>
              <a:buChar char="-"/>
              <a:defRPr sz="1050">
                <a:solidFill>
                  <a:schemeClr val="tx1"/>
                </a:solidFill>
                <a:latin typeface="+mj-lt"/>
              </a:defRPr>
            </a:lvl5pPr>
          </a:lstStyle>
          <a:p>
            <a:pPr lvl="0"/>
            <a:r>
              <a:rPr lang="en-US"/>
              <a:t>Edit Master text styles</a:t>
            </a:r>
          </a:p>
        </p:txBody>
      </p:sp>
    </p:spTree>
    <p:extLst>
      <p:ext uri="{BB962C8B-B14F-4D97-AF65-F5344CB8AC3E}">
        <p14:creationId xmlns:p14="http://schemas.microsoft.com/office/powerpoint/2010/main" val="3483190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2_Main Blank">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A92413D-8710-44A7-A656-29F4FEA16B54}"/>
              </a:ext>
            </a:extLst>
          </p:cNvPr>
          <p:cNvSpPr>
            <a:spLocks noGrp="1"/>
          </p:cNvSpPr>
          <p:nvPr>
            <p:ph type="title"/>
          </p:nvPr>
        </p:nvSpPr>
        <p:spPr/>
        <p:txBody>
          <a:bodyPr/>
          <a:lstStyle/>
          <a:p>
            <a:r>
              <a:rPr lang="en-US"/>
              <a:t>Click to edit Master title style</a:t>
            </a:r>
          </a:p>
        </p:txBody>
      </p:sp>
      <p:sp>
        <p:nvSpPr>
          <p:cNvPr id="9" name="Text Placeholder 7">
            <a:extLst>
              <a:ext uri="{FF2B5EF4-FFF2-40B4-BE49-F238E27FC236}">
                <a16:creationId xmlns:a16="http://schemas.microsoft.com/office/drawing/2014/main" id="{28163C28-FA87-4934-90BE-1AF461B038B0}"/>
              </a:ext>
            </a:extLst>
          </p:cNvPr>
          <p:cNvSpPr>
            <a:spLocks noGrp="1"/>
          </p:cNvSpPr>
          <p:nvPr>
            <p:ph type="body" sz="quarter" idx="12"/>
          </p:nvPr>
        </p:nvSpPr>
        <p:spPr>
          <a:xfrm>
            <a:off x="472440" y="1449238"/>
            <a:ext cx="5423862" cy="4715025"/>
          </a:xfrm>
          <a:prstGeom prst="rect">
            <a:avLst/>
          </a:prstGeom>
        </p:spPr>
        <p:txBody>
          <a:bodyPr lIns="0" tIns="0" rIns="0" bIns="0"/>
          <a:lstStyle>
            <a:lvl1pPr marL="0" indent="0" algn="l">
              <a:lnSpc>
                <a:spcPct val="110000"/>
              </a:lnSpc>
              <a:spcBef>
                <a:spcPts val="0"/>
              </a:spcBef>
              <a:spcAft>
                <a:spcPts val="1000"/>
              </a:spcAft>
              <a:buNone/>
              <a:defRPr sz="1800" b="1">
                <a:solidFill>
                  <a:schemeClr val="accent1"/>
                </a:solidFill>
                <a:latin typeface="+mj-lt"/>
              </a:defRPr>
            </a:lvl1pPr>
            <a:lvl2pPr marL="0" indent="0" algn="l">
              <a:lnSpc>
                <a:spcPct val="110000"/>
              </a:lnSpc>
              <a:spcBef>
                <a:spcPts val="0"/>
              </a:spcBef>
              <a:spcAft>
                <a:spcPts val="1000"/>
              </a:spcAft>
              <a:buFont typeface="Arial" panose="020B0604020202020204" pitchFamily="34" charset="0"/>
              <a:buNone/>
              <a:defRPr sz="1400" b="1">
                <a:solidFill>
                  <a:schemeClr val="tx1"/>
                </a:solidFill>
                <a:latin typeface="+mj-lt"/>
              </a:defRPr>
            </a:lvl2pPr>
            <a:lvl3pPr marL="171450" indent="-171450" algn="l">
              <a:lnSpc>
                <a:spcPct val="110000"/>
              </a:lnSpc>
              <a:spcBef>
                <a:spcPts val="0"/>
              </a:spcBef>
              <a:spcAft>
                <a:spcPts val="1000"/>
              </a:spcAft>
              <a:buFont typeface="Arial" panose="020B0604020202020204" pitchFamily="34" charset="0"/>
              <a:buChar char="•"/>
              <a:defRPr sz="1400">
                <a:solidFill>
                  <a:schemeClr val="tx1"/>
                </a:solidFill>
                <a:latin typeface="+mj-lt"/>
              </a:defRPr>
            </a:lvl3pPr>
            <a:lvl4pPr marL="344488" indent="-166688" algn="l">
              <a:lnSpc>
                <a:spcPct val="110000"/>
              </a:lnSpc>
              <a:spcBef>
                <a:spcPts val="0"/>
              </a:spcBef>
              <a:spcAft>
                <a:spcPts val="1000"/>
              </a:spcAft>
              <a:buFont typeface="Arial" panose="020B0604020202020204" pitchFamily="34" charset="0"/>
              <a:buChar char="-"/>
              <a:defRPr sz="1400">
                <a:solidFill>
                  <a:schemeClr val="tx1"/>
                </a:solidFill>
                <a:latin typeface="+mj-lt"/>
              </a:defRPr>
            </a:lvl4pPr>
            <a:lvl5pPr marL="569913" indent="-173038" algn="l">
              <a:lnSpc>
                <a:spcPct val="110000"/>
              </a:lnSpc>
              <a:spcBef>
                <a:spcPts val="0"/>
              </a:spcBef>
              <a:spcAft>
                <a:spcPts val="1000"/>
              </a:spcAft>
              <a:buFont typeface="Arial" panose="020B0604020202020204" pitchFamily="34" charset="0"/>
              <a:buChar char="-"/>
              <a:defRPr sz="1400">
                <a:solidFill>
                  <a:schemeClr val="tx1"/>
                </a:solidFill>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1226A50B-3389-4863-96A1-AB4A93F85A32}"/>
              </a:ext>
            </a:extLst>
          </p:cNvPr>
          <p:cNvSpPr>
            <a:spLocks noGrp="1"/>
          </p:cNvSpPr>
          <p:nvPr>
            <p:ph type="body" sz="quarter" idx="13"/>
          </p:nvPr>
        </p:nvSpPr>
        <p:spPr>
          <a:xfrm>
            <a:off x="6295700" y="1449237"/>
            <a:ext cx="5423862" cy="4715025"/>
          </a:xfrm>
          <a:prstGeom prst="rect">
            <a:avLst/>
          </a:prstGeom>
        </p:spPr>
        <p:txBody>
          <a:bodyPr lIns="0" tIns="0" rIns="0" bIns="0"/>
          <a:lstStyle>
            <a:lvl1pPr marL="0" indent="0" algn="l">
              <a:lnSpc>
                <a:spcPct val="110000"/>
              </a:lnSpc>
              <a:spcBef>
                <a:spcPts val="0"/>
              </a:spcBef>
              <a:spcAft>
                <a:spcPts val="1000"/>
              </a:spcAft>
              <a:buNone/>
              <a:defRPr sz="1800" b="1">
                <a:solidFill>
                  <a:schemeClr val="accent1"/>
                </a:solidFill>
                <a:latin typeface="+mj-lt"/>
              </a:defRPr>
            </a:lvl1pPr>
            <a:lvl2pPr marL="0" indent="0" algn="l">
              <a:lnSpc>
                <a:spcPct val="110000"/>
              </a:lnSpc>
              <a:spcBef>
                <a:spcPts val="0"/>
              </a:spcBef>
              <a:spcAft>
                <a:spcPts val="1000"/>
              </a:spcAft>
              <a:buFont typeface="Arial" panose="020B0604020202020204" pitchFamily="34" charset="0"/>
              <a:buNone/>
              <a:defRPr sz="1400" b="1">
                <a:solidFill>
                  <a:schemeClr val="tx1"/>
                </a:solidFill>
                <a:latin typeface="+mj-lt"/>
              </a:defRPr>
            </a:lvl2pPr>
            <a:lvl3pPr marL="171450" indent="-171450" algn="l">
              <a:lnSpc>
                <a:spcPct val="110000"/>
              </a:lnSpc>
              <a:spcBef>
                <a:spcPts val="0"/>
              </a:spcBef>
              <a:spcAft>
                <a:spcPts val="1000"/>
              </a:spcAft>
              <a:buFont typeface="Arial" panose="020B0604020202020204" pitchFamily="34" charset="0"/>
              <a:buChar char="•"/>
              <a:defRPr sz="1400">
                <a:solidFill>
                  <a:schemeClr val="tx1"/>
                </a:solidFill>
                <a:latin typeface="+mj-lt"/>
              </a:defRPr>
            </a:lvl3pPr>
            <a:lvl4pPr marL="344488" indent="-166688" algn="l">
              <a:lnSpc>
                <a:spcPct val="110000"/>
              </a:lnSpc>
              <a:spcBef>
                <a:spcPts val="0"/>
              </a:spcBef>
              <a:spcAft>
                <a:spcPts val="1000"/>
              </a:spcAft>
              <a:buFont typeface="Arial" panose="020B0604020202020204" pitchFamily="34" charset="0"/>
              <a:buChar char="-"/>
              <a:defRPr sz="1400">
                <a:solidFill>
                  <a:schemeClr val="tx1"/>
                </a:solidFill>
                <a:latin typeface="+mj-lt"/>
              </a:defRPr>
            </a:lvl4pPr>
            <a:lvl5pPr marL="569913" indent="-173038" algn="l">
              <a:lnSpc>
                <a:spcPct val="110000"/>
              </a:lnSpc>
              <a:spcBef>
                <a:spcPts val="0"/>
              </a:spcBef>
              <a:spcAft>
                <a:spcPts val="1000"/>
              </a:spcAft>
              <a:buFont typeface="Arial" panose="020B0604020202020204" pitchFamily="34" charset="0"/>
              <a:buChar char="-"/>
              <a:defRPr sz="1400">
                <a:solidFill>
                  <a:schemeClr val="tx1"/>
                </a:solidFill>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75741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image" Target="../media/image5.emf"/><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oleObject" Target="../embeddings/oleObject2.bin"/><Relationship Id="rId2" Type="http://schemas.openxmlformats.org/officeDocument/2006/relationships/slideLayout" Target="../slideLayouts/slideLayout14.xml"/><Relationship Id="rId16" Type="http://schemas.openxmlformats.org/officeDocument/2006/relationships/tags" Target="../tags/tag3.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theme" Target="../theme/theme2.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slideLayout" Target="../slideLayouts/slideLayout52.xml"/><Relationship Id="rId3" Type="http://schemas.openxmlformats.org/officeDocument/2006/relationships/slideLayout" Target="../slideLayouts/slideLayout29.xml"/><Relationship Id="rId21" Type="http://schemas.openxmlformats.org/officeDocument/2006/relationships/slideLayout" Target="../slideLayouts/slideLayout47.xml"/><Relationship Id="rId34" Type="http://schemas.openxmlformats.org/officeDocument/2006/relationships/tags" Target="../tags/tag4.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33" Type="http://schemas.openxmlformats.org/officeDocument/2006/relationships/theme" Target="../theme/theme3.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29" Type="http://schemas.openxmlformats.org/officeDocument/2006/relationships/slideLayout" Target="../slideLayouts/slideLayout55.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32" Type="http://schemas.openxmlformats.org/officeDocument/2006/relationships/slideLayout" Target="../slideLayouts/slideLayout58.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slideLayout" Target="../slideLayouts/slideLayout54.xml"/><Relationship Id="rId36" Type="http://schemas.openxmlformats.org/officeDocument/2006/relationships/image" Target="../media/image5.emf"/><Relationship Id="rId10" Type="http://schemas.openxmlformats.org/officeDocument/2006/relationships/slideLayout" Target="../slideLayouts/slideLayout36.xml"/><Relationship Id="rId19" Type="http://schemas.openxmlformats.org/officeDocument/2006/relationships/slideLayout" Target="../slideLayouts/slideLayout45.xml"/><Relationship Id="rId31" Type="http://schemas.openxmlformats.org/officeDocument/2006/relationships/slideLayout" Target="../slideLayouts/slideLayout57.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slideLayout" Target="../slideLayouts/slideLayout53.xml"/><Relationship Id="rId30" Type="http://schemas.openxmlformats.org/officeDocument/2006/relationships/slideLayout" Target="../slideLayouts/slideLayout56.xml"/><Relationship Id="rId35" Type="http://schemas.openxmlformats.org/officeDocument/2006/relationships/oleObject" Target="../embeddings/oleObject3.bin"/><Relationship Id="rId8" Type="http://schemas.openxmlformats.org/officeDocument/2006/relationships/slideLayout" Target="../slideLayouts/slideLayout3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theme" Target="../theme/theme4.xml"/><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2" Type="http://schemas.openxmlformats.org/officeDocument/2006/relationships/slideLayout" Target="../slideLayouts/slideLayout60.xml"/><Relationship Id="rId16" Type="http://schemas.openxmlformats.org/officeDocument/2006/relationships/image" Target="../media/image5.emf"/><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5" Type="http://schemas.openxmlformats.org/officeDocument/2006/relationships/oleObject" Target="../embeddings/oleObject4.bin"/><Relationship Id="rId10" Type="http://schemas.openxmlformats.org/officeDocument/2006/relationships/slideLayout" Target="../slideLayouts/slideLayout68.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tags" Target="../tags/tag5.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83.xml"/><Relationship Id="rId18" Type="http://schemas.openxmlformats.org/officeDocument/2006/relationships/slideLayout" Target="../slideLayouts/slideLayout88.xml"/><Relationship Id="rId26" Type="http://schemas.openxmlformats.org/officeDocument/2006/relationships/slideLayout" Target="../slideLayouts/slideLayout96.xml"/><Relationship Id="rId21" Type="http://schemas.openxmlformats.org/officeDocument/2006/relationships/slideLayout" Target="../slideLayouts/slideLayout91.xml"/><Relationship Id="rId34" Type="http://schemas.openxmlformats.org/officeDocument/2006/relationships/tags" Target="../tags/tag6.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5" Type="http://schemas.openxmlformats.org/officeDocument/2006/relationships/slideLayout" Target="../slideLayouts/slideLayout95.xml"/><Relationship Id="rId33" Type="http://schemas.openxmlformats.org/officeDocument/2006/relationships/theme" Target="../theme/theme5.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20" Type="http://schemas.openxmlformats.org/officeDocument/2006/relationships/slideLayout" Target="../slideLayouts/slideLayout90.xml"/><Relationship Id="rId29" Type="http://schemas.openxmlformats.org/officeDocument/2006/relationships/slideLayout" Target="../slideLayouts/slideLayout99.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24" Type="http://schemas.openxmlformats.org/officeDocument/2006/relationships/slideLayout" Target="../slideLayouts/slideLayout94.xml"/><Relationship Id="rId32" Type="http://schemas.openxmlformats.org/officeDocument/2006/relationships/slideLayout" Target="../slideLayouts/slideLayout102.xml"/><Relationship Id="rId37" Type="http://schemas.openxmlformats.org/officeDocument/2006/relationships/image" Target="../media/image9.png"/><Relationship Id="rId5" Type="http://schemas.openxmlformats.org/officeDocument/2006/relationships/slideLayout" Target="../slideLayouts/slideLayout75.xml"/><Relationship Id="rId15" Type="http://schemas.openxmlformats.org/officeDocument/2006/relationships/slideLayout" Target="../slideLayouts/slideLayout85.xml"/><Relationship Id="rId23" Type="http://schemas.openxmlformats.org/officeDocument/2006/relationships/slideLayout" Target="../slideLayouts/slideLayout93.xml"/><Relationship Id="rId28" Type="http://schemas.openxmlformats.org/officeDocument/2006/relationships/slideLayout" Target="../slideLayouts/slideLayout98.xml"/><Relationship Id="rId36" Type="http://schemas.openxmlformats.org/officeDocument/2006/relationships/image" Target="../media/image8.emf"/><Relationship Id="rId10" Type="http://schemas.openxmlformats.org/officeDocument/2006/relationships/slideLayout" Target="../slideLayouts/slideLayout80.xml"/><Relationship Id="rId19" Type="http://schemas.openxmlformats.org/officeDocument/2006/relationships/slideLayout" Target="../slideLayouts/slideLayout89.xml"/><Relationship Id="rId31" Type="http://schemas.openxmlformats.org/officeDocument/2006/relationships/slideLayout" Target="../slideLayouts/slideLayout101.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 Id="rId22" Type="http://schemas.openxmlformats.org/officeDocument/2006/relationships/slideLayout" Target="../slideLayouts/slideLayout92.xml"/><Relationship Id="rId27" Type="http://schemas.openxmlformats.org/officeDocument/2006/relationships/slideLayout" Target="../slideLayouts/slideLayout97.xml"/><Relationship Id="rId30" Type="http://schemas.openxmlformats.org/officeDocument/2006/relationships/slideLayout" Target="../slideLayouts/slideLayout100.xml"/><Relationship Id="rId35" Type="http://schemas.openxmlformats.org/officeDocument/2006/relationships/oleObject" Target="../embeddings/oleObject5.bin"/><Relationship Id="rId8" Type="http://schemas.openxmlformats.org/officeDocument/2006/relationships/slideLayout" Target="../slideLayouts/slideLayout78.xml"/><Relationship Id="rId3" Type="http://schemas.openxmlformats.org/officeDocument/2006/relationships/slideLayout" Target="../slideLayouts/slideLayout7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DE9B3A9-F410-90A1-BBBB-CD44580AC794}"/>
              </a:ext>
            </a:extLst>
          </p:cNvPr>
          <p:cNvGraphicFramePr>
            <a:graphicFrameLocks noChangeAspect="1"/>
          </p:cNvGraphicFramePr>
          <p:nvPr userDrawn="1">
            <p:custDataLst>
              <p:tags r:id="rId14"/>
            </p:custDataLst>
            <p:extLst>
              <p:ext uri="{D42A27DB-BD31-4B8C-83A1-F6EECF244321}">
                <p14:modId xmlns:p14="http://schemas.microsoft.com/office/powerpoint/2010/main" val="28960830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60" imgH="360" progId="TCLayout.ActiveDocument.1">
                  <p:embed/>
                </p:oleObj>
              </mc:Choice>
              <mc:Fallback>
                <p:oleObj name="think-cell Slide" r:id="rId15" imgW="360" imgH="360" progId="TCLayout.ActiveDocument.1">
                  <p:embed/>
                  <p:pic>
                    <p:nvPicPr>
                      <p:cNvPr id="2" name="Object 1" hidden="1">
                        <a:extLst>
                          <a:ext uri="{FF2B5EF4-FFF2-40B4-BE49-F238E27FC236}">
                            <a16:creationId xmlns:a16="http://schemas.microsoft.com/office/drawing/2014/main" id="{DDE9B3A9-F410-90A1-BBBB-CD44580AC794}"/>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E2257729-6F2F-472D-A628-3AC6323D6DD4}"/>
              </a:ext>
            </a:extLst>
          </p:cNvPr>
          <p:cNvSpPr>
            <a:spLocks noGrp="1"/>
          </p:cNvSpPr>
          <p:nvPr>
            <p:ph type="ftr" sz="quarter" idx="3"/>
          </p:nvPr>
        </p:nvSpPr>
        <p:spPr>
          <a:xfrm>
            <a:off x="463550" y="6427788"/>
            <a:ext cx="4114800" cy="198437"/>
          </a:xfrm>
          <a:prstGeom prst="rect">
            <a:avLst/>
          </a:prstGeom>
        </p:spPr>
        <p:txBody>
          <a:bodyPr vert="horz" lIns="0" tIns="0" rIns="0" bIns="0" rtlCol="0" anchor="ctr">
            <a:noAutofit/>
          </a:bodyPr>
          <a:lstStyle>
            <a:lvl1pPr algn="l" eaLnBrk="1" fontAlgn="auto" hangingPunct="1">
              <a:spcBef>
                <a:spcPts val="0"/>
              </a:spcBef>
              <a:spcAft>
                <a:spcPts val="0"/>
              </a:spcAft>
              <a:defRPr sz="800">
                <a:solidFill>
                  <a:schemeClr val="tx1"/>
                </a:solidFill>
                <a:latin typeface="+mn-lt"/>
              </a:defRPr>
            </a:lvl1pPr>
          </a:lstStyle>
          <a:p>
            <a:pPr>
              <a:defRPr/>
            </a:pPr>
            <a:r>
              <a:rPr lang="en-US"/>
              <a:t>© 2024 Comcast. All rights reserved.</a:t>
            </a:r>
          </a:p>
        </p:txBody>
      </p:sp>
      <p:sp>
        <p:nvSpPr>
          <p:cNvPr id="6" name="Slide Number Placeholder 5">
            <a:extLst>
              <a:ext uri="{FF2B5EF4-FFF2-40B4-BE49-F238E27FC236}">
                <a16:creationId xmlns:a16="http://schemas.microsoft.com/office/drawing/2014/main" id="{F37C4A8A-5A96-4192-8D21-A29D063A18A6}"/>
              </a:ext>
            </a:extLst>
          </p:cNvPr>
          <p:cNvSpPr>
            <a:spLocks noGrp="1"/>
          </p:cNvSpPr>
          <p:nvPr>
            <p:ph type="sldNum" sz="quarter" idx="4"/>
          </p:nvPr>
        </p:nvSpPr>
        <p:spPr>
          <a:xfrm>
            <a:off x="11341100" y="6424613"/>
            <a:ext cx="393700" cy="200025"/>
          </a:xfrm>
          <a:prstGeom prst="rect">
            <a:avLst/>
          </a:prstGeom>
        </p:spPr>
        <p:txBody>
          <a:bodyPr vert="horz" lIns="0" tIns="0" rIns="0" bIns="0" rtlCol="0" anchor="ctr">
            <a:noAutofit/>
          </a:bodyPr>
          <a:lstStyle>
            <a:lvl1pPr algn="r" eaLnBrk="1" fontAlgn="auto" hangingPunct="1">
              <a:spcBef>
                <a:spcPts val="0"/>
              </a:spcBef>
              <a:spcAft>
                <a:spcPts val="0"/>
              </a:spcAft>
              <a:defRPr sz="800">
                <a:solidFill>
                  <a:schemeClr val="tx2"/>
                </a:solidFill>
                <a:latin typeface="+mn-lt"/>
              </a:defRPr>
            </a:lvl1pPr>
          </a:lstStyle>
          <a:p>
            <a:pPr>
              <a:defRPr/>
            </a:pPr>
            <a:fld id="{0328BF2B-1211-4EAA-8AE9-62488A2F8B31}" type="slidenum">
              <a:rPr lang="en-US"/>
              <a:pPr>
                <a:defRPr/>
              </a:pPr>
              <a:t>‹#›</a:t>
            </a:fld>
            <a:endParaRPr lang="en-US"/>
          </a:p>
        </p:txBody>
      </p:sp>
      <p:grpSp>
        <p:nvGrpSpPr>
          <p:cNvPr id="1031" name="Group 12">
            <a:extLst>
              <a:ext uri="{FF2B5EF4-FFF2-40B4-BE49-F238E27FC236}">
                <a16:creationId xmlns:a16="http://schemas.microsoft.com/office/drawing/2014/main" id="{D41623B5-40D3-4867-8C8D-CEBECE13B611}"/>
              </a:ext>
            </a:extLst>
          </p:cNvPr>
          <p:cNvGrpSpPr>
            <a:grpSpLocks noChangeAspect="1"/>
          </p:cNvGrpSpPr>
          <p:nvPr/>
        </p:nvGrpSpPr>
        <p:grpSpPr bwMode="auto">
          <a:xfrm>
            <a:off x="8680450" y="6437313"/>
            <a:ext cx="2522538" cy="184150"/>
            <a:chOff x="288" y="4035"/>
            <a:chExt cx="1589" cy="116"/>
          </a:xfrm>
        </p:grpSpPr>
        <p:sp>
          <p:nvSpPr>
            <p:cNvPr id="1032" name="Freeform 5">
              <a:extLst>
                <a:ext uri="{FF2B5EF4-FFF2-40B4-BE49-F238E27FC236}">
                  <a16:creationId xmlns:a16="http://schemas.microsoft.com/office/drawing/2014/main" id="{9F8FC777-6C07-4901-BD42-CA701CE83A70}"/>
                </a:ext>
              </a:extLst>
            </p:cNvPr>
            <p:cNvSpPr>
              <a:spLocks noEditPoints="1"/>
            </p:cNvSpPr>
            <p:nvPr/>
          </p:nvSpPr>
          <p:spPr bwMode="auto">
            <a:xfrm>
              <a:off x="288" y="4035"/>
              <a:ext cx="769" cy="116"/>
            </a:xfrm>
            <a:custGeom>
              <a:avLst/>
              <a:gdLst>
                <a:gd name="T0" fmla="*/ 30 w 3874"/>
                <a:gd name="T1" fmla="*/ 0 h 573"/>
                <a:gd name="T2" fmla="*/ 28 w 3874"/>
                <a:gd name="T3" fmla="*/ 0 h 573"/>
                <a:gd name="T4" fmla="*/ 28 w 3874"/>
                <a:gd name="T5" fmla="*/ 0 h 573"/>
                <a:gd name="T6" fmla="*/ 29 w 3874"/>
                <a:gd name="T7" fmla="*/ 5 h 573"/>
                <a:gd name="T8" fmla="*/ 29 w 3874"/>
                <a:gd name="T9" fmla="*/ 0 h 573"/>
                <a:gd name="T10" fmla="*/ 30 w 3874"/>
                <a:gd name="T11" fmla="*/ 0 h 573"/>
                <a:gd name="T12" fmla="*/ 22 w 3874"/>
                <a:gd name="T13" fmla="*/ 0 h 573"/>
                <a:gd name="T14" fmla="*/ 20 w 3874"/>
                <a:gd name="T15" fmla="*/ 4 h 573"/>
                <a:gd name="T16" fmla="*/ 20 w 3874"/>
                <a:gd name="T17" fmla="*/ 5 h 573"/>
                <a:gd name="T18" fmla="*/ 21 w 3874"/>
                <a:gd name="T19" fmla="*/ 3 h 573"/>
                <a:gd name="T20" fmla="*/ 23 w 3874"/>
                <a:gd name="T21" fmla="*/ 5 h 573"/>
                <a:gd name="T22" fmla="*/ 22 w 3874"/>
                <a:gd name="T23" fmla="*/ 0 h 573"/>
                <a:gd name="T24" fmla="*/ 21 w 3874"/>
                <a:gd name="T25" fmla="*/ 2 h 573"/>
                <a:gd name="T26" fmla="*/ 22 w 3874"/>
                <a:gd name="T27" fmla="*/ 1 h 573"/>
                <a:gd name="T28" fmla="*/ 21 w 3874"/>
                <a:gd name="T29" fmla="*/ 2 h 573"/>
                <a:gd name="T30" fmla="*/ 14 w 3874"/>
                <a:gd name="T31" fmla="*/ 0 h 573"/>
                <a:gd name="T32" fmla="*/ 12 w 3874"/>
                <a:gd name="T33" fmla="*/ 4 h 573"/>
                <a:gd name="T34" fmla="*/ 11 w 3874"/>
                <a:gd name="T35" fmla="*/ 0 h 573"/>
                <a:gd name="T36" fmla="*/ 10 w 3874"/>
                <a:gd name="T37" fmla="*/ 4 h 573"/>
                <a:gd name="T38" fmla="*/ 10 w 3874"/>
                <a:gd name="T39" fmla="*/ 5 h 573"/>
                <a:gd name="T40" fmla="*/ 11 w 3874"/>
                <a:gd name="T41" fmla="*/ 1 h 573"/>
                <a:gd name="T42" fmla="*/ 12 w 3874"/>
                <a:gd name="T43" fmla="*/ 4 h 573"/>
                <a:gd name="T44" fmla="*/ 13 w 3874"/>
                <a:gd name="T45" fmla="*/ 1 h 573"/>
                <a:gd name="T46" fmla="*/ 15 w 3874"/>
                <a:gd name="T47" fmla="*/ 5 h 573"/>
                <a:gd name="T48" fmla="*/ 14 w 3874"/>
                <a:gd name="T49" fmla="*/ 0 h 573"/>
                <a:gd name="T50" fmla="*/ 17 w 3874"/>
                <a:gd name="T51" fmla="*/ 0 h 573"/>
                <a:gd name="T52" fmla="*/ 19 w 3874"/>
                <a:gd name="T53" fmla="*/ 1 h 573"/>
                <a:gd name="T54" fmla="*/ 19 w 3874"/>
                <a:gd name="T55" fmla="*/ 1 h 573"/>
                <a:gd name="T56" fmla="*/ 17 w 3874"/>
                <a:gd name="T57" fmla="*/ 0 h 573"/>
                <a:gd name="T58" fmla="*/ 17 w 3874"/>
                <a:gd name="T59" fmla="*/ 5 h 573"/>
                <a:gd name="T60" fmla="*/ 19 w 3874"/>
                <a:gd name="T61" fmla="*/ 4 h 573"/>
                <a:gd name="T62" fmla="*/ 16 w 3874"/>
                <a:gd name="T63" fmla="*/ 2 h 573"/>
                <a:gd name="T64" fmla="*/ 2 w 3874"/>
                <a:gd name="T65" fmla="*/ 0 h 573"/>
                <a:gd name="T66" fmla="*/ 4 w 3874"/>
                <a:gd name="T67" fmla="*/ 1 h 573"/>
                <a:gd name="T68" fmla="*/ 4 w 3874"/>
                <a:gd name="T69" fmla="*/ 1 h 573"/>
                <a:gd name="T70" fmla="*/ 4 w 3874"/>
                <a:gd name="T71" fmla="*/ 1 h 573"/>
                <a:gd name="T72" fmla="*/ 0 w 3874"/>
                <a:gd name="T73" fmla="*/ 2 h 573"/>
                <a:gd name="T74" fmla="*/ 4 w 3874"/>
                <a:gd name="T75" fmla="*/ 4 h 573"/>
                <a:gd name="T76" fmla="*/ 2 w 3874"/>
                <a:gd name="T77" fmla="*/ 4 h 573"/>
                <a:gd name="T78" fmla="*/ 2 w 3874"/>
                <a:gd name="T79" fmla="*/ 0 h 573"/>
                <a:gd name="T80" fmla="*/ 26 w 3874"/>
                <a:gd name="T81" fmla="*/ 2 h 573"/>
                <a:gd name="T82" fmla="*/ 25 w 3874"/>
                <a:gd name="T83" fmla="*/ 1 h 573"/>
                <a:gd name="T84" fmla="*/ 26 w 3874"/>
                <a:gd name="T85" fmla="*/ 1 h 573"/>
                <a:gd name="T86" fmla="*/ 27 w 3874"/>
                <a:gd name="T87" fmla="*/ 0 h 573"/>
                <a:gd name="T88" fmla="*/ 26 w 3874"/>
                <a:gd name="T89" fmla="*/ 0 h 573"/>
                <a:gd name="T90" fmla="*/ 25 w 3874"/>
                <a:gd name="T91" fmla="*/ 2 h 573"/>
                <a:gd name="T92" fmla="*/ 26 w 3874"/>
                <a:gd name="T93" fmla="*/ 3 h 573"/>
                <a:gd name="T94" fmla="*/ 24 w 3874"/>
                <a:gd name="T95" fmla="*/ 4 h 573"/>
                <a:gd name="T96" fmla="*/ 24 w 3874"/>
                <a:gd name="T97" fmla="*/ 4 h 573"/>
                <a:gd name="T98" fmla="*/ 26 w 3874"/>
                <a:gd name="T99" fmla="*/ 5 h 573"/>
                <a:gd name="T100" fmla="*/ 26 w 3874"/>
                <a:gd name="T101" fmla="*/ 2 h 573"/>
                <a:gd name="T102" fmla="*/ 7 w 3874"/>
                <a:gd name="T103" fmla="*/ 0 h 573"/>
                <a:gd name="T104" fmla="*/ 7 w 3874"/>
                <a:gd name="T105" fmla="*/ 5 h 573"/>
                <a:gd name="T106" fmla="*/ 7 w 3874"/>
                <a:gd name="T107" fmla="*/ 0 h 573"/>
                <a:gd name="T108" fmla="*/ 7 w 3874"/>
                <a:gd name="T109" fmla="*/ 4 h 573"/>
                <a:gd name="T110" fmla="*/ 7 w 3874"/>
                <a:gd name="T111" fmla="*/ 0 h 573"/>
                <a:gd name="T112" fmla="*/ 7 w 3874"/>
                <a:gd name="T113" fmla="*/ 4 h 57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874" h="573">
                  <a:moveTo>
                    <a:pt x="3874" y="31"/>
                  </a:moveTo>
                  <a:lnTo>
                    <a:pt x="3874" y="31"/>
                  </a:lnTo>
                  <a:cubicBezTo>
                    <a:pt x="3874" y="16"/>
                    <a:pt x="3861" y="3"/>
                    <a:pt x="3846" y="3"/>
                  </a:cubicBezTo>
                  <a:lnTo>
                    <a:pt x="3527" y="3"/>
                  </a:lnTo>
                  <a:cubicBezTo>
                    <a:pt x="3512" y="3"/>
                    <a:pt x="3499" y="15"/>
                    <a:pt x="3499" y="31"/>
                  </a:cubicBezTo>
                  <a:cubicBezTo>
                    <a:pt x="3499" y="47"/>
                    <a:pt x="3511" y="59"/>
                    <a:pt x="3527" y="59"/>
                  </a:cubicBezTo>
                  <a:lnTo>
                    <a:pt x="3661" y="59"/>
                  </a:lnTo>
                  <a:lnTo>
                    <a:pt x="3661" y="569"/>
                  </a:lnTo>
                  <a:lnTo>
                    <a:pt x="3713" y="569"/>
                  </a:lnTo>
                  <a:lnTo>
                    <a:pt x="3713" y="59"/>
                  </a:lnTo>
                  <a:lnTo>
                    <a:pt x="3846" y="59"/>
                  </a:lnTo>
                  <a:cubicBezTo>
                    <a:pt x="3862" y="60"/>
                    <a:pt x="3874" y="47"/>
                    <a:pt x="3874" y="31"/>
                  </a:cubicBezTo>
                  <a:close/>
                  <a:moveTo>
                    <a:pt x="2759" y="0"/>
                  </a:moveTo>
                  <a:lnTo>
                    <a:pt x="2759" y="0"/>
                  </a:lnTo>
                  <a:cubicBezTo>
                    <a:pt x="2748" y="0"/>
                    <a:pt x="2741" y="7"/>
                    <a:pt x="2735" y="16"/>
                  </a:cubicBezTo>
                  <a:cubicBezTo>
                    <a:pt x="2731" y="26"/>
                    <a:pt x="2523" y="538"/>
                    <a:pt x="2523" y="538"/>
                  </a:cubicBezTo>
                  <a:cubicBezTo>
                    <a:pt x="2522" y="541"/>
                    <a:pt x="2521" y="544"/>
                    <a:pt x="2521" y="547"/>
                  </a:cubicBezTo>
                  <a:cubicBezTo>
                    <a:pt x="2521" y="562"/>
                    <a:pt x="2532" y="573"/>
                    <a:pt x="2547" y="573"/>
                  </a:cubicBezTo>
                  <a:cubicBezTo>
                    <a:pt x="2558" y="573"/>
                    <a:pt x="2567" y="566"/>
                    <a:pt x="2570" y="556"/>
                  </a:cubicBezTo>
                  <a:lnTo>
                    <a:pt x="2651" y="359"/>
                  </a:lnTo>
                  <a:lnTo>
                    <a:pt x="2868" y="359"/>
                  </a:lnTo>
                  <a:lnTo>
                    <a:pt x="2954" y="569"/>
                  </a:lnTo>
                  <a:lnTo>
                    <a:pt x="3009" y="569"/>
                  </a:lnTo>
                  <a:cubicBezTo>
                    <a:pt x="3009" y="569"/>
                    <a:pt x="2788" y="25"/>
                    <a:pt x="2784" y="16"/>
                  </a:cubicBezTo>
                  <a:cubicBezTo>
                    <a:pt x="2779" y="7"/>
                    <a:pt x="2770" y="0"/>
                    <a:pt x="2759" y="0"/>
                  </a:cubicBezTo>
                  <a:close/>
                  <a:moveTo>
                    <a:pt x="2675" y="302"/>
                  </a:moveTo>
                  <a:lnTo>
                    <a:pt x="2675" y="302"/>
                  </a:lnTo>
                  <a:lnTo>
                    <a:pt x="2760" y="93"/>
                  </a:lnTo>
                  <a:lnTo>
                    <a:pt x="2845" y="302"/>
                  </a:lnTo>
                  <a:lnTo>
                    <a:pt x="2675" y="302"/>
                  </a:lnTo>
                  <a:close/>
                  <a:moveTo>
                    <a:pt x="1742" y="0"/>
                  </a:moveTo>
                  <a:lnTo>
                    <a:pt x="1742" y="0"/>
                  </a:lnTo>
                  <a:cubicBezTo>
                    <a:pt x="1731" y="0"/>
                    <a:pt x="1723" y="7"/>
                    <a:pt x="1718" y="16"/>
                  </a:cubicBezTo>
                  <a:cubicBezTo>
                    <a:pt x="1714" y="25"/>
                    <a:pt x="1549" y="430"/>
                    <a:pt x="1549" y="430"/>
                  </a:cubicBezTo>
                  <a:cubicBezTo>
                    <a:pt x="1549" y="430"/>
                    <a:pt x="1385" y="24"/>
                    <a:pt x="1381" y="16"/>
                  </a:cubicBezTo>
                  <a:cubicBezTo>
                    <a:pt x="1376" y="7"/>
                    <a:pt x="1368" y="0"/>
                    <a:pt x="1357" y="0"/>
                  </a:cubicBezTo>
                  <a:cubicBezTo>
                    <a:pt x="1345" y="0"/>
                    <a:pt x="1335" y="9"/>
                    <a:pt x="1332" y="21"/>
                  </a:cubicBezTo>
                  <a:cubicBezTo>
                    <a:pt x="1329" y="33"/>
                    <a:pt x="1237" y="543"/>
                    <a:pt x="1237" y="543"/>
                  </a:cubicBezTo>
                  <a:cubicBezTo>
                    <a:pt x="1237" y="545"/>
                    <a:pt x="1236" y="546"/>
                    <a:pt x="1236" y="548"/>
                  </a:cubicBezTo>
                  <a:cubicBezTo>
                    <a:pt x="1236" y="562"/>
                    <a:pt x="1247" y="573"/>
                    <a:pt x="1261" y="573"/>
                  </a:cubicBezTo>
                  <a:cubicBezTo>
                    <a:pt x="1273" y="573"/>
                    <a:pt x="1284" y="564"/>
                    <a:pt x="1286" y="553"/>
                  </a:cubicBezTo>
                  <a:lnTo>
                    <a:pt x="1366" y="116"/>
                  </a:lnTo>
                  <a:cubicBezTo>
                    <a:pt x="1366" y="116"/>
                    <a:pt x="1521" y="498"/>
                    <a:pt x="1526" y="507"/>
                  </a:cubicBezTo>
                  <a:cubicBezTo>
                    <a:pt x="1530" y="516"/>
                    <a:pt x="1538" y="523"/>
                    <a:pt x="1549" y="523"/>
                  </a:cubicBezTo>
                  <a:cubicBezTo>
                    <a:pt x="1560" y="523"/>
                    <a:pt x="1569" y="516"/>
                    <a:pt x="1573" y="507"/>
                  </a:cubicBezTo>
                  <a:cubicBezTo>
                    <a:pt x="1578" y="498"/>
                    <a:pt x="1732" y="116"/>
                    <a:pt x="1732" y="116"/>
                  </a:cubicBezTo>
                  <a:lnTo>
                    <a:pt x="1816" y="570"/>
                  </a:lnTo>
                  <a:lnTo>
                    <a:pt x="1868" y="570"/>
                  </a:lnTo>
                  <a:cubicBezTo>
                    <a:pt x="1868" y="570"/>
                    <a:pt x="1770" y="33"/>
                    <a:pt x="1767" y="21"/>
                  </a:cubicBezTo>
                  <a:cubicBezTo>
                    <a:pt x="1763" y="9"/>
                    <a:pt x="1754" y="0"/>
                    <a:pt x="1742" y="0"/>
                  </a:cubicBezTo>
                  <a:close/>
                  <a:moveTo>
                    <a:pt x="2226" y="57"/>
                  </a:moveTo>
                  <a:lnTo>
                    <a:pt x="2226" y="57"/>
                  </a:lnTo>
                  <a:cubicBezTo>
                    <a:pt x="2288" y="57"/>
                    <a:pt x="2345" y="80"/>
                    <a:pt x="2389" y="124"/>
                  </a:cubicBezTo>
                  <a:cubicBezTo>
                    <a:pt x="2399" y="134"/>
                    <a:pt x="2419" y="134"/>
                    <a:pt x="2429" y="124"/>
                  </a:cubicBezTo>
                  <a:cubicBezTo>
                    <a:pt x="2434" y="119"/>
                    <a:pt x="2437" y="112"/>
                    <a:pt x="2437" y="104"/>
                  </a:cubicBezTo>
                  <a:cubicBezTo>
                    <a:pt x="2437" y="96"/>
                    <a:pt x="2434" y="89"/>
                    <a:pt x="2429" y="84"/>
                  </a:cubicBezTo>
                  <a:lnTo>
                    <a:pt x="2426" y="80"/>
                  </a:lnTo>
                  <a:cubicBezTo>
                    <a:pt x="2372" y="29"/>
                    <a:pt x="2301" y="0"/>
                    <a:pt x="2226" y="0"/>
                  </a:cubicBezTo>
                  <a:cubicBezTo>
                    <a:pt x="2069" y="0"/>
                    <a:pt x="1940" y="129"/>
                    <a:pt x="1940" y="287"/>
                  </a:cubicBezTo>
                  <a:cubicBezTo>
                    <a:pt x="1940" y="445"/>
                    <a:pt x="2069" y="573"/>
                    <a:pt x="2226" y="573"/>
                  </a:cubicBezTo>
                  <a:cubicBezTo>
                    <a:pt x="2310" y="573"/>
                    <a:pt x="2385" y="538"/>
                    <a:pt x="2437" y="480"/>
                  </a:cubicBezTo>
                  <a:lnTo>
                    <a:pt x="2397" y="440"/>
                  </a:lnTo>
                  <a:cubicBezTo>
                    <a:pt x="2355" y="487"/>
                    <a:pt x="2294" y="516"/>
                    <a:pt x="2226" y="516"/>
                  </a:cubicBezTo>
                  <a:cubicBezTo>
                    <a:pt x="2100" y="516"/>
                    <a:pt x="1996" y="413"/>
                    <a:pt x="1996" y="286"/>
                  </a:cubicBezTo>
                  <a:cubicBezTo>
                    <a:pt x="1996" y="160"/>
                    <a:pt x="2100" y="57"/>
                    <a:pt x="2226" y="57"/>
                  </a:cubicBezTo>
                  <a:close/>
                  <a:moveTo>
                    <a:pt x="285" y="57"/>
                  </a:moveTo>
                  <a:lnTo>
                    <a:pt x="285" y="57"/>
                  </a:lnTo>
                  <a:cubicBezTo>
                    <a:pt x="347" y="57"/>
                    <a:pt x="404" y="80"/>
                    <a:pt x="448" y="124"/>
                  </a:cubicBezTo>
                  <a:cubicBezTo>
                    <a:pt x="459" y="134"/>
                    <a:pt x="478" y="134"/>
                    <a:pt x="488" y="124"/>
                  </a:cubicBezTo>
                  <a:cubicBezTo>
                    <a:pt x="494" y="119"/>
                    <a:pt x="497" y="112"/>
                    <a:pt x="497" y="104"/>
                  </a:cubicBezTo>
                  <a:cubicBezTo>
                    <a:pt x="497" y="96"/>
                    <a:pt x="494" y="89"/>
                    <a:pt x="488" y="84"/>
                  </a:cubicBezTo>
                  <a:lnTo>
                    <a:pt x="485" y="80"/>
                  </a:lnTo>
                  <a:cubicBezTo>
                    <a:pt x="431" y="29"/>
                    <a:pt x="361" y="0"/>
                    <a:pt x="286" y="0"/>
                  </a:cubicBezTo>
                  <a:cubicBezTo>
                    <a:pt x="128" y="0"/>
                    <a:pt x="0" y="129"/>
                    <a:pt x="0" y="287"/>
                  </a:cubicBezTo>
                  <a:cubicBezTo>
                    <a:pt x="0" y="445"/>
                    <a:pt x="128" y="573"/>
                    <a:pt x="286" y="573"/>
                  </a:cubicBezTo>
                  <a:cubicBezTo>
                    <a:pt x="369" y="573"/>
                    <a:pt x="444" y="538"/>
                    <a:pt x="497" y="480"/>
                  </a:cubicBezTo>
                  <a:lnTo>
                    <a:pt x="457" y="440"/>
                  </a:lnTo>
                  <a:cubicBezTo>
                    <a:pt x="415" y="487"/>
                    <a:pt x="353" y="516"/>
                    <a:pt x="286" y="516"/>
                  </a:cubicBezTo>
                  <a:cubicBezTo>
                    <a:pt x="159" y="516"/>
                    <a:pt x="56" y="413"/>
                    <a:pt x="56" y="286"/>
                  </a:cubicBezTo>
                  <a:cubicBezTo>
                    <a:pt x="55" y="160"/>
                    <a:pt x="159" y="57"/>
                    <a:pt x="285" y="57"/>
                  </a:cubicBezTo>
                  <a:close/>
                  <a:moveTo>
                    <a:pt x="3341" y="290"/>
                  </a:moveTo>
                  <a:lnTo>
                    <a:pt x="3341" y="290"/>
                  </a:lnTo>
                  <a:cubicBezTo>
                    <a:pt x="3326" y="282"/>
                    <a:pt x="3233" y="234"/>
                    <a:pt x="3219" y="227"/>
                  </a:cubicBezTo>
                  <a:cubicBezTo>
                    <a:pt x="3170" y="201"/>
                    <a:pt x="3152" y="179"/>
                    <a:pt x="3152" y="142"/>
                  </a:cubicBezTo>
                  <a:cubicBezTo>
                    <a:pt x="3152" y="90"/>
                    <a:pt x="3195" y="56"/>
                    <a:pt x="3262" y="56"/>
                  </a:cubicBezTo>
                  <a:cubicBezTo>
                    <a:pt x="3301" y="56"/>
                    <a:pt x="3339" y="73"/>
                    <a:pt x="3361" y="86"/>
                  </a:cubicBezTo>
                  <a:cubicBezTo>
                    <a:pt x="3365" y="88"/>
                    <a:pt x="3370" y="89"/>
                    <a:pt x="3374" y="89"/>
                  </a:cubicBezTo>
                  <a:cubicBezTo>
                    <a:pt x="3390" y="89"/>
                    <a:pt x="3403" y="77"/>
                    <a:pt x="3403" y="61"/>
                  </a:cubicBezTo>
                  <a:cubicBezTo>
                    <a:pt x="3403" y="51"/>
                    <a:pt x="3397" y="42"/>
                    <a:pt x="3388" y="37"/>
                  </a:cubicBezTo>
                  <a:cubicBezTo>
                    <a:pt x="3361" y="21"/>
                    <a:pt x="3313" y="0"/>
                    <a:pt x="3262" y="0"/>
                  </a:cubicBezTo>
                  <a:cubicBezTo>
                    <a:pt x="3165" y="0"/>
                    <a:pt x="3097" y="58"/>
                    <a:pt x="3097" y="142"/>
                  </a:cubicBezTo>
                  <a:cubicBezTo>
                    <a:pt x="3097" y="217"/>
                    <a:pt x="3146" y="252"/>
                    <a:pt x="3194" y="277"/>
                  </a:cubicBezTo>
                  <a:cubicBezTo>
                    <a:pt x="3208" y="284"/>
                    <a:pt x="3302" y="333"/>
                    <a:pt x="3317" y="340"/>
                  </a:cubicBezTo>
                  <a:cubicBezTo>
                    <a:pt x="3354" y="360"/>
                    <a:pt x="3375" y="390"/>
                    <a:pt x="3375" y="423"/>
                  </a:cubicBezTo>
                  <a:cubicBezTo>
                    <a:pt x="3375" y="468"/>
                    <a:pt x="3337" y="516"/>
                    <a:pt x="3266" y="516"/>
                  </a:cubicBezTo>
                  <a:cubicBezTo>
                    <a:pt x="3196" y="516"/>
                    <a:pt x="3143" y="470"/>
                    <a:pt x="3129" y="456"/>
                  </a:cubicBezTo>
                  <a:lnTo>
                    <a:pt x="3124" y="451"/>
                  </a:lnTo>
                  <a:lnTo>
                    <a:pt x="3082" y="489"/>
                  </a:lnTo>
                  <a:lnTo>
                    <a:pt x="3087" y="494"/>
                  </a:lnTo>
                  <a:cubicBezTo>
                    <a:pt x="3106" y="512"/>
                    <a:pt x="3173" y="572"/>
                    <a:pt x="3266" y="572"/>
                  </a:cubicBezTo>
                  <a:cubicBezTo>
                    <a:pt x="3369" y="572"/>
                    <a:pt x="3431" y="496"/>
                    <a:pt x="3431" y="422"/>
                  </a:cubicBezTo>
                  <a:cubicBezTo>
                    <a:pt x="3431" y="368"/>
                    <a:pt x="3398" y="320"/>
                    <a:pt x="3341" y="290"/>
                  </a:cubicBezTo>
                  <a:close/>
                  <a:moveTo>
                    <a:pt x="872" y="0"/>
                  </a:moveTo>
                  <a:lnTo>
                    <a:pt x="872" y="0"/>
                  </a:lnTo>
                  <a:cubicBezTo>
                    <a:pt x="715" y="0"/>
                    <a:pt x="586" y="129"/>
                    <a:pt x="586" y="287"/>
                  </a:cubicBezTo>
                  <a:cubicBezTo>
                    <a:pt x="586" y="445"/>
                    <a:pt x="715" y="573"/>
                    <a:pt x="872" y="573"/>
                  </a:cubicBezTo>
                  <a:cubicBezTo>
                    <a:pt x="1030" y="573"/>
                    <a:pt x="1159" y="445"/>
                    <a:pt x="1159" y="287"/>
                  </a:cubicBezTo>
                  <a:cubicBezTo>
                    <a:pt x="1159" y="129"/>
                    <a:pt x="1030" y="0"/>
                    <a:pt x="872" y="0"/>
                  </a:cubicBezTo>
                  <a:close/>
                  <a:moveTo>
                    <a:pt x="872" y="516"/>
                  </a:moveTo>
                  <a:lnTo>
                    <a:pt x="872" y="516"/>
                  </a:lnTo>
                  <a:cubicBezTo>
                    <a:pt x="746" y="516"/>
                    <a:pt x="642" y="413"/>
                    <a:pt x="642" y="286"/>
                  </a:cubicBezTo>
                  <a:cubicBezTo>
                    <a:pt x="642" y="159"/>
                    <a:pt x="746" y="56"/>
                    <a:pt x="872" y="56"/>
                  </a:cubicBezTo>
                  <a:cubicBezTo>
                    <a:pt x="999" y="56"/>
                    <a:pt x="1103" y="159"/>
                    <a:pt x="1103" y="286"/>
                  </a:cubicBezTo>
                  <a:cubicBezTo>
                    <a:pt x="1102" y="413"/>
                    <a:pt x="999" y="516"/>
                    <a:pt x="872" y="516"/>
                  </a:cubicBezTo>
                  <a:close/>
                </a:path>
              </a:pathLst>
            </a:custGeom>
            <a:solidFill>
              <a:srgbClr val="112F64"/>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n-US"/>
            </a:p>
          </p:txBody>
        </p:sp>
        <p:sp>
          <p:nvSpPr>
            <p:cNvPr id="1033" name="Freeform 6">
              <a:extLst>
                <a:ext uri="{FF2B5EF4-FFF2-40B4-BE49-F238E27FC236}">
                  <a16:creationId xmlns:a16="http://schemas.microsoft.com/office/drawing/2014/main" id="{0E771B63-114C-4BCC-9117-A7E23615B29B}"/>
                </a:ext>
              </a:extLst>
            </p:cNvPr>
            <p:cNvSpPr>
              <a:spLocks noEditPoints="1"/>
            </p:cNvSpPr>
            <p:nvPr/>
          </p:nvSpPr>
          <p:spPr bwMode="auto">
            <a:xfrm>
              <a:off x="1114" y="4035"/>
              <a:ext cx="763" cy="116"/>
            </a:xfrm>
            <a:custGeom>
              <a:avLst/>
              <a:gdLst>
                <a:gd name="T0" fmla="*/ 29 w 3842"/>
                <a:gd name="T1" fmla="*/ 5 h 576"/>
                <a:gd name="T2" fmla="*/ 28 w 3842"/>
                <a:gd name="T3" fmla="*/ 2 h 576"/>
                <a:gd name="T4" fmla="*/ 29 w 3842"/>
                <a:gd name="T5" fmla="*/ 1 h 576"/>
                <a:gd name="T6" fmla="*/ 30 w 3842"/>
                <a:gd name="T7" fmla="*/ 0 h 576"/>
                <a:gd name="T8" fmla="*/ 28 w 3842"/>
                <a:gd name="T9" fmla="*/ 2 h 576"/>
                <a:gd name="T10" fmla="*/ 29 w 3842"/>
                <a:gd name="T11" fmla="*/ 4 h 576"/>
                <a:gd name="T12" fmla="*/ 23 w 3842"/>
                <a:gd name="T13" fmla="*/ 4 h 576"/>
                <a:gd name="T14" fmla="*/ 26 w 3842"/>
                <a:gd name="T15" fmla="*/ 3 h 576"/>
                <a:gd name="T16" fmla="*/ 24 w 3842"/>
                <a:gd name="T17" fmla="*/ 1 h 576"/>
                <a:gd name="T18" fmla="*/ 26 w 3842"/>
                <a:gd name="T19" fmla="*/ 1 h 576"/>
                <a:gd name="T20" fmla="*/ 25 w 3842"/>
                <a:gd name="T21" fmla="*/ 0 h 576"/>
                <a:gd name="T22" fmla="*/ 25 w 3842"/>
                <a:gd name="T23" fmla="*/ 3 h 576"/>
                <a:gd name="T24" fmla="*/ 24 w 3842"/>
                <a:gd name="T25" fmla="*/ 3 h 576"/>
                <a:gd name="T26" fmla="*/ 9 w 3842"/>
                <a:gd name="T27" fmla="*/ 4 h 576"/>
                <a:gd name="T28" fmla="*/ 11 w 3842"/>
                <a:gd name="T29" fmla="*/ 2 h 576"/>
                <a:gd name="T30" fmla="*/ 10 w 3842"/>
                <a:gd name="T31" fmla="*/ 1 h 576"/>
                <a:gd name="T32" fmla="*/ 12 w 3842"/>
                <a:gd name="T33" fmla="*/ 1 h 576"/>
                <a:gd name="T34" fmla="*/ 9 w 3842"/>
                <a:gd name="T35" fmla="*/ 1 h 576"/>
                <a:gd name="T36" fmla="*/ 11 w 3842"/>
                <a:gd name="T37" fmla="*/ 3 h 576"/>
                <a:gd name="T38" fmla="*/ 9 w 3842"/>
                <a:gd name="T39" fmla="*/ 4 h 576"/>
                <a:gd name="T40" fmla="*/ 15 w 3842"/>
                <a:gd name="T41" fmla="*/ 0 h 576"/>
                <a:gd name="T42" fmla="*/ 16 w 3842"/>
                <a:gd name="T43" fmla="*/ 4 h 576"/>
                <a:gd name="T44" fmla="*/ 18 w 3842"/>
                <a:gd name="T45" fmla="*/ 5 h 576"/>
                <a:gd name="T46" fmla="*/ 18 w 3842"/>
                <a:gd name="T47" fmla="*/ 0 h 576"/>
                <a:gd name="T48" fmla="*/ 15 w 3842"/>
                <a:gd name="T49" fmla="*/ 0 h 576"/>
                <a:gd name="T50" fmla="*/ 3 w 3842"/>
                <a:gd name="T51" fmla="*/ 3 h 576"/>
                <a:gd name="T52" fmla="*/ 0 w 3842"/>
                <a:gd name="T53" fmla="*/ 0 h 576"/>
                <a:gd name="T54" fmla="*/ 3 w 3842"/>
                <a:gd name="T55" fmla="*/ 1 h 576"/>
                <a:gd name="T56" fmla="*/ 1 w 3842"/>
                <a:gd name="T57" fmla="*/ 2 h 576"/>
                <a:gd name="T58" fmla="*/ 2 w 3842"/>
                <a:gd name="T59" fmla="*/ 1 h 576"/>
                <a:gd name="T60" fmla="*/ 2 w 3842"/>
                <a:gd name="T61" fmla="*/ 4 h 576"/>
                <a:gd name="T62" fmla="*/ 2 w 3842"/>
                <a:gd name="T63" fmla="*/ 3 h 576"/>
                <a:gd name="T64" fmla="*/ 2 w 3842"/>
                <a:gd name="T65" fmla="*/ 4 h 576"/>
                <a:gd name="T66" fmla="*/ 23 w 3842"/>
                <a:gd name="T67" fmla="*/ 0 h 576"/>
                <a:gd name="T68" fmla="*/ 20 w 3842"/>
                <a:gd name="T69" fmla="*/ 0 h 576"/>
                <a:gd name="T70" fmla="*/ 23 w 3842"/>
                <a:gd name="T71" fmla="*/ 5 h 576"/>
                <a:gd name="T72" fmla="*/ 20 w 3842"/>
                <a:gd name="T73" fmla="*/ 3 h 576"/>
                <a:gd name="T74" fmla="*/ 22 w 3842"/>
                <a:gd name="T75" fmla="*/ 2 h 576"/>
                <a:gd name="T76" fmla="*/ 22 w 3842"/>
                <a:gd name="T77" fmla="*/ 1 h 576"/>
                <a:gd name="T78" fmla="*/ 5 w 3842"/>
                <a:gd name="T79" fmla="*/ 0 h 576"/>
                <a:gd name="T80" fmla="*/ 4 w 3842"/>
                <a:gd name="T81" fmla="*/ 3 h 576"/>
                <a:gd name="T82" fmla="*/ 8 w 3842"/>
                <a:gd name="T83" fmla="*/ 0 h 576"/>
                <a:gd name="T84" fmla="*/ 6 w 3842"/>
                <a:gd name="T85" fmla="*/ 4 h 576"/>
                <a:gd name="T86" fmla="*/ 13 w 3842"/>
                <a:gd name="T87" fmla="*/ 0 h 576"/>
                <a:gd name="T88" fmla="*/ 13 w 3842"/>
                <a:gd name="T89" fmla="*/ 5 h 57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3842" h="576">
                  <a:moveTo>
                    <a:pt x="3464" y="491"/>
                  </a:moveTo>
                  <a:lnTo>
                    <a:pt x="3464" y="491"/>
                  </a:lnTo>
                  <a:cubicBezTo>
                    <a:pt x="3475" y="506"/>
                    <a:pt x="3529" y="576"/>
                    <a:pt x="3647" y="576"/>
                  </a:cubicBezTo>
                  <a:cubicBezTo>
                    <a:pt x="3763" y="576"/>
                    <a:pt x="3842" y="509"/>
                    <a:pt x="3842" y="415"/>
                  </a:cubicBezTo>
                  <a:cubicBezTo>
                    <a:pt x="3842" y="354"/>
                    <a:pt x="3818" y="305"/>
                    <a:pt x="3727" y="261"/>
                  </a:cubicBezTo>
                  <a:cubicBezTo>
                    <a:pt x="3703" y="249"/>
                    <a:pt x="3634" y="216"/>
                    <a:pt x="3634" y="216"/>
                  </a:cubicBezTo>
                  <a:cubicBezTo>
                    <a:pt x="3599" y="199"/>
                    <a:pt x="3583" y="178"/>
                    <a:pt x="3583" y="149"/>
                  </a:cubicBezTo>
                  <a:cubicBezTo>
                    <a:pt x="3583" y="120"/>
                    <a:pt x="3607" y="87"/>
                    <a:pt x="3667" y="87"/>
                  </a:cubicBezTo>
                  <a:cubicBezTo>
                    <a:pt x="3701" y="87"/>
                    <a:pt x="3727" y="98"/>
                    <a:pt x="3742" y="105"/>
                  </a:cubicBezTo>
                  <a:cubicBezTo>
                    <a:pt x="3748" y="108"/>
                    <a:pt x="3764" y="116"/>
                    <a:pt x="3780" y="116"/>
                  </a:cubicBezTo>
                  <a:cubicBezTo>
                    <a:pt x="3800" y="116"/>
                    <a:pt x="3822" y="102"/>
                    <a:pt x="3822" y="72"/>
                  </a:cubicBezTo>
                  <a:cubicBezTo>
                    <a:pt x="3822" y="48"/>
                    <a:pt x="3804" y="35"/>
                    <a:pt x="3789" y="28"/>
                  </a:cubicBezTo>
                  <a:cubicBezTo>
                    <a:pt x="3764" y="16"/>
                    <a:pt x="3726" y="0"/>
                    <a:pt x="3662" y="0"/>
                  </a:cubicBezTo>
                  <a:cubicBezTo>
                    <a:pt x="3561" y="0"/>
                    <a:pt x="3486" y="63"/>
                    <a:pt x="3486" y="153"/>
                  </a:cubicBezTo>
                  <a:cubicBezTo>
                    <a:pt x="3486" y="234"/>
                    <a:pt x="3540" y="275"/>
                    <a:pt x="3606" y="307"/>
                  </a:cubicBezTo>
                  <a:cubicBezTo>
                    <a:pt x="3619" y="312"/>
                    <a:pt x="3668" y="336"/>
                    <a:pt x="3681" y="343"/>
                  </a:cubicBezTo>
                  <a:cubicBezTo>
                    <a:pt x="3724" y="363"/>
                    <a:pt x="3746" y="382"/>
                    <a:pt x="3746" y="417"/>
                  </a:cubicBezTo>
                  <a:cubicBezTo>
                    <a:pt x="3746" y="455"/>
                    <a:pt x="3710" y="487"/>
                    <a:pt x="3656" y="487"/>
                  </a:cubicBezTo>
                  <a:cubicBezTo>
                    <a:pt x="3579" y="487"/>
                    <a:pt x="3538" y="436"/>
                    <a:pt x="3531" y="428"/>
                  </a:cubicBezTo>
                  <a:lnTo>
                    <a:pt x="3464" y="491"/>
                  </a:lnTo>
                  <a:close/>
                  <a:moveTo>
                    <a:pt x="2997" y="491"/>
                  </a:moveTo>
                  <a:lnTo>
                    <a:pt x="2997" y="491"/>
                  </a:lnTo>
                  <a:cubicBezTo>
                    <a:pt x="3009" y="506"/>
                    <a:pt x="3063" y="576"/>
                    <a:pt x="3182" y="576"/>
                  </a:cubicBezTo>
                  <a:cubicBezTo>
                    <a:pt x="3297" y="576"/>
                    <a:pt x="3376" y="509"/>
                    <a:pt x="3376" y="415"/>
                  </a:cubicBezTo>
                  <a:cubicBezTo>
                    <a:pt x="3376" y="354"/>
                    <a:pt x="3352" y="305"/>
                    <a:pt x="3261" y="261"/>
                  </a:cubicBezTo>
                  <a:cubicBezTo>
                    <a:pt x="3237" y="249"/>
                    <a:pt x="3169" y="216"/>
                    <a:pt x="3169" y="216"/>
                  </a:cubicBezTo>
                  <a:cubicBezTo>
                    <a:pt x="3133" y="199"/>
                    <a:pt x="3116" y="178"/>
                    <a:pt x="3116" y="149"/>
                  </a:cubicBezTo>
                  <a:cubicBezTo>
                    <a:pt x="3116" y="120"/>
                    <a:pt x="3141" y="87"/>
                    <a:pt x="3201" y="87"/>
                  </a:cubicBezTo>
                  <a:cubicBezTo>
                    <a:pt x="3235" y="87"/>
                    <a:pt x="3261" y="98"/>
                    <a:pt x="3275" y="105"/>
                  </a:cubicBezTo>
                  <a:cubicBezTo>
                    <a:pt x="3283" y="108"/>
                    <a:pt x="3299" y="116"/>
                    <a:pt x="3314" y="116"/>
                  </a:cubicBezTo>
                  <a:cubicBezTo>
                    <a:pt x="3334" y="116"/>
                    <a:pt x="3356" y="102"/>
                    <a:pt x="3356" y="72"/>
                  </a:cubicBezTo>
                  <a:cubicBezTo>
                    <a:pt x="3356" y="48"/>
                    <a:pt x="3339" y="35"/>
                    <a:pt x="3323" y="28"/>
                  </a:cubicBezTo>
                  <a:cubicBezTo>
                    <a:pt x="3299" y="16"/>
                    <a:pt x="3260" y="0"/>
                    <a:pt x="3197" y="0"/>
                  </a:cubicBezTo>
                  <a:cubicBezTo>
                    <a:pt x="3095" y="0"/>
                    <a:pt x="3020" y="63"/>
                    <a:pt x="3020" y="153"/>
                  </a:cubicBezTo>
                  <a:cubicBezTo>
                    <a:pt x="3020" y="234"/>
                    <a:pt x="3075" y="275"/>
                    <a:pt x="3141" y="307"/>
                  </a:cubicBezTo>
                  <a:cubicBezTo>
                    <a:pt x="3154" y="312"/>
                    <a:pt x="3203" y="336"/>
                    <a:pt x="3217" y="343"/>
                  </a:cubicBezTo>
                  <a:cubicBezTo>
                    <a:pt x="3258" y="363"/>
                    <a:pt x="3280" y="382"/>
                    <a:pt x="3280" y="417"/>
                  </a:cubicBezTo>
                  <a:cubicBezTo>
                    <a:pt x="3280" y="455"/>
                    <a:pt x="3244" y="487"/>
                    <a:pt x="3191" y="487"/>
                  </a:cubicBezTo>
                  <a:cubicBezTo>
                    <a:pt x="3113" y="487"/>
                    <a:pt x="3072" y="436"/>
                    <a:pt x="3065" y="428"/>
                  </a:cubicBezTo>
                  <a:lnTo>
                    <a:pt x="2997" y="491"/>
                  </a:lnTo>
                  <a:close/>
                  <a:moveTo>
                    <a:pt x="1117" y="491"/>
                  </a:moveTo>
                  <a:lnTo>
                    <a:pt x="1117" y="491"/>
                  </a:lnTo>
                  <a:cubicBezTo>
                    <a:pt x="1129" y="506"/>
                    <a:pt x="1182" y="576"/>
                    <a:pt x="1301" y="576"/>
                  </a:cubicBezTo>
                  <a:cubicBezTo>
                    <a:pt x="1417" y="576"/>
                    <a:pt x="1496" y="509"/>
                    <a:pt x="1496" y="415"/>
                  </a:cubicBezTo>
                  <a:cubicBezTo>
                    <a:pt x="1496" y="354"/>
                    <a:pt x="1472" y="305"/>
                    <a:pt x="1381" y="261"/>
                  </a:cubicBezTo>
                  <a:cubicBezTo>
                    <a:pt x="1356" y="249"/>
                    <a:pt x="1288" y="216"/>
                    <a:pt x="1288" y="216"/>
                  </a:cubicBezTo>
                  <a:cubicBezTo>
                    <a:pt x="1252" y="199"/>
                    <a:pt x="1236" y="178"/>
                    <a:pt x="1236" y="149"/>
                  </a:cubicBezTo>
                  <a:cubicBezTo>
                    <a:pt x="1236" y="120"/>
                    <a:pt x="1261" y="87"/>
                    <a:pt x="1321" y="87"/>
                  </a:cubicBezTo>
                  <a:cubicBezTo>
                    <a:pt x="1355" y="87"/>
                    <a:pt x="1381" y="98"/>
                    <a:pt x="1395" y="105"/>
                  </a:cubicBezTo>
                  <a:cubicBezTo>
                    <a:pt x="1402" y="108"/>
                    <a:pt x="1418" y="116"/>
                    <a:pt x="1434" y="116"/>
                  </a:cubicBezTo>
                  <a:cubicBezTo>
                    <a:pt x="1454" y="116"/>
                    <a:pt x="1476" y="102"/>
                    <a:pt x="1476" y="72"/>
                  </a:cubicBezTo>
                  <a:cubicBezTo>
                    <a:pt x="1476" y="48"/>
                    <a:pt x="1458" y="35"/>
                    <a:pt x="1443" y="28"/>
                  </a:cubicBezTo>
                  <a:cubicBezTo>
                    <a:pt x="1418" y="16"/>
                    <a:pt x="1380" y="0"/>
                    <a:pt x="1316" y="0"/>
                  </a:cubicBezTo>
                  <a:cubicBezTo>
                    <a:pt x="1215" y="0"/>
                    <a:pt x="1140" y="63"/>
                    <a:pt x="1140" y="153"/>
                  </a:cubicBezTo>
                  <a:cubicBezTo>
                    <a:pt x="1140" y="234"/>
                    <a:pt x="1195" y="275"/>
                    <a:pt x="1261" y="307"/>
                  </a:cubicBezTo>
                  <a:cubicBezTo>
                    <a:pt x="1273" y="312"/>
                    <a:pt x="1322" y="336"/>
                    <a:pt x="1336" y="343"/>
                  </a:cubicBezTo>
                  <a:cubicBezTo>
                    <a:pt x="1378" y="363"/>
                    <a:pt x="1400" y="382"/>
                    <a:pt x="1400" y="417"/>
                  </a:cubicBezTo>
                  <a:cubicBezTo>
                    <a:pt x="1400" y="455"/>
                    <a:pt x="1364" y="487"/>
                    <a:pt x="1310" y="487"/>
                  </a:cubicBezTo>
                  <a:cubicBezTo>
                    <a:pt x="1233" y="487"/>
                    <a:pt x="1192" y="436"/>
                    <a:pt x="1185" y="428"/>
                  </a:cubicBezTo>
                  <a:lnTo>
                    <a:pt x="1117" y="491"/>
                  </a:lnTo>
                  <a:close/>
                  <a:moveTo>
                    <a:pt x="1949" y="0"/>
                  </a:moveTo>
                  <a:lnTo>
                    <a:pt x="1949" y="0"/>
                  </a:lnTo>
                  <a:cubicBezTo>
                    <a:pt x="1921" y="0"/>
                    <a:pt x="1903" y="19"/>
                    <a:pt x="1903" y="43"/>
                  </a:cubicBezTo>
                  <a:lnTo>
                    <a:pt x="1903" y="531"/>
                  </a:lnTo>
                  <a:cubicBezTo>
                    <a:pt x="1903" y="555"/>
                    <a:pt x="1924" y="575"/>
                    <a:pt x="1949" y="575"/>
                  </a:cubicBezTo>
                  <a:cubicBezTo>
                    <a:pt x="1972" y="575"/>
                    <a:pt x="1994" y="555"/>
                    <a:pt x="1994" y="531"/>
                  </a:cubicBezTo>
                  <a:lnTo>
                    <a:pt x="1994" y="179"/>
                  </a:lnTo>
                  <a:cubicBezTo>
                    <a:pt x="1994" y="179"/>
                    <a:pt x="2218" y="465"/>
                    <a:pt x="2276" y="541"/>
                  </a:cubicBezTo>
                  <a:cubicBezTo>
                    <a:pt x="2291" y="559"/>
                    <a:pt x="2302" y="576"/>
                    <a:pt x="2328" y="576"/>
                  </a:cubicBezTo>
                  <a:cubicBezTo>
                    <a:pt x="2355" y="576"/>
                    <a:pt x="2373" y="556"/>
                    <a:pt x="2373" y="532"/>
                  </a:cubicBezTo>
                  <a:lnTo>
                    <a:pt x="2373" y="3"/>
                  </a:lnTo>
                  <a:lnTo>
                    <a:pt x="2282" y="3"/>
                  </a:lnTo>
                  <a:lnTo>
                    <a:pt x="2282" y="398"/>
                  </a:lnTo>
                  <a:cubicBezTo>
                    <a:pt x="2282" y="398"/>
                    <a:pt x="2033" y="78"/>
                    <a:pt x="1998" y="34"/>
                  </a:cubicBezTo>
                  <a:cubicBezTo>
                    <a:pt x="1982" y="13"/>
                    <a:pt x="1970" y="0"/>
                    <a:pt x="1949" y="0"/>
                  </a:cubicBezTo>
                  <a:close/>
                  <a:moveTo>
                    <a:pt x="342" y="264"/>
                  </a:moveTo>
                  <a:lnTo>
                    <a:pt x="342" y="264"/>
                  </a:lnTo>
                  <a:cubicBezTo>
                    <a:pt x="358" y="272"/>
                    <a:pt x="426" y="301"/>
                    <a:pt x="426" y="402"/>
                  </a:cubicBezTo>
                  <a:cubicBezTo>
                    <a:pt x="426" y="497"/>
                    <a:pt x="355" y="572"/>
                    <a:pt x="252" y="572"/>
                  </a:cubicBezTo>
                  <a:lnTo>
                    <a:pt x="0" y="572"/>
                  </a:lnTo>
                  <a:lnTo>
                    <a:pt x="0" y="47"/>
                  </a:lnTo>
                  <a:cubicBezTo>
                    <a:pt x="0" y="20"/>
                    <a:pt x="18" y="2"/>
                    <a:pt x="44" y="2"/>
                  </a:cubicBezTo>
                  <a:lnTo>
                    <a:pt x="241" y="2"/>
                  </a:lnTo>
                  <a:cubicBezTo>
                    <a:pt x="336" y="2"/>
                    <a:pt x="399" y="59"/>
                    <a:pt x="399" y="147"/>
                  </a:cubicBezTo>
                  <a:cubicBezTo>
                    <a:pt x="399" y="221"/>
                    <a:pt x="357" y="254"/>
                    <a:pt x="342" y="264"/>
                  </a:cubicBezTo>
                  <a:close/>
                  <a:moveTo>
                    <a:pt x="91" y="230"/>
                  </a:moveTo>
                  <a:lnTo>
                    <a:pt x="91" y="230"/>
                  </a:lnTo>
                  <a:lnTo>
                    <a:pt x="229" y="230"/>
                  </a:lnTo>
                  <a:cubicBezTo>
                    <a:pt x="278" y="230"/>
                    <a:pt x="306" y="199"/>
                    <a:pt x="306" y="161"/>
                  </a:cubicBezTo>
                  <a:cubicBezTo>
                    <a:pt x="306" y="123"/>
                    <a:pt x="281" y="92"/>
                    <a:pt x="229" y="92"/>
                  </a:cubicBezTo>
                  <a:lnTo>
                    <a:pt x="91" y="92"/>
                  </a:lnTo>
                  <a:lnTo>
                    <a:pt x="91" y="230"/>
                  </a:lnTo>
                  <a:close/>
                  <a:moveTo>
                    <a:pt x="235" y="484"/>
                  </a:moveTo>
                  <a:lnTo>
                    <a:pt x="235" y="484"/>
                  </a:lnTo>
                  <a:cubicBezTo>
                    <a:pt x="300" y="484"/>
                    <a:pt x="333" y="446"/>
                    <a:pt x="333" y="400"/>
                  </a:cubicBezTo>
                  <a:cubicBezTo>
                    <a:pt x="333" y="352"/>
                    <a:pt x="301" y="314"/>
                    <a:pt x="235" y="314"/>
                  </a:cubicBezTo>
                  <a:lnTo>
                    <a:pt x="91" y="314"/>
                  </a:lnTo>
                  <a:lnTo>
                    <a:pt x="91" y="484"/>
                  </a:lnTo>
                  <a:lnTo>
                    <a:pt x="235" y="484"/>
                  </a:lnTo>
                  <a:close/>
                  <a:moveTo>
                    <a:pt x="2858" y="92"/>
                  </a:moveTo>
                  <a:lnTo>
                    <a:pt x="2858" y="92"/>
                  </a:lnTo>
                  <a:cubicBezTo>
                    <a:pt x="2888" y="92"/>
                    <a:pt x="2906" y="73"/>
                    <a:pt x="2906" y="48"/>
                  </a:cubicBezTo>
                  <a:cubicBezTo>
                    <a:pt x="2906" y="23"/>
                    <a:pt x="2887" y="3"/>
                    <a:pt x="2858" y="3"/>
                  </a:cubicBezTo>
                  <a:lnTo>
                    <a:pt x="2576" y="3"/>
                  </a:lnTo>
                  <a:cubicBezTo>
                    <a:pt x="2551" y="3"/>
                    <a:pt x="2532" y="22"/>
                    <a:pt x="2532" y="48"/>
                  </a:cubicBezTo>
                  <a:lnTo>
                    <a:pt x="2532" y="529"/>
                  </a:lnTo>
                  <a:cubicBezTo>
                    <a:pt x="2532" y="554"/>
                    <a:pt x="2551" y="573"/>
                    <a:pt x="2576" y="573"/>
                  </a:cubicBezTo>
                  <a:lnTo>
                    <a:pt x="2903" y="573"/>
                  </a:lnTo>
                  <a:lnTo>
                    <a:pt x="2903" y="484"/>
                  </a:lnTo>
                  <a:lnTo>
                    <a:pt x="2624" y="484"/>
                  </a:lnTo>
                  <a:lnTo>
                    <a:pt x="2624" y="318"/>
                  </a:lnTo>
                  <a:lnTo>
                    <a:pt x="2834" y="318"/>
                  </a:lnTo>
                  <a:cubicBezTo>
                    <a:pt x="2866" y="318"/>
                    <a:pt x="2884" y="299"/>
                    <a:pt x="2884" y="274"/>
                  </a:cubicBezTo>
                  <a:cubicBezTo>
                    <a:pt x="2884" y="248"/>
                    <a:pt x="2867" y="229"/>
                    <a:pt x="2834" y="229"/>
                  </a:cubicBezTo>
                  <a:lnTo>
                    <a:pt x="2624" y="229"/>
                  </a:lnTo>
                  <a:lnTo>
                    <a:pt x="2624" y="92"/>
                  </a:lnTo>
                  <a:lnTo>
                    <a:pt x="2858" y="92"/>
                  </a:lnTo>
                  <a:close/>
                  <a:moveTo>
                    <a:pt x="634" y="346"/>
                  </a:moveTo>
                  <a:lnTo>
                    <a:pt x="634" y="346"/>
                  </a:lnTo>
                  <a:lnTo>
                    <a:pt x="634" y="44"/>
                  </a:lnTo>
                  <a:cubicBezTo>
                    <a:pt x="634" y="19"/>
                    <a:pt x="616" y="0"/>
                    <a:pt x="588" y="0"/>
                  </a:cubicBezTo>
                  <a:cubicBezTo>
                    <a:pt x="560" y="0"/>
                    <a:pt x="542" y="19"/>
                    <a:pt x="542" y="44"/>
                  </a:cubicBezTo>
                  <a:lnTo>
                    <a:pt x="542" y="343"/>
                  </a:lnTo>
                  <a:cubicBezTo>
                    <a:pt x="542" y="471"/>
                    <a:pt x="632" y="575"/>
                    <a:pt x="776" y="575"/>
                  </a:cubicBezTo>
                  <a:cubicBezTo>
                    <a:pt x="920" y="575"/>
                    <a:pt x="1010" y="471"/>
                    <a:pt x="1010" y="343"/>
                  </a:cubicBezTo>
                  <a:lnTo>
                    <a:pt x="1010" y="2"/>
                  </a:lnTo>
                  <a:lnTo>
                    <a:pt x="918" y="2"/>
                  </a:lnTo>
                  <a:lnTo>
                    <a:pt x="918" y="345"/>
                  </a:lnTo>
                  <a:cubicBezTo>
                    <a:pt x="918" y="421"/>
                    <a:pt x="867" y="488"/>
                    <a:pt x="776" y="488"/>
                  </a:cubicBezTo>
                  <a:cubicBezTo>
                    <a:pt x="684" y="489"/>
                    <a:pt x="634" y="422"/>
                    <a:pt x="634" y="346"/>
                  </a:cubicBezTo>
                  <a:close/>
                  <a:moveTo>
                    <a:pt x="1676" y="0"/>
                  </a:moveTo>
                  <a:lnTo>
                    <a:pt x="1676" y="0"/>
                  </a:lnTo>
                  <a:cubicBezTo>
                    <a:pt x="1704" y="0"/>
                    <a:pt x="1722" y="19"/>
                    <a:pt x="1722" y="44"/>
                  </a:cubicBezTo>
                  <a:lnTo>
                    <a:pt x="1722" y="572"/>
                  </a:lnTo>
                  <a:lnTo>
                    <a:pt x="1630" y="572"/>
                  </a:lnTo>
                  <a:lnTo>
                    <a:pt x="1630" y="44"/>
                  </a:lnTo>
                  <a:cubicBezTo>
                    <a:pt x="1630" y="19"/>
                    <a:pt x="1647" y="0"/>
                    <a:pt x="1676" y="0"/>
                  </a:cubicBezTo>
                  <a:close/>
                </a:path>
              </a:pathLst>
            </a:custGeom>
            <a:solidFill>
              <a:srgbClr val="0D62F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n-US"/>
            </a:p>
          </p:txBody>
        </p:sp>
      </p:grpSp>
    </p:spTree>
    <p:extLst>
      <p:ext uri="{BB962C8B-B14F-4D97-AF65-F5344CB8AC3E}">
        <p14:creationId xmlns:p14="http://schemas.microsoft.com/office/powerpoint/2010/main" val="3509002333"/>
      </p:ext>
    </p:extLst>
  </p:cSld>
  <p:clrMap bg1="lt1" tx1="dk1" bg2="lt2" tx2="dk2" accent1="accent1" accent2="accent2" accent3="accent3" accent4="accent4" accent5="accent5" accent6="accent6" hlink="hlink" folHlink="folHlink"/>
  <p:sldLayoutIdLst>
    <p:sldLayoutId id="2147483753" r:id="rId1"/>
    <p:sldLayoutId id="2147483748" r:id="rId2"/>
    <p:sldLayoutId id="2147483746" r:id="rId3"/>
    <p:sldLayoutId id="2147483781" r:id="rId4"/>
    <p:sldLayoutId id="2147483747" r:id="rId5"/>
    <p:sldLayoutId id="2147483782" r:id="rId6"/>
    <p:sldLayoutId id="2147483749" r:id="rId7"/>
    <p:sldLayoutId id="2147483750" r:id="rId8"/>
    <p:sldLayoutId id="2147483751" r:id="rId9"/>
    <p:sldLayoutId id="2147483752" r:id="rId10"/>
    <p:sldLayoutId id="2147483730" r:id="rId11"/>
    <p:sldLayoutId id="2147483783" r:id="rId12"/>
  </p:sldLayoutIdLst>
  <p:hf hdr="0" dt="0"/>
  <p:txStyles>
    <p:titleStyle>
      <a:lvl1pPr algn="l" rtl="0" eaLnBrk="1" fontAlgn="base" hangingPunct="1">
        <a:lnSpc>
          <a:spcPct val="95000"/>
        </a:lnSpc>
        <a:spcBef>
          <a:spcPct val="0"/>
        </a:spcBef>
        <a:spcAft>
          <a:spcPct val="0"/>
        </a:spcAft>
        <a:defRPr sz="3200" kern="1200">
          <a:solidFill>
            <a:schemeClr val="accent1"/>
          </a:solidFill>
          <a:latin typeface="+mj-lt"/>
          <a:ea typeface="+mj-ea"/>
          <a:cs typeface="+mj-cs"/>
        </a:defRPr>
      </a:lvl1pPr>
      <a:lvl2pPr algn="l" rtl="0" eaLnBrk="1" fontAlgn="base" hangingPunct="1">
        <a:lnSpc>
          <a:spcPct val="95000"/>
        </a:lnSpc>
        <a:spcBef>
          <a:spcPct val="0"/>
        </a:spcBef>
        <a:spcAft>
          <a:spcPct val="0"/>
        </a:spcAft>
        <a:defRPr sz="3200">
          <a:solidFill>
            <a:schemeClr val="accent1"/>
          </a:solidFill>
          <a:latin typeface="Montserrat Light" panose="00000400000000000000" pitchFamily="2" charset="0"/>
        </a:defRPr>
      </a:lvl2pPr>
      <a:lvl3pPr algn="l" rtl="0" eaLnBrk="1" fontAlgn="base" hangingPunct="1">
        <a:lnSpc>
          <a:spcPct val="95000"/>
        </a:lnSpc>
        <a:spcBef>
          <a:spcPct val="0"/>
        </a:spcBef>
        <a:spcAft>
          <a:spcPct val="0"/>
        </a:spcAft>
        <a:defRPr sz="3200">
          <a:solidFill>
            <a:schemeClr val="accent1"/>
          </a:solidFill>
          <a:latin typeface="Montserrat Light" panose="00000400000000000000" pitchFamily="2" charset="0"/>
        </a:defRPr>
      </a:lvl3pPr>
      <a:lvl4pPr algn="l" rtl="0" eaLnBrk="1" fontAlgn="base" hangingPunct="1">
        <a:lnSpc>
          <a:spcPct val="95000"/>
        </a:lnSpc>
        <a:spcBef>
          <a:spcPct val="0"/>
        </a:spcBef>
        <a:spcAft>
          <a:spcPct val="0"/>
        </a:spcAft>
        <a:defRPr sz="3200">
          <a:solidFill>
            <a:schemeClr val="accent1"/>
          </a:solidFill>
          <a:latin typeface="Montserrat Light" panose="00000400000000000000" pitchFamily="2" charset="0"/>
        </a:defRPr>
      </a:lvl4pPr>
      <a:lvl5pPr algn="l" rtl="0" eaLnBrk="1" fontAlgn="base" hangingPunct="1">
        <a:lnSpc>
          <a:spcPct val="95000"/>
        </a:lnSpc>
        <a:spcBef>
          <a:spcPct val="0"/>
        </a:spcBef>
        <a:spcAft>
          <a:spcPct val="0"/>
        </a:spcAft>
        <a:defRPr sz="3200">
          <a:solidFill>
            <a:schemeClr val="accent1"/>
          </a:solidFill>
          <a:latin typeface="Montserrat Light" panose="00000400000000000000" pitchFamily="2" charset="0"/>
        </a:defRPr>
      </a:lvl5pPr>
      <a:lvl6pPr marL="457200" algn="l" rtl="0" eaLnBrk="1" fontAlgn="base" hangingPunct="1">
        <a:lnSpc>
          <a:spcPct val="95000"/>
        </a:lnSpc>
        <a:spcBef>
          <a:spcPct val="0"/>
        </a:spcBef>
        <a:spcAft>
          <a:spcPct val="0"/>
        </a:spcAft>
        <a:defRPr sz="3200">
          <a:solidFill>
            <a:schemeClr val="accent1"/>
          </a:solidFill>
          <a:latin typeface="Montserrat Light" panose="00000400000000000000" pitchFamily="2" charset="0"/>
        </a:defRPr>
      </a:lvl6pPr>
      <a:lvl7pPr marL="914400" algn="l" rtl="0" eaLnBrk="1" fontAlgn="base" hangingPunct="1">
        <a:lnSpc>
          <a:spcPct val="95000"/>
        </a:lnSpc>
        <a:spcBef>
          <a:spcPct val="0"/>
        </a:spcBef>
        <a:spcAft>
          <a:spcPct val="0"/>
        </a:spcAft>
        <a:defRPr sz="3200">
          <a:solidFill>
            <a:schemeClr val="accent1"/>
          </a:solidFill>
          <a:latin typeface="Montserrat Light" panose="00000400000000000000" pitchFamily="2" charset="0"/>
        </a:defRPr>
      </a:lvl7pPr>
      <a:lvl8pPr marL="1371600" algn="l" rtl="0" eaLnBrk="1" fontAlgn="base" hangingPunct="1">
        <a:lnSpc>
          <a:spcPct val="95000"/>
        </a:lnSpc>
        <a:spcBef>
          <a:spcPct val="0"/>
        </a:spcBef>
        <a:spcAft>
          <a:spcPct val="0"/>
        </a:spcAft>
        <a:defRPr sz="3200">
          <a:solidFill>
            <a:schemeClr val="accent1"/>
          </a:solidFill>
          <a:latin typeface="Montserrat Light" panose="00000400000000000000" pitchFamily="2" charset="0"/>
        </a:defRPr>
      </a:lvl8pPr>
      <a:lvl9pPr marL="1828800" algn="l" rtl="0" eaLnBrk="1" fontAlgn="base" hangingPunct="1">
        <a:lnSpc>
          <a:spcPct val="95000"/>
        </a:lnSpc>
        <a:spcBef>
          <a:spcPct val="0"/>
        </a:spcBef>
        <a:spcAft>
          <a:spcPct val="0"/>
        </a:spcAft>
        <a:defRPr sz="3200">
          <a:solidFill>
            <a:schemeClr val="accent1"/>
          </a:solidFill>
          <a:latin typeface="Montserrat Light" panose="00000400000000000000" pitchFamily="2" charset="0"/>
        </a:defRPr>
      </a:lvl9pPr>
    </p:titleStyle>
    <p:body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400" kern="1200">
          <a:solidFill>
            <a:schemeClr val="tx1"/>
          </a:solidFill>
          <a:latin typeface="+mn-lt"/>
          <a:ea typeface="+mn-ea"/>
          <a:cs typeface="+mn-cs"/>
        </a:defRPr>
      </a:lvl2pPr>
      <a:lvl3pPr marL="914400" algn="l" defTabSz="914400" rtl="0" eaLnBrk="1" latinLnBrk="0" hangingPunct="1">
        <a:defRPr sz="1400" kern="1200">
          <a:solidFill>
            <a:schemeClr val="tx1"/>
          </a:solidFill>
          <a:latin typeface="+mn-lt"/>
          <a:ea typeface="+mn-ea"/>
          <a:cs typeface="+mn-cs"/>
        </a:defRPr>
      </a:lvl3pPr>
      <a:lvl4pPr marL="1371600" algn="l" defTabSz="914400" rtl="0" eaLnBrk="1" latinLnBrk="0" hangingPunct="1">
        <a:defRPr sz="1400" kern="1200">
          <a:solidFill>
            <a:schemeClr val="tx1"/>
          </a:solidFill>
          <a:latin typeface="+mn-lt"/>
          <a:ea typeface="+mn-ea"/>
          <a:cs typeface="+mn-cs"/>
        </a:defRPr>
      </a:lvl4pPr>
      <a:lvl5pPr marL="1828800" algn="l" defTabSz="914400" rtl="0" eaLnBrk="1" latinLnBrk="0" hangingPunct="1">
        <a:defRPr sz="1400" kern="1200">
          <a:solidFill>
            <a:schemeClr val="tx1"/>
          </a:solidFill>
          <a:latin typeface="+mn-lt"/>
          <a:ea typeface="+mn-ea"/>
          <a:cs typeface="+mn-cs"/>
        </a:defRPr>
      </a:lvl5pPr>
      <a:lvl6pPr marL="2286000" algn="l" defTabSz="914400" rtl="0" eaLnBrk="1" latinLnBrk="0" hangingPunct="1">
        <a:defRPr sz="1400" kern="1200">
          <a:solidFill>
            <a:schemeClr val="tx1"/>
          </a:solidFill>
          <a:latin typeface="+mn-lt"/>
          <a:ea typeface="+mn-ea"/>
          <a:cs typeface="+mn-cs"/>
        </a:defRPr>
      </a:lvl6pPr>
      <a:lvl7pPr marL="2743200" algn="l" defTabSz="914400" rtl="0" eaLnBrk="1" latinLnBrk="0" hangingPunct="1">
        <a:defRPr sz="1400" kern="1200">
          <a:solidFill>
            <a:schemeClr val="tx1"/>
          </a:solidFill>
          <a:latin typeface="+mn-lt"/>
          <a:ea typeface="+mn-ea"/>
          <a:cs typeface="+mn-cs"/>
        </a:defRPr>
      </a:lvl7pPr>
      <a:lvl8pPr marL="3200400" algn="l" defTabSz="914400" rtl="0" eaLnBrk="1" latinLnBrk="0" hangingPunct="1">
        <a:defRPr sz="1400" kern="1200">
          <a:solidFill>
            <a:schemeClr val="tx1"/>
          </a:solidFill>
          <a:latin typeface="+mn-lt"/>
          <a:ea typeface="+mn-ea"/>
          <a:cs typeface="+mn-cs"/>
        </a:defRPr>
      </a:lvl8pPr>
      <a:lvl9pPr marL="3657600" algn="l" defTabSz="914400" rtl="0" eaLnBrk="1" latinLnBrk="0" hangingPunct="1">
        <a:defRPr sz="1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38CFDBC-3FE2-01B9-94FC-79D11F76C856}"/>
              </a:ext>
            </a:extLst>
          </p:cNvPr>
          <p:cNvGraphicFramePr>
            <a:graphicFrameLocks noChangeAspect="1"/>
          </p:cNvGraphicFramePr>
          <p:nvPr userDrawn="1">
            <p:custDataLst>
              <p:tags r:id="rId16"/>
            </p:custDataLst>
            <p:extLst>
              <p:ext uri="{D42A27DB-BD31-4B8C-83A1-F6EECF244321}">
                <p14:modId xmlns:p14="http://schemas.microsoft.com/office/powerpoint/2010/main" val="28853621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395" imgH="396" progId="TCLayout.ActiveDocument.1">
                  <p:embed/>
                </p:oleObj>
              </mc:Choice>
              <mc:Fallback>
                <p:oleObj name="think-cell Slide" r:id="rId17" imgW="395" imgH="396" progId="TCLayout.ActiveDocument.1">
                  <p:embed/>
                  <p:pic>
                    <p:nvPicPr>
                      <p:cNvPr id="2" name="think-cell data - do not delete" hidden="1">
                        <a:extLst>
                          <a:ext uri="{FF2B5EF4-FFF2-40B4-BE49-F238E27FC236}">
                            <a16:creationId xmlns:a16="http://schemas.microsoft.com/office/drawing/2014/main" id="{D38CFDBC-3FE2-01B9-94FC-79D11F76C856}"/>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E2257729-6F2F-472D-A628-3AC6323D6DD4}"/>
              </a:ext>
            </a:extLst>
          </p:cNvPr>
          <p:cNvSpPr>
            <a:spLocks noGrp="1"/>
          </p:cNvSpPr>
          <p:nvPr>
            <p:ph type="ftr" sz="quarter" idx="3"/>
          </p:nvPr>
        </p:nvSpPr>
        <p:spPr>
          <a:xfrm>
            <a:off x="463550" y="6427788"/>
            <a:ext cx="4114800" cy="198437"/>
          </a:xfrm>
          <a:prstGeom prst="rect">
            <a:avLst/>
          </a:prstGeom>
        </p:spPr>
        <p:txBody>
          <a:bodyPr vert="horz" lIns="0" tIns="0" rIns="0" bIns="0" rtlCol="0" anchor="ctr">
            <a:noAutofit/>
          </a:bodyPr>
          <a:lstStyle>
            <a:lvl1pPr algn="l" eaLnBrk="1" fontAlgn="auto" hangingPunct="1">
              <a:spcBef>
                <a:spcPts val="0"/>
              </a:spcBef>
              <a:spcAft>
                <a:spcPts val="0"/>
              </a:spcAft>
              <a:defRPr sz="800">
                <a:solidFill>
                  <a:schemeClr val="tx1"/>
                </a:solidFill>
                <a:latin typeface="+mn-lt"/>
              </a:defRPr>
            </a:lvl1pPr>
          </a:lstStyle>
          <a:p>
            <a:pPr>
              <a:defRPr/>
            </a:pPr>
            <a:r>
              <a:rPr lang="en-US"/>
              <a:t>© 2024 Comcast. All rights reserved.</a:t>
            </a:r>
          </a:p>
        </p:txBody>
      </p:sp>
      <p:sp>
        <p:nvSpPr>
          <p:cNvPr id="6" name="Slide Number Placeholder 5">
            <a:extLst>
              <a:ext uri="{FF2B5EF4-FFF2-40B4-BE49-F238E27FC236}">
                <a16:creationId xmlns:a16="http://schemas.microsoft.com/office/drawing/2014/main" id="{F37C4A8A-5A96-4192-8D21-A29D063A18A6}"/>
              </a:ext>
            </a:extLst>
          </p:cNvPr>
          <p:cNvSpPr>
            <a:spLocks noGrp="1"/>
          </p:cNvSpPr>
          <p:nvPr>
            <p:ph type="sldNum" sz="quarter" idx="4"/>
          </p:nvPr>
        </p:nvSpPr>
        <p:spPr>
          <a:xfrm>
            <a:off x="11341100" y="6424613"/>
            <a:ext cx="393700" cy="200025"/>
          </a:xfrm>
          <a:prstGeom prst="rect">
            <a:avLst/>
          </a:prstGeom>
        </p:spPr>
        <p:txBody>
          <a:bodyPr vert="horz" lIns="0" tIns="0" rIns="0" bIns="0" rtlCol="0" anchor="ctr">
            <a:noAutofit/>
          </a:bodyPr>
          <a:lstStyle>
            <a:lvl1pPr algn="r" eaLnBrk="1" fontAlgn="auto" hangingPunct="1">
              <a:spcBef>
                <a:spcPts val="0"/>
              </a:spcBef>
              <a:spcAft>
                <a:spcPts val="0"/>
              </a:spcAft>
              <a:defRPr sz="800">
                <a:solidFill>
                  <a:schemeClr val="tx2"/>
                </a:solidFill>
                <a:latin typeface="+mn-lt"/>
              </a:defRPr>
            </a:lvl1pPr>
          </a:lstStyle>
          <a:p>
            <a:pPr>
              <a:defRPr/>
            </a:pPr>
            <a:fld id="{0328BF2B-1211-4EAA-8AE9-62488A2F8B31}" type="slidenum">
              <a:rPr lang="en-US"/>
              <a:pPr>
                <a:defRPr/>
              </a:pPr>
              <a:t>‹#›</a:t>
            </a:fld>
            <a:endParaRPr lang="en-US"/>
          </a:p>
        </p:txBody>
      </p:sp>
      <p:grpSp>
        <p:nvGrpSpPr>
          <p:cNvPr id="1031" name="Group 12">
            <a:extLst>
              <a:ext uri="{FF2B5EF4-FFF2-40B4-BE49-F238E27FC236}">
                <a16:creationId xmlns:a16="http://schemas.microsoft.com/office/drawing/2014/main" id="{D41623B5-40D3-4867-8C8D-CEBECE13B611}"/>
              </a:ext>
            </a:extLst>
          </p:cNvPr>
          <p:cNvGrpSpPr>
            <a:grpSpLocks noChangeAspect="1"/>
          </p:cNvGrpSpPr>
          <p:nvPr/>
        </p:nvGrpSpPr>
        <p:grpSpPr bwMode="auto">
          <a:xfrm>
            <a:off x="8680450" y="6437313"/>
            <a:ext cx="2522538" cy="184150"/>
            <a:chOff x="288" y="4035"/>
            <a:chExt cx="1589" cy="116"/>
          </a:xfrm>
        </p:grpSpPr>
        <p:sp>
          <p:nvSpPr>
            <p:cNvPr id="1032" name="Freeform 5">
              <a:extLst>
                <a:ext uri="{FF2B5EF4-FFF2-40B4-BE49-F238E27FC236}">
                  <a16:creationId xmlns:a16="http://schemas.microsoft.com/office/drawing/2014/main" id="{9F8FC777-6C07-4901-BD42-CA701CE83A70}"/>
                </a:ext>
              </a:extLst>
            </p:cNvPr>
            <p:cNvSpPr>
              <a:spLocks noEditPoints="1"/>
            </p:cNvSpPr>
            <p:nvPr/>
          </p:nvSpPr>
          <p:spPr bwMode="auto">
            <a:xfrm>
              <a:off x="288" y="4035"/>
              <a:ext cx="769" cy="116"/>
            </a:xfrm>
            <a:custGeom>
              <a:avLst/>
              <a:gdLst>
                <a:gd name="T0" fmla="*/ 30 w 3874"/>
                <a:gd name="T1" fmla="*/ 0 h 573"/>
                <a:gd name="T2" fmla="*/ 28 w 3874"/>
                <a:gd name="T3" fmla="*/ 0 h 573"/>
                <a:gd name="T4" fmla="*/ 28 w 3874"/>
                <a:gd name="T5" fmla="*/ 0 h 573"/>
                <a:gd name="T6" fmla="*/ 29 w 3874"/>
                <a:gd name="T7" fmla="*/ 5 h 573"/>
                <a:gd name="T8" fmla="*/ 29 w 3874"/>
                <a:gd name="T9" fmla="*/ 0 h 573"/>
                <a:gd name="T10" fmla="*/ 30 w 3874"/>
                <a:gd name="T11" fmla="*/ 0 h 573"/>
                <a:gd name="T12" fmla="*/ 22 w 3874"/>
                <a:gd name="T13" fmla="*/ 0 h 573"/>
                <a:gd name="T14" fmla="*/ 20 w 3874"/>
                <a:gd name="T15" fmla="*/ 4 h 573"/>
                <a:gd name="T16" fmla="*/ 20 w 3874"/>
                <a:gd name="T17" fmla="*/ 5 h 573"/>
                <a:gd name="T18" fmla="*/ 21 w 3874"/>
                <a:gd name="T19" fmla="*/ 3 h 573"/>
                <a:gd name="T20" fmla="*/ 23 w 3874"/>
                <a:gd name="T21" fmla="*/ 5 h 573"/>
                <a:gd name="T22" fmla="*/ 22 w 3874"/>
                <a:gd name="T23" fmla="*/ 0 h 573"/>
                <a:gd name="T24" fmla="*/ 21 w 3874"/>
                <a:gd name="T25" fmla="*/ 2 h 573"/>
                <a:gd name="T26" fmla="*/ 22 w 3874"/>
                <a:gd name="T27" fmla="*/ 1 h 573"/>
                <a:gd name="T28" fmla="*/ 21 w 3874"/>
                <a:gd name="T29" fmla="*/ 2 h 573"/>
                <a:gd name="T30" fmla="*/ 14 w 3874"/>
                <a:gd name="T31" fmla="*/ 0 h 573"/>
                <a:gd name="T32" fmla="*/ 12 w 3874"/>
                <a:gd name="T33" fmla="*/ 4 h 573"/>
                <a:gd name="T34" fmla="*/ 11 w 3874"/>
                <a:gd name="T35" fmla="*/ 0 h 573"/>
                <a:gd name="T36" fmla="*/ 10 w 3874"/>
                <a:gd name="T37" fmla="*/ 4 h 573"/>
                <a:gd name="T38" fmla="*/ 10 w 3874"/>
                <a:gd name="T39" fmla="*/ 5 h 573"/>
                <a:gd name="T40" fmla="*/ 11 w 3874"/>
                <a:gd name="T41" fmla="*/ 1 h 573"/>
                <a:gd name="T42" fmla="*/ 12 w 3874"/>
                <a:gd name="T43" fmla="*/ 4 h 573"/>
                <a:gd name="T44" fmla="*/ 13 w 3874"/>
                <a:gd name="T45" fmla="*/ 1 h 573"/>
                <a:gd name="T46" fmla="*/ 15 w 3874"/>
                <a:gd name="T47" fmla="*/ 5 h 573"/>
                <a:gd name="T48" fmla="*/ 14 w 3874"/>
                <a:gd name="T49" fmla="*/ 0 h 573"/>
                <a:gd name="T50" fmla="*/ 17 w 3874"/>
                <a:gd name="T51" fmla="*/ 0 h 573"/>
                <a:gd name="T52" fmla="*/ 19 w 3874"/>
                <a:gd name="T53" fmla="*/ 1 h 573"/>
                <a:gd name="T54" fmla="*/ 19 w 3874"/>
                <a:gd name="T55" fmla="*/ 1 h 573"/>
                <a:gd name="T56" fmla="*/ 17 w 3874"/>
                <a:gd name="T57" fmla="*/ 0 h 573"/>
                <a:gd name="T58" fmla="*/ 17 w 3874"/>
                <a:gd name="T59" fmla="*/ 5 h 573"/>
                <a:gd name="T60" fmla="*/ 19 w 3874"/>
                <a:gd name="T61" fmla="*/ 4 h 573"/>
                <a:gd name="T62" fmla="*/ 16 w 3874"/>
                <a:gd name="T63" fmla="*/ 2 h 573"/>
                <a:gd name="T64" fmla="*/ 2 w 3874"/>
                <a:gd name="T65" fmla="*/ 0 h 573"/>
                <a:gd name="T66" fmla="*/ 4 w 3874"/>
                <a:gd name="T67" fmla="*/ 1 h 573"/>
                <a:gd name="T68" fmla="*/ 4 w 3874"/>
                <a:gd name="T69" fmla="*/ 1 h 573"/>
                <a:gd name="T70" fmla="*/ 4 w 3874"/>
                <a:gd name="T71" fmla="*/ 1 h 573"/>
                <a:gd name="T72" fmla="*/ 0 w 3874"/>
                <a:gd name="T73" fmla="*/ 2 h 573"/>
                <a:gd name="T74" fmla="*/ 4 w 3874"/>
                <a:gd name="T75" fmla="*/ 4 h 573"/>
                <a:gd name="T76" fmla="*/ 2 w 3874"/>
                <a:gd name="T77" fmla="*/ 4 h 573"/>
                <a:gd name="T78" fmla="*/ 2 w 3874"/>
                <a:gd name="T79" fmla="*/ 0 h 573"/>
                <a:gd name="T80" fmla="*/ 26 w 3874"/>
                <a:gd name="T81" fmla="*/ 2 h 573"/>
                <a:gd name="T82" fmla="*/ 25 w 3874"/>
                <a:gd name="T83" fmla="*/ 1 h 573"/>
                <a:gd name="T84" fmla="*/ 26 w 3874"/>
                <a:gd name="T85" fmla="*/ 1 h 573"/>
                <a:gd name="T86" fmla="*/ 27 w 3874"/>
                <a:gd name="T87" fmla="*/ 0 h 573"/>
                <a:gd name="T88" fmla="*/ 26 w 3874"/>
                <a:gd name="T89" fmla="*/ 0 h 573"/>
                <a:gd name="T90" fmla="*/ 25 w 3874"/>
                <a:gd name="T91" fmla="*/ 2 h 573"/>
                <a:gd name="T92" fmla="*/ 26 w 3874"/>
                <a:gd name="T93" fmla="*/ 3 h 573"/>
                <a:gd name="T94" fmla="*/ 24 w 3874"/>
                <a:gd name="T95" fmla="*/ 4 h 573"/>
                <a:gd name="T96" fmla="*/ 24 w 3874"/>
                <a:gd name="T97" fmla="*/ 4 h 573"/>
                <a:gd name="T98" fmla="*/ 26 w 3874"/>
                <a:gd name="T99" fmla="*/ 5 h 573"/>
                <a:gd name="T100" fmla="*/ 26 w 3874"/>
                <a:gd name="T101" fmla="*/ 2 h 573"/>
                <a:gd name="T102" fmla="*/ 7 w 3874"/>
                <a:gd name="T103" fmla="*/ 0 h 573"/>
                <a:gd name="T104" fmla="*/ 7 w 3874"/>
                <a:gd name="T105" fmla="*/ 5 h 573"/>
                <a:gd name="T106" fmla="*/ 7 w 3874"/>
                <a:gd name="T107" fmla="*/ 0 h 573"/>
                <a:gd name="T108" fmla="*/ 7 w 3874"/>
                <a:gd name="T109" fmla="*/ 4 h 573"/>
                <a:gd name="T110" fmla="*/ 7 w 3874"/>
                <a:gd name="T111" fmla="*/ 0 h 573"/>
                <a:gd name="T112" fmla="*/ 7 w 3874"/>
                <a:gd name="T113" fmla="*/ 4 h 57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874" h="573">
                  <a:moveTo>
                    <a:pt x="3874" y="31"/>
                  </a:moveTo>
                  <a:lnTo>
                    <a:pt x="3874" y="31"/>
                  </a:lnTo>
                  <a:cubicBezTo>
                    <a:pt x="3874" y="16"/>
                    <a:pt x="3861" y="3"/>
                    <a:pt x="3846" y="3"/>
                  </a:cubicBezTo>
                  <a:lnTo>
                    <a:pt x="3527" y="3"/>
                  </a:lnTo>
                  <a:cubicBezTo>
                    <a:pt x="3512" y="3"/>
                    <a:pt x="3499" y="15"/>
                    <a:pt x="3499" y="31"/>
                  </a:cubicBezTo>
                  <a:cubicBezTo>
                    <a:pt x="3499" y="47"/>
                    <a:pt x="3511" y="59"/>
                    <a:pt x="3527" y="59"/>
                  </a:cubicBezTo>
                  <a:lnTo>
                    <a:pt x="3661" y="59"/>
                  </a:lnTo>
                  <a:lnTo>
                    <a:pt x="3661" y="569"/>
                  </a:lnTo>
                  <a:lnTo>
                    <a:pt x="3713" y="569"/>
                  </a:lnTo>
                  <a:lnTo>
                    <a:pt x="3713" y="59"/>
                  </a:lnTo>
                  <a:lnTo>
                    <a:pt x="3846" y="59"/>
                  </a:lnTo>
                  <a:cubicBezTo>
                    <a:pt x="3862" y="60"/>
                    <a:pt x="3874" y="47"/>
                    <a:pt x="3874" y="31"/>
                  </a:cubicBezTo>
                  <a:close/>
                  <a:moveTo>
                    <a:pt x="2759" y="0"/>
                  </a:moveTo>
                  <a:lnTo>
                    <a:pt x="2759" y="0"/>
                  </a:lnTo>
                  <a:cubicBezTo>
                    <a:pt x="2748" y="0"/>
                    <a:pt x="2741" y="7"/>
                    <a:pt x="2735" y="16"/>
                  </a:cubicBezTo>
                  <a:cubicBezTo>
                    <a:pt x="2731" y="26"/>
                    <a:pt x="2523" y="538"/>
                    <a:pt x="2523" y="538"/>
                  </a:cubicBezTo>
                  <a:cubicBezTo>
                    <a:pt x="2522" y="541"/>
                    <a:pt x="2521" y="544"/>
                    <a:pt x="2521" y="547"/>
                  </a:cubicBezTo>
                  <a:cubicBezTo>
                    <a:pt x="2521" y="562"/>
                    <a:pt x="2532" y="573"/>
                    <a:pt x="2547" y="573"/>
                  </a:cubicBezTo>
                  <a:cubicBezTo>
                    <a:pt x="2558" y="573"/>
                    <a:pt x="2567" y="566"/>
                    <a:pt x="2570" y="556"/>
                  </a:cubicBezTo>
                  <a:lnTo>
                    <a:pt x="2651" y="359"/>
                  </a:lnTo>
                  <a:lnTo>
                    <a:pt x="2868" y="359"/>
                  </a:lnTo>
                  <a:lnTo>
                    <a:pt x="2954" y="569"/>
                  </a:lnTo>
                  <a:lnTo>
                    <a:pt x="3009" y="569"/>
                  </a:lnTo>
                  <a:cubicBezTo>
                    <a:pt x="3009" y="569"/>
                    <a:pt x="2788" y="25"/>
                    <a:pt x="2784" y="16"/>
                  </a:cubicBezTo>
                  <a:cubicBezTo>
                    <a:pt x="2779" y="7"/>
                    <a:pt x="2770" y="0"/>
                    <a:pt x="2759" y="0"/>
                  </a:cubicBezTo>
                  <a:close/>
                  <a:moveTo>
                    <a:pt x="2675" y="302"/>
                  </a:moveTo>
                  <a:lnTo>
                    <a:pt x="2675" y="302"/>
                  </a:lnTo>
                  <a:lnTo>
                    <a:pt x="2760" y="93"/>
                  </a:lnTo>
                  <a:lnTo>
                    <a:pt x="2845" y="302"/>
                  </a:lnTo>
                  <a:lnTo>
                    <a:pt x="2675" y="302"/>
                  </a:lnTo>
                  <a:close/>
                  <a:moveTo>
                    <a:pt x="1742" y="0"/>
                  </a:moveTo>
                  <a:lnTo>
                    <a:pt x="1742" y="0"/>
                  </a:lnTo>
                  <a:cubicBezTo>
                    <a:pt x="1731" y="0"/>
                    <a:pt x="1723" y="7"/>
                    <a:pt x="1718" y="16"/>
                  </a:cubicBezTo>
                  <a:cubicBezTo>
                    <a:pt x="1714" y="25"/>
                    <a:pt x="1549" y="430"/>
                    <a:pt x="1549" y="430"/>
                  </a:cubicBezTo>
                  <a:cubicBezTo>
                    <a:pt x="1549" y="430"/>
                    <a:pt x="1385" y="24"/>
                    <a:pt x="1381" y="16"/>
                  </a:cubicBezTo>
                  <a:cubicBezTo>
                    <a:pt x="1376" y="7"/>
                    <a:pt x="1368" y="0"/>
                    <a:pt x="1357" y="0"/>
                  </a:cubicBezTo>
                  <a:cubicBezTo>
                    <a:pt x="1345" y="0"/>
                    <a:pt x="1335" y="9"/>
                    <a:pt x="1332" y="21"/>
                  </a:cubicBezTo>
                  <a:cubicBezTo>
                    <a:pt x="1329" y="33"/>
                    <a:pt x="1237" y="543"/>
                    <a:pt x="1237" y="543"/>
                  </a:cubicBezTo>
                  <a:cubicBezTo>
                    <a:pt x="1237" y="545"/>
                    <a:pt x="1236" y="546"/>
                    <a:pt x="1236" y="548"/>
                  </a:cubicBezTo>
                  <a:cubicBezTo>
                    <a:pt x="1236" y="562"/>
                    <a:pt x="1247" y="573"/>
                    <a:pt x="1261" y="573"/>
                  </a:cubicBezTo>
                  <a:cubicBezTo>
                    <a:pt x="1273" y="573"/>
                    <a:pt x="1284" y="564"/>
                    <a:pt x="1286" y="553"/>
                  </a:cubicBezTo>
                  <a:lnTo>
                    <a:pt x="1366" y="116"/>
                  </a:lnTo>
                  <a:cubicBezTo>
                    <a:pt x="1366" y="116"/>
                    <a:pt x="1521" y="498"/>
                    <a:pt x="1526" y="507"/>
                  </a:cubicBezTo>
                  <a:cubicBezTo>
                    <a:pt x="1530" y="516"/>
                    <a:pt x="1538" y="523"/>
                    <a:pt x="1549" y="523"/>
                  </a:cubicBezTo>
                  <a:cubicBezTo>
                    <a:pt x="1560" y="523"/>
                    <a:pt x="1569" y="516"/>
                    <a:pt x="1573" y="507"/>
                  </a:cubicBezTo>
                  <a:cubicBezTo>
                    <a:pt x="1578" y="498"/>
                    <a:pt x="1732" y="116"/>
                    <a:pt x="1732" y="116"/>
                  </a:cubicBezTo>
                  <a:lnTo>
                    <a:pt x="1816" y="570"/>
                  </a:lnTo>
                  <a:lnTo>
                    <a:pt x="1868" y="570"/>
                  </a:lnTo>
                  <a:cubicBezTo>
                    <a:pt x="1868" y="570"/>
                    <a:pt x="1770" y="33"/>
                    <a:pt x="1767" y="21"/>
                  </a:cubicBezTo>
                  <a:cubicBezTo>
                    <a:pt x="1763" y="9"/>
                    <a:pt x="1754" y="0"/>
                    <a:pt x="1742" y="0"/>
                  </a:cubicBezTo>
                  <a:close/>
                  <a:moveTo>
                    <a:pt x="2226" y="57"/>
                  </a:moveTo>
                  <a:lnTo>
                    <a:pt x="2226" y="57"/>
                  </a:lnTo>
                  <a:cubicBezTo>
                    <a:pt x="2288" y="57"/>
                    <a:pt x="2345" y="80"/>
                    <a:pt x="2389" y="124"/>
                  </a:cubicBezTo>
                  <a:cubicBezTo>
                    <a:pt x="2399" y="134"/>
                    <a:pt x="2419" y="134"/>
                    <a:pt x="2429" y="124"/>
                  </a:cubicBezTo>
                  <a:cubicBezTo>
                    <a:pt x="2434" y="119"/>
                    <a:pt x="2437" y="112"/>
                    <a:pt x="2437" y="104"/>
                  </a:cubicBezTo>
                  <a:cubicBezTo>
                    <a:pt x="2437" y="96"/>
                    <a:pt x="2434" y="89"/>
                    <a:pt x="2429" y="84"/>
                  </a:cubicBezTo>
                  <a:lnTo>
                    <a:pt x="2426" y="80"/>
                  </a:lnTo>
                  <a:cubicBezTo>
                    <a:pt x="2372" y="29"/>
                    <a:pt x="2301" y="0"/>
                    <a:pt x="2226" y="0"/>
                  </a:cubicBezTo>
                  <a:cubicBezTo>
                    <a:pt x="2069" y="0"/>
                    <a:pt x="1940" y="129"/>
                    <a:pt x="1940" y="287"/>
                  </a:cubicBezTo>
                  <a:cubicBezTo>
                    <a:pt x="1940" y="445"/>
                    <a:pt x="2069" y="573"/>
                    <a:pt x="2226" y="573"/>
                  </a:cubicBezTo>
                  <a:cubicBezTo>
                    <a:pt x="2310" y="573"/>
                    <a:pt x="2385" y="538"/>
                    <a:pt x="2437" y="480"/>
                  </a:cubicBezTo>
                  <a:lnTo>
                    <a:pt x="2397" y="440"/>
                  </a:lnTo>
                  <a:cubicBezTo>
                    <a:pt x="2355" y="487"/>
                    <a:pt x="2294" y="516"/>
                    <a:pt x="2226" y="516"/>
                  </a:cubicBezTo>
                  <a:cubicBezTo>
                    <a:pt x="2100" y="516"/>
                    <a:pt x="1996" y="413"/>
                    <a:pt x="1996" y="286"/>
                  </a:cubicBezTo>
                  <a:cubicBezTo>
                    <a:pt x="1996" y="160"/>
                    <a:pt x="2100" y="57"/>
                    <a:pt x="2226" y="57"/>
                  </a:cubicBezTo>
                  <a:close/>
                  <a:moveTo>
                    <a:pt x="285" y="57"/>
                  </a:moveTo>
                  <a:lnTo>
                    <a:pt x="285" y="57"/>
                  </a:lnTo>
                  <a:cubicBezTo>
                    <a:pt x="347" y="57"/>
                    <a:pt x="404" y="80"/>
                    <a:pt x="448" y="124"/>
                  </a:cubicBezTo>
                  <a:cubicBezTo>
                    <a:pt x="459" y="134"/>
                    <a:pt x="478" y="134"/>
                    <a:pt x="488" y="124"/>
                  </a:cubicBezTo>
                  <a:cubicBezTo>
                    <a:pt x="494" y="119"/>
                    <a:pt x="497" y="112"/>
                    <a:pt x="497" y="104"/>
                  </a:cubicBezTo>
                  <a:cubicBezTo>
                    <a:pt x="497" y="96"/>
                    <a:pt x="494" y="89"/>
                    <a:pt x="488" y="84"/>
                  </a:cubicBezTo>
                  <a:lnTo>
                    <a:pt x="485" y="80"/>
                  </a:lnTo>
                  <a:cubicBezTo>
                    <a:pt x="431" y="29"/>
                    <a:pt x="361" y="0"/>
                    <a:pt x="286" y="0"/>
                  </a:cubicBezTo>
                  <a:cubicBezTo>
                    <a:pt x="128" y="0"/>
                    <a:pt x="0" y="129"/>
                    <a:pt x="0" y="287"/>
                  </a:cubicBezTo>
                  <a:cubicBezTo>
                    <a:pt x="0" y="445"/>
                    <a:pt x="128" y="573"/>
                    <a:pt x="286" y="573"/>
                  </a:cubicBezTo>
                  <a:cubicBezTo>
                    <a:pt x="369" y="573"/>
                    <a:pt x="444" y="538"/>
                    <a:pt x="497" y="480"/>
                  </a:cubicBezTo>
                  <a:lnTo>
                    <a:pt x="457" y="440"/>
                  </a:lnTo>
                  <a:cubicBezTo>
                    <a:pt x="415" y="487"/>
                    <a:pt x="353" y="516"/>
                    <a:pt x="286" y="516"/>
                  </a:cubicBezTo>
                  <a:cubicBezTo>
                    <a:pt x="159" y="516"/>
                    <a:pt x="56" y="413"/>
                    <a:pt x="56" y="286"/>
                  </a:cubicBezTo>
                  <a:cubicBezTo>
                    <a:pt x="55" y="160"/>
                    <a:pt x="159" y="57"/>
                    <a:pt x="285" y="57"/>
                  </a:cubicBezTo>
                  <a:close/>
                  <a:moveTo>
                    <a:pt x="3341" y="290"/>
                  </a:moveTo>
                  <a:lnTo>
                    <a:pt x="3341" y="290"/>
                  </a:lnTo>
                  <a:cubicBezTo>
                    <a:pt x="3326" y="282"/>
                    <a:pt x="3233" y="234"/>
                    <a:pt x="3219" y="227"/>
                  </a:cubicBezTo>
                  <a:cubicBezTo>
                    <a:pt x="3170" y="201"/>
                    <a:pt x="3152" y="179"/>
                    <a:pt x="3152" y="142"/>
                  </a:cubicBezTo>
                  <a:cubicBezTo>
                    <a:pt x="3152" y="90"/>
                    <a:pt x="3195" y="56"/>
                    <a:pt x="3262" y="56"/>
                  </a:cubicBezTo>
                  <a:cubicBezTo>
                    <a:pt x="3301" y="56"/>
                    <a:pt x="3339" y="73"/>
                    <a:pt x="3361" y="86"/>
                  </a:cubicBezTo>
                  <a:cubicBezTo>
                    <a:pt x="3365" y="88"/>
                    <a:pt x="3370" y="89"/>
                    <a:pt x="3374" y="89"/>
                  </a:cubicBezTo>
                  <a:cubicBezTo>
                    <a:pt x="3390" y="89"/>
                    <a:pt x="3403" y="77"/>
                    <a:pt x="3403" y="61"/>
                  </a:cubicBezTo>
                  <a:cubicBezTo>
                    <a:pt x="3403" y="51"/>
                    <a:pt x="3397" y="42"/>
                    <a:pt x="3388" y="37"/>
                  </a:cubicBezTo>
                  <a:cubicBezTo>
                    <a:pt x="3361" y="21"/>
                    <a:pt x="3313" y="0"/>
                    <a:pt x="3262" y="0"/>
                  </a:cubicBezTo>
                  <a:cubicBezTo>
                    <a:pt x="3165" y="0"/>
                    <a:pt x="3097" y="58"/>
                    <a:pt x="3097" y="142"/>
                  </a:cubicBezTo>
                  <a:cubicBezTo>
                    <a:pt x="3097" y="217"/>
                    <a:pt x="3146" y="252"/>
                    <a:pt x="3194" y="277"/>
                  </a:cubicBezTo>
                  <a:cubicBezTo>
                    <a:pt x="3208" y="284"/>
                    <a:pt x="3302" y="333"/>
                    <a:pt x="3317" y="340"/>
                  </a:cubicBezTo>
                  <a:cubicBezTo>
                    <a:pt x="3354" y="360"/>
                    <a:pt x="3375" y="390"/>
                    <a:pt x="3375" y="423"/>
                  </a:cubicBezTo>
                  <a:cubicBezTo>
                    <a:pt x="3375" y="468"/>
                    <a:pt x="3337" y="516"/>
                    <a:pt x="3266" y="516"/>
                  </a:cubicBezTo>
                  <a:cubicBezTo>
                    <a:pt x="3196" y="516"/>
                    <a:pt x="3143" y="470"/>
                    <a:pt x="3129" y="456"/>
                  </a:cubicBezTo>
                  <a:lnTo>
                    <a:pt x="3124" y="451"/>
                  </a:lnTo>
                  <a:lnTo>
                    <a:pt x="3082" y="489"/>
                  </a:lnTo>
                  <a:lnTo>
                    <a:pt x="3087" y="494"/>
                  </a:lnTo>
                  <a:cubicBezTo>
                    <a:pt x="3106" y="512"/>
                    <a:pt x="3173" y="572"/>
                    <a:pt x="3266" y="572"/>
                  </a:cubicBezTo>
                  <a:cubicBezTo>
                    <a:pt x="3369" y="572"/>
                    <a:pt x="3431" y="496"/>
                    <a:pt x="3431" y="422"/>
                  </a:cubicBezTo>
                  <a:cubicBezTo>
                    <a:pt x="3431" y="368"/>
                    <a:pt x="3398" y="320"/>
                    <a:pt x="3341" y="290"/>
                  </a:cubicBezTo>
                  <a:close/>
                  <a:moveTo>
                    <a:pt x="872" y="0"/>
                  </a:moveTo>
                  <a:lnTo>
                    <a:pt x="872" y="0"/>
                  </a:lnTo>
                  <a:cubicBezTo>
                    <a:pt x="715" y="0"/>
                    <a:pt x="586" y="129"/>
                    <a:pt x="586" y="287"/>
                  </a:cubicBezTo>
                  <a:cubicBezTo>
                    <a:pt x="586" y="445"/>
                    <a:pt x="715" y="573"/>
                    <a:pt x="872" y="573"/>
                  </a:cubicBezTo>
                  <a:cubicBezTo>
                    <a:pt x="1030" y="573"/>
                    <a:pt x="1159" y="445"/>
                    <a:pt x="1159" y="287"/>
                  </a:cubicBezTo>
                  <a:cubicBezTo>
                    <a:pt x="1159" y="129"/>
                    <a:pt x="1030" y="0"/>
                    <a:pt x="872" y="0"/>
                  </a:cubicBezTo>
                  <a:close/>
                  <a:moveTo>
                    <a:pt x="872" y="516"/>
                  </a:moveTo>
                  <a:lnTo>
                    <a:pt x="872" y="516"/>
                  </a:lnTo>
                  <a:cubicBezTo>
                    <a:pt x="746" y="516"/>
                    <a:pt x="642" y="413"/>
                    <a:pt x="642" y="286"/>
                  </a:cubicBezTo>
                  <a:cubicBezTo>
                    <a:pt x="642" y="159"/>
                    <a:pt x="746" y="56"/>
                    <a:pt x="872" y="56"/>
                  </a:cubicBezTo>
                  <a:cubicBezTo>
                    <a:pt x="999" y="56"/>
                    <a:pt x="1103" y="159"/>
                    <a:pt x="1103" y="286"/>
                  </a:cubicBezTo>
                  <a:cubicBezTo>
                    <a:pt x="1102" y="413"/>
                    <a:pt x="999" y="516"/>
                    <a:pt x="872" y="516"/>
                  </a:cubicBezTo>
                  <a:close/>
                </a:path>
              </a:pathLst>
            </a:custGeom>
            <a:solidFill>
              <a:srgbClr val="112F64"/>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n-US"/>
            </a:p>
          </p:txBody>
        </p:sp>
        <p:sp>
          <p:nvSpPr>
            <p:cNvPr id="1033" name="Freeform 6">
              <a:extLst>
                <a:ext uri="{FF2B5EF4-FFF2-40B4-BE49-F238E27FC236}">
                  <a16:creationId xmlns:a16="http://schemas.microsoft.com/office/drawing/2014/main" id="{0E771B63-114C-4BCC-9117-A7E23615B29B}"/>
                </a:ext>
              </a:extLst>
            </p:cNvPr>
            <p:cNvSpPr>
              <a:spLocks noEditPoints="1"/>
            </p:cNvSpPr>
            <p:nvPr/>
          </p:nvSpPr>
          <p:spPr bwMode="auto">
            <a:xfrm>
              <a:off x="1114" y="4035"/>
              <a:ext cx="763" cy="116"/>
            </a:xfrm>
            <a:custGeom>
              <a:avLst/>
              <a:gdLst>
                <a:gd name="T0" fmla="*/ 29 w 3842"/>
                <a:gd name="T1" fmla="*/ 5 h 576"/>
                <a:gd name="T2" fmla="*/ 28 w 3842"/>
                <a:gd name="T3" fmla="*/ 2 h 576"/>
                <a:gd name="T4" fmla="*/ 29 w 3842"/>
                <a:gd name="T5" fmla="*/ 1 h 576"/>
                <a:gd name="T6" fmla="*/ 30 w 3842"/>
                <a:gd name="T7" fmla="*/ 0 h 576"/>
                <a:gd name="T8" fmla="*/ 28 w 3842"/>
                <a:gd name="T9" fmla="*/ 2 h 576"/>
                <a:gd name="T10" fmla="*/ 29 w 3842"/>
                <a:gd name="T11" fmla="*/ 4 h 576"/>
                <a:gd name="T12" fmla="*/ 23 w 3842"/>
                <a:gd name="T13" fmla="*/ 4 h 576"/>
                <a:gd name="T14" fmla="*/ 26 w 3842"/>
                <a:gd name="T15" fmla="*/ 3 h 576"/>
                <a:gd name="T16" fmla="*/ 24 w 3842"/>
                <a:gd name="T17" fmla="*/ 1 h 576"/>
                <a:gd name="T18" fmla="*/ 26 w 3842"/>
                <a:gd name="T19" fmla="*/ 1 h 576"/>
                <a:gd name="T20" fmla="*/ 25 w 3842"/>
                <a:gd name="T21" fmla="*/ 0 h 576"/>
                <a:gd name="T22" fmla="*/ 25 w 3842"/>
                <a:gd name="T23" fmla="*/ 3 h 576"/>
                <a:gd name="T24" fmla="*/ 24 w 3842"/>
                <a:gd name="T25" fmla="*/ 3 h 576"/>
                <a:gd name="T26" fmla="*/ 9 w 3842"/>
                <a:gd name="T27" fmla="*/ 4 h 576"/>
                <a:gd name="T28" fmla="*/ 11 w 3842"/>
                <a:gd name="T29" fmla="*/ 2 h 576"/>
                <a:gd name="T30" fmla="*/ 10 w 3842"/>
                <a:gd name="T31" fmla="*/ 1 h 576"/>
                <a:gd name="T32" fmla="*/ 12 w 3842"/>
                <a:gd name="T33" fmla="*/ 1 h 576"/>
                <a:gd name="T34" fmla="*/ 9 w 3842"/>
                <a:gd name="T35" fmla="*/ 1 h 576"/>
                <a:gd name="T36" fmla="*/ 11 w 3842"/>
                <a:gd name="T37" fmla="*/ 3 h 576"/>
                <a:gd name="T38" fmla="*/ 9 w 3842"/>
                <a:gd name="T39" fmla="*/ 4 h 576"/>
                <a:gd name="T40" fmla="*/ 15 w 3842"/>
                <a:gd name="T41" fmla="*/ 0 h 576"/>
                <a:gd name="T42" fmla="*/ 16 w 3842"/>
                <a:gd name="T43" fmla="*/ 4 h 576"/>
                <a:gd name="T44" fmla="*/ 18 w 3842"/>
                <a:gd name="T45" fmla="*/ 5 h 576"/>
                <a:gd name="T46" fmla="*/ 18 w 3842"/>
                <a:gd name="T47" fmla="*/ 0 h 576"/>
                <a:gd name="T48" fmla="*/ 15 w 3842"/>
                <a:gd name="T49" fmla="*/ 0 h 576"/>
                <a:gd name="T50" fmla="*/ 3 w 3842"/>
                <a:gd name="T51" fmla="*/ 3 h 576"/>
                <a:gd name="T52" fmla="*/ 0 w 3842"/>
                <a:gd name="T53" fmla="*/ 0 h 576"/>
                <a:gd name="T54" fmla="*/ 3 w 3842"/>
                <a:gd name="T55" fmla="*/ 1 h 576"/>
                <a:gd name="T56" fmla="*/ 1 w 3842"/>
                <a:gd name="T57" fmla="*/ 2 h 576"/>
                <a:gd name="T58" fmla="*/ 2 w 3842"/>
                <a:gd name="T59" fmla="*/ 1 h 576"/>
                <a:gd name="T60" fmla="*/ 2 w 3842"/>
                <a:gd name="T61" fmla="*/ 4 h 576"/>
                <a:gd name="T62" fmla="*/ 2 w 3842"/>
                <a:gd name="T63" fmla="*/ 3 h 576"/>
                <a:gd name="T64" fmla="*/ 2 w 3842"/>
                <a:gd name="T65" fmla="*/ 4 h 576"/>
                <a:gd name="T66" fmla="*/ 23 w 3842"/>
                <a:gd name="T67" fmla="*/ 0 h 576"/>
                <a:gd name="T68" fmla="*/ 20 w 3842"/>
                <a:gd name="T69" fmla="*/ 0 h 576"/>
                <a:gd name="T70" fmla="*/ 23 w 3842"/>
                <a:gd name="T71" fmla="*/ 5 h 576"/>
                <a:gd name="T72" fmla="*/ 20 w 3842"/>
                <a:gd name="T73" fmla="*/ 3 h 576"/>
                <a:gd name="T74" fmla="*/ 22 w 3842"/>
                <a:gd name="T75" fmla="*/ 2 h 576"/>
                <a:gd name="T76" fmla="*/ 22 w 3842"/>
                <a:gd name="T77" fmla="*/ 1 h 576"/>
                <a:gd name="T78" fmla="*/ 5 w 3842"/>
                <a:gd name="T79" fmla="*/ 0 h 576"/>
                <a:gd name="T80" fmla="*/ 4 w 3842"/>
                <a:gd name="T81" fmla="*/ 3 h 576"/>
                <a:gd name="T82" fmla="*/ 8 w 3842"/>
                <a:gd name="T83" fmla="*/ 0 h 576"/>
                <a:gd name="T84" fmla="*/ 6 w 3842"/>
                <a:gd name="T85" fmla="*/ 4 h 576"/>
                <a:gd name="T86" fmla="*/ 13 w 3842"/>
                <a:gd name="T87" fmla="*/ 0 h 576"/>
                <a:gd name="T88" fmla="*/ 13 w 3842"/>
                <a:gd name="T89" fmla="*/ 5 h 57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3842" h="576">
                  <a:moveTo>
                    <a:pt x="3464" y="491"/>
                  </a:moveTo>
                  <a:lnTo>
                    <a:pt x="3464" y="491"/>
                  </a:lnTo>
                  <a:cubicBezTo>
                    <a:pt x="3475" y="506"/>
                    <a:pt x="3529" y="576"/>
                    <a:pt x="3647" y="576"/>
                  </a:cubicBezTo>
                  <a:cubicBezTo>
                    <a:pt x="3763" y="576"/>
                    <a:pt x="3842" y="509"/>
                    <a:pt x="3842" y="415"/>
                  </a:cubicBezTo>
                  <a:cubicBezTo>
                    <a:pt x="3842" y="354"/>
                    <a:pt x="3818" y="305"/>
                    <a:pt x="3727" y="261"/>
                  </a:cubicBezTo>
                  <a:cubicBezTo>
                    <a:pt x="3703" y="249"/>
                    <a:pt x="3634" y="216"/>
                    <a:pt x="3634" y="216"/>
                  </a:cubicBezTo>
                  <a:cubicBezTo>
                    <a:pt x="3599" y="199"/>
                    <a:pt x="3583" y="178"/>
                    <a:pt x="3583" y="149"/>
                  </a:cubicBezTo>
                  <a:cubicBezTo>
                    <a:pt x="3583" y="120"/>
                    <a:pt x="3607" y="87"/>
                    <a:pt x="3667" y="87"/>
                  </a:cubicBezTo>
                  <a:cubicBezTo>
                    <a:pt x="3701" y="87"/>
                    <a:pt x="3727" y="98"/>
                    <a:pt x="3742" y="105"/>
                  </a:cubicBezTo>
                  <a:cubicBezTo>
                    <a:pt x="3748" y="108"/>
                    <a:pt x="3764" y="116"/>
                    <a:pt x="3780" y="116"/>
                  </a:cubicBezTo>
                  <a:cubicBezTo>
                    <a:pt x="3800" y="116"/>
                    <a:pt x="3822" y="102"/>
                    <a:pt x="3822" y="72"/>
                  </a:cubicBezTo>
                  <a:cubicBezTo>
                    <a:pt x="3822" y="48"/>
                    <a:pt x="3804" y="35"/>
                    <a:pt x="3789" y="28"/>
                  </a:cubicBezTo>
                  <a:cubicBezTo>
                    <a:pt x="3764" y="16"/>
                    <a:pt x="3726" y="0"/>
                    <a:pt x="3662" y="0"/>
                  </a:cubicBezTo>
                  <a:cubicBezTo>
                    <a:pt x="3561" y="0"/>
                    <a:pt x="3486" y="63"/>
                    <a:pt x="3486" y="153"/>
                  </a:cubicBezTo>
                  <a:cubicBezTo>
                    <a:pt x="3486" y="234"/>
                    <a:pt x="3540" y="275"/>
                    <a:pt x="3606" y="307"/>
                  </a:cubicBezTo>
                  <a:cubicBezTo>
                    <a:pt x="3619" y="312"/>
                    <a:pt x="3668" y="336"/>
                    <a:pt x="3681" y="343"/>
                  </a:cubicBezTo>
                  <a:cubicBezTo>
                    <a:pt x="3724" y="363"/>
                    <a:pt x="3746" y="382"/>
                    <a:pt x="3746" y="417"/>
                  </a:cubicBezTo>
                  <a:cubicBezTo>
                    <a:pt x="3746" y="455"/>
                    <a:pt x="3710" y="487"/>
                    <a:pt x="3656" y="487"/>
                  </a:cubicBezTo>
                  <a:cubicBezTo>
                    <a:pt x="3579" y="487"/>
                    <a:pt x="3538" y="436"/>
                    <a:pt x="3531" y="428"/>
                  </a:cubicBezTo>
                  <a:lnTo>
                    <a:pt x="3464" y="491"/>
                  </a:lnTo>
                  <a:close/>
                  <a:moveTo>
                    <a:pt x="2997" y="491"/>
                  </a:moveTo>
                  <a:lnTo>
                    <a:pt x="2997" y="491"/>
                  </a:lnTo>
                  <a:cubicBezTo>
                    <a:pt x="3009" y="506"/>
                    <a:pt x="3063" y="576"/>
                    <a:pt x="3182" y="576"/>
                  </a:cubicBezTo>
                  <a:cubicBezTo>
                    <a:pt x="3297" y="576"/>
                    <a:pt x="3376" y="509"/>
                    <a:pt x="3376" y="415"/>
                  </a:cubicBezTo>
                  <a:cubicBezTo>
                    <a:pt x="3376" y="354"/>
                    <a:pt x="3352" y="305"/>
                    <a:pt x="3261" y="261"/>
                  </a:cubicBezTo>
                  <a:cubicBezTo>
                    <a:pt x="3237" y="249"/>
                    <a:pt x="3169" y="216"/>
                    <a:pt x="3169" y="216"/>
                  </a:cubicBezTo>
                  <a:cubicBezTo>
                    <a:pt x="3133" y="199"/>
                    <a:pt x="3116" y="178"/>
                    <a:pt x="3116" y="149"/>
                  </a:cubicBezTo>
                  <a:cubicBezTo>
                    <a:pt x="3116" y="120"/>
                    <a:pt x="3141" y="87"/>
                    <a:pt x="3201" y="87"/>
                  </a:cubicBezTo>
                  <a:cubicBezTo>
                    <a:pt x="3235" y="87"/>
                    <a:pt x="3261" y="98"/>
                    <a:pt x="3275" y="105"/>
                  </a:cubicBezTo>
                  <a:cubicBezTo>
                    <a:pt x="3283" y="108"/>
                    <a:pt x="3299" y="116"/>
                    <a:pt x="3314" y="116"/>
                  </a:cubicBezTo>
                  <a:cubicBezTo>
                    <a:pt x="3334" y="116"/>
                    <a:pt x="3356" y="102"/>
                    <a:pt x="3356" y="72"/>
                  </a:cubicBezTo>
                  <a:cubicBezTo>
                    <a:pt x="3356" y="48"/>
                    <a:pt x="3339" y="35"/>
                    <a:pt x="3323" y="28"/>
                  </a:cubicBezTo>
                  <a:cubicBezTo>
                    <a:pt x="3299" y="16"/>
                    <a:pt x="3260" y="0"/>
                    <a:pt x="3197" y="0"/>
                  </a:cubicBezTo>
                  <a:cubicBezTo>
                    <a:pt x="3095" y="0"/>
                    <a:pt x="3020" y="63"/>
                    <a:pt x="3020" y="153"/>
                  </a:cubicBezTo>
                  <a:cubicBezTo>
                    <a:pt x="3020" y="234"/>
                    <a:pt x="3075" y="275"/>
                    <a:pt x="3141" y="307"/>
                  </a:cubicBezTo>
                  <a:cubicBezTo>
                    <a:pt x="3154" y="312"/>
                    <a:pt x="3203" y="336"/>
                    <a:pt x="3217" y="343"/>
                  </a:cubicBezTo>
                  <a:cubicBezTo>
                    <a:pt x="3258" y="363"/>
                    <a:pt x="3280" y="382"/>
                    <a:pt x="3280" y="417"/>
                  </a:cubicBezTo>
                  <a:cubicBezTo>
                    <a:pt x="3280" y="455"/>
                    <a:pt x="3244" y="487"/>
                    <a:pt x="3191" y="487"/>
                  </a:cubicBezTo>
                  <a:cubicBezTo>
                    <a:pt x="3113" y="487"/>
                    <a:pt x="3072" y="436"/>
                    <a:pt x="3065" y="428"/>
                  </a:cubicBezTo>
                  <a:lnTo>
                    <a:pt x="2997" y="491"/>
                  </a:lnTo>
                  <a:close/>
                  <a:moveTo>
                    <a:pt x="1117" y="491"/>
                  </a:moveTo>
                  <a:lnTo>
                    <a:pt x="1117" y="491"/>
                  </a:lnTo>
                  <a:cubicBezTo>
                    <a:pt x="1129" y="506"/>
                    <a:pt x="1182" y="576"/>
                    <a:pt x="1301" y="576"/>
                  </a:cubicBezTo>
                  <a:cubicBezTo>
                    <a:pt x="1417" y="576"/>
                    <a:pt x="1496" y="509"/>
                    <a:pt x="1496" y="415"/>
                  </a:cubicBezTo>
                  <a:cubicBezTo>
                    <a:pt x="1496" y="354"/>
                    <a:pt x="1472" y="305"/>
                    <a:pt x="1381" y="261"/>
                  </a:cubicBezTo>
                  <a:cubicBezTo>
                    <a:pt x="1356" y="249"/>
                    <a:pt x="1288" y="216"/>
                    <a:pt x="1288" y="216"/>
                  </a:cubicBezTo>
                  <a:cubicBezTo>
                    <a:pt x="1252" y="199"/>
                    <a:pt x="1236" y="178"/>
                    <a:pt x="1236" y="149"/>
                  </a:cubicBezTo>
                  <a:cubicBezTo>
                    <a:pt x="1236" y="120"/>
                    <a:pt x="1261" y="87"/>
                    <a:pt x="1321" y="87"/>
                  </a:cubicBezTo>
                  <a:cubicBezTo>
                    <a:pt x="1355" y="87"/>
                    <a:pt x="1381" y="98"/>
                    <a:pt x="1395" y="105"/>
                  </a:cubicBezTo>
                  <a:cubicBezTo>
                    <a:pt x="1402" y="108"/>
                    <a:pt x="1418" y="116"/>
                    <a:pt x="1434" y="116"/>
                  </a:cubicBezTo>
                  <a:cubicBezTo>
                    <a:pt x="1454" y="116"/>
                    <a:pt x="1476" y="102"/>
                    <a:pt x="1476" y="72"/>
                  </a:cubicBezTo>
                  <a:cubicBezTo>
                    <a:pt x="1476" y="48"/>
                    <a:pt x="1458" y="35"/>
                    <a:pt x="1443" y="28"/>
                  </a:cubicBezTo>
                  <a:cubicBezTo>
                    <a:pt x="1418" y="16"/>
                    <a:pt x="1380" y="0"/>
                    <a:pt x="1316" y="0"/>
                  </a:cubicBezTo>
                  <a:cubicBezTo>
                    <a:pt x="1215" y="0"/>
                    <a:pt x="1140" y="63"/>
                    <a:pt x="1140" y="153"/>
                  </a:cubicBezTo>
                  <a:cubicBezTo>
                    <a:pt x="1140" y="234"/>
                    <a:pt x="1195" y="275"/>
                    <a:pt x="1261" y="307"/>
                  </a:cubicBezTo>
                  <a:cubicBezTo>
                    <a:pt x="1273" y="312"/>
                    <a:pt x="1322" y="336"/>
                    <a:pt x="1336" y="343"/>
                  </a:cubicBezTo>
                  <a:cubicBezTo>
                    <a:pt x="1378" y="363"/>
                    <a:pt x="1400" y="382"/>
                    <a:pt x="1400" y="417"/>
                  </a:cubicBezTo>
                  <a:cubicBezTo>
                    <a:pt x="1400" y="455"/>
                    <a:pt x="1364" y="487"/>
                    <a:pt x="1310" y="487"/>
                  </a:cubicBezTo>
                  <a:cubicBezTo>
                    <a:pt x="1233" y="487"/>
                    <a:pt x="1192" y="436"/>
                    <a:pt x="1185" y="428"/>
                  </a:cubicBezTo>
                  <a:lnTo>
                    <a:pt x="1117" y="491"/>
                  </a:lnTo>
                  <a:close/>
                  <a:moveTo>
                    <a:pt x="1949" y="0"/>
                  </a:moveTo>
                  <a:lnTo>
                    <a:pt x="1949" y="0"/>
                  </a:lnTo>
                  <a:cubicBezTo>
                    <a:pt x="1921" y="0"/>
                    <a:pt x="1903" y="19"/>
                    <a:pt x="1903" y="43"/>
                  </a:cubicBezTo>
                  <a:lnTo>
                    <a:pt x="1903" y="531"/>
                  </a:lnTo>
                  <a:cubicBezTo>
                    <a:pt x="1903" y="555"/>
                    <a:pt x="1924" y="575"/>
                    <a:pt x="1949" y="575"/>
                  </a:cubicBezTo>
                  <a:cubicBezTo>
                    <a:pt x="1972" y="575"/>
                    <a:pt x="1994" y="555"/>
                    <a:pt x="1994" y="531"/>
                  </a:cubicBezTo>
                  <a:lnTo>
                    <a:pt x="1994" y="179"/>
                  </a:lnTo>
                  <a:cubicBezTo>
                    <a:pt x="1994" y="179"/>
                    <a:pt x="2218" y="465"/>
                    <a:pt x="2276" y="541"/>
                  </a:cubicBezTo>
                  <a:cubicBezTo>
                    <a:pt x="2291" y="559"/>
                    <a:pt x="2302" y="576"/>
                    <a:pt x="2328" y="576"/>
                  </a:cubicBezTo>
                  <a:cubicBezTo>
                    <a:pt x="2355" y="576"/>
                    <a:pt x="2373" y="556"/>
                    <a:pt x="2373" y="532"/>
                  </a:cubicBezTo>
                  <a:lnTo>
                    <a:pt x="2373" y="3"/>
                  </a:lnTo>
                  <a:lnTo>
                    <a:pt x="2282" y="3"/>
                  </a:lnTo>
                  <a:lnTo>
                    <a:pt x="2282" y="398"/>
                  </a:lnTo>
                  <a:cubicBezTo>
                    <a:pt x="2282" y="398"/>
                    <a:pt x="2033" y="78"/>
                    <a:pt x="1998" y="34"/>
                  </a:cubicBezTo>
                  <a:cubicBezTo>
                    <a:pt x="1982" y="13"/>
                    <a:pt x="1970" y="0"/>
                    <a:pt x="1949" y="0"/>
                  </a:cubicBezTo>
                  <a:close/>
                  <a:moveTo>
                    <a:pt x="342" y="264"/>
                  </a:moveTo>
                  <a:lnTo>
                    <a:pt x="342" y="264"/>
                  </a:lnTo>
                  <a:cubicBezTo>
                    <a:pt x="358" y="272"/>
                    <a:pt x="426" y="301"/>
                    <a:pt x="426" y="402"/>
                  </a:cubicBezTo>
                  <a:cubicBezTo>
                    <a:pt x="426" y="497"/>
                    <a:pt x="355" y="572"/>
                    <a:pt x="252" y="572"/>
                  </a:cubicBezTo>
                  <a:lnTo>
                    <a:pt x="0" y="572"/>
                  </a:lnTo>
                  <a:lnTo>
                    <a:pt x="0" y="47"/>
                  </a:lnTo>
                  <a:cubicBezTo>
                    <a:pt x="0" y="20"/>
                    <a:pt x="18" y="2"/>
                    <a:pt x="44" y="2"/>
                  </a:cubicBezTo>
                  <a:lnTo>
                    <a:pt x="241" y="2"/>
                  </a:lnTo>
                  <a:cubicBezTo>
                    <a:pt x="336" y="2"/>
                    <a:pt x="399" y="59"/>
                    <a:pt x="399" y="147"/>
                  </a:cubicBezTo>
                  <a:cubicBezTo>
                    <a:pt x="399" y="221"/>
                    <a:pt x="357" y="254"/>
                    <a:pt x="342" y="264"/>
                  </a:cubicBezTo>
                  <a:close/>
                  <a:moveTo>
                    <a:pt x="91" y="230"/>
                  </a:moveTo>
                  <a:lnTo>
                    <a:pt x="91" y="230"/>
                  </a:lnTo>
                  <a:lnTo>
                    <a:pt x="229" y="230"/>
                  </a:lnTo>
                  <a:cubicBezTo>
                    <a:pt x="278" y="230"/>
                    <a:pt x="306" y="199"/>
                    <a:pt x="306" y="161"/>
                  </a:cubicBezTo>
                  <a:cubicBezTo>
                    <a:pt x="306" y="123"/>
                    <a:pt x="281" y="92"/>
                    <a:pt x="229" y="92"/>
                  </a:cubicBezTo>
                  <a:lnTo>
                    <a:pt x="91" y="92"/>
                  </a:lnTo>
                  <a:lnTo>
                    <a:pt x="91" y="230"/>
                  </a:lnTo>
                  <a:close/>
                  <a:moveTo>
                    <a:pt x="235" y="484"/>
                  </a:moveTo>
                  <a:lnTo>
                    <a:pt x="235" y="484"/>
                  </a:lnTo>
                  <a:cubicBezTo>
                    <a:pt x="300" y="484"/>
                    <a:pt x="333" y="446"/>
                    <a:pt x="333" y="400"/>
                  </a:cubicBezTo>
                  <a:cubicBezTo>
                    <a:pt x="333" y="352"/>
                    <a:pt x="301" y="314"/>
                    <a:pt x="235" y="314"/>
                  </a:cubicBezTo>
                  <a:lnTo>
                    <a:pt x="91" y="314"/>
                  </a:lnTo>
                  <a:lnTo>
                    <a:pt x="91" y="484"/>
                  </a:lnTo>
                  <a:lnTo>
                    <a:pt x="235" y="484"/>
                  </a:lnTo>
                  <a:close/>
                  <a:moveTo>
                    <a:pt x="2858" y="92"/>
                  </a:moveTo>
                  <a:lnTo>
                    <a:pt x="2858" y="92"/>
                  </a:lnTo>
                  <a:cubicBezTo>
                    <a:pt x="2888" y="92"/>
                    <a:pt x="2906" y="73"/>
                    <a:pt x="2906" y="48"/>
                  </a:cubicBezTo>
                  <a:cubicBezTo>
                    <a:pt x="2906" y="23"/>
                    <a:pt x="2887" y="3"/>
                    <a:pt x="2858" y="3"/>
                  </a:cubicBezTo>
                  <a:lnTo>
                    <a:pt x="2576" y="3"/>
                  </a:lnTo>
                  <a:cubicBezTo>
                    <a:pt x="2551" y="3"/>
                    <a:pt x="2532" y="22"/>
                    <a:pt x="2532" y="48"/>
                  </a:cubicBezTo>
                  <a:lnTo>
                    <a:pt x="2532" y="529"/>
                  </a:lnTo>
                  <a:cubicBezTo>
                    <a:pt x="2532" y="554"/>
                    <a:pt x="2551" y="573"/>
                    <a:pt x="2576" y="573"/>
                  </a:cubicBezTo>
                  <a:lnTo>
                    <a:pt x="2903" y="573"/>
                  </a:lnTo>
                  <a:lnTo>
                    <a:pt x="2903" y="484"/>
                  </a:lnTo>
                  <a:lnTo>
                    <a:pt x="2624" y="484"/>
                  </a:lnTo>
                  <a:lnTo>
                    <a:pt x="2624" y="318"/>
                  </a:lnTo>
                  <a:lnTo>
                    <a:pt x="2834" y="318"/>
                  </a:lnTo>
                  <a:cubicBezTo>
                    <a:pt x="2866" y="318"/>
                    <a:pt x="2884" y="299"/>
                    <a:pt x="2884" y="274"/>
                  </a:cubicBezTo>
                  <a:cubicBezTo>
                    <a:pt x="2884" y="248"/>
                    <a:pt x="2867" y="229"/>
                    <a:pt x="2834" y="229"/>
                  </a:cubicBezTo>
                  <a:lnTo>
                    <a:pt x="2624" y="229"/>
                  </a:lnTo>
                  <a:lnTo>
                    <a:pt x="2624" y="92"/>
                  </a:lnTo>
                  <a:lnTo>
                    <a:pt x="2858" y="92"/>
                  </a:lnTo>
                  <a:close/>
                  <a:moveTo>
                    <a:pt x="634" y="346"/>
                  </a:moveTo>
                  <a:lnTo>
                    <a:pt x="634" y="346"/>
                  </a:lnTo>
                  <a:lnTo>
                    <a:pt x="634" y="44"/>
                  </a:lnTo>
                  <a:cubicBezTo>
                    <a:pt x="634" y="19"/>
                    <a:pt x="616" y="0"/>
                    <a:pt x="588" y="0"/>
                  </a:cubicBezTo>
                  <a:cubicBezTo>
                    <a:pt x="560" y="0"/>
                    <a:pt x="542" y="19"/>
                    <a:pt x="542" y="44"/>
                  </a:cubicBezTo>
                  <a:lnTo>
                    <a:pt x="542" y="343"/>
                  </a:lnTo>
                  <a:cubicBezTo>
                    <a:pt x="542" y="471"/>
                    <a:pt x="632" y="575"/>
                    <a:pt x="776" y="575"/>
                  </a:cubicBezTo>
                  <a:cubicBezTo>
                    <a:pt x="920" y="575"/>
                    <a:pt x="1010" y="471"/>
                    <a:pt x="1010" y="343"/>
                  </a:cubicBezTo>
                  <a:lnTo>
                    <a:pt x="1010" y="2"/>
                  </a:lnTo>
                  <a:lnTo>
                    <a:pt x="918" y="2"/>
                  </a:lnTo>
                  <a:lnTo>
                    <a:pt x="918" y="345"/>
                  </a:lnTo>
                  <a:cubicBezTo>
                    <a:pt x="918" y="421"/>
                    <a:pt x="867" y="488"/>
                    <a:pt x="776" y="488"/>
                  </a:cubicBezTo>
                  <a:cubicBezTo>
                    <a:pt x="684" y="489"/>
                    <a:pt x="634" y="422"/>
                    <a:pt x="634" y="346"/>
                  </a:cubicBezTo>
                  <a:close/>
                  <a:moveTo>
                    <a:pt x="1676" y="0"/>
                  </a:moveTo>
                  <a:lnTo>
                    <a:pt x="1676" y="0"/>
                  </a:lnTo>
                  <a:cubicBezTo>
                    <a:pt x="1704" y="0"/>
                    <a:pt x="1722" y="19"/>
                    <a:pt x="1722" y="44"/>
                  </a:cubicBezTo>
                  <a:lnTo>
                    <a:pt x="1722" y="572"/>
                  </a:lnTo>
                  <a:lnTo>
                    <a:pt x="1630" y="572"/>
                  </a:lnTo>
                  <a:lnTo>
                    <a:pt x="1630" y="44"/>
                  </a:lnTo>
                  <a:cubicBezTo>
                    <a:pt x="1630" y="19"/>
                    <a:pt x="1647" y="0"/>
                    <a:pt x="1676" y="0"/>
                  </a:cubicBezTo>
                  <a:close/>
                </a:path>
              </a:pathLst>
            </a:custGeom>
            <a:solidFill>
              <a:srgbClr val="0D62F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n-US"/>
            </a:p>
          </p:txBody>
        </p:sp>
      </p:grpSp>
    </p:spTree>
    <p:extLst>
      <p:ext uri="{BB962C8B-B14F-4D97-AF65-F5344CB8AC3E}">
        <p14:creationId xmlns:p14="http://schemas.microsoft.com/office/powerpoint/2010/main" val="2464551959"/>
      </p:ext>
    </p:extLst>
  </p:cSld>
  <p:clrMap bg1="lt1" tx1="dk1" bg2="lt2" tx2="dk2" accent1="accent1" accent2="accent2" accent3="accent3" accent4="accent4" accent5="accent5" accent6="accent6" hlink="hlink" folHlink="folHlink"/>
  <p:sldLayoutIdLst>
    <p:sldLayoutId id="2147483787" r:id="rId1"/>
    <p:sldLayoutId id="2147483788" r:id="rId2"/>
    <p:sldLayoutId id="2147483789" r:id="rId3"/>
    <p:sldLayoutId id="2147483790" r:id="rId4"/>
    <p:sldLayoutId id="2147483791" r:id="rId5"/>
    <p:sldLayoutId id="2147483793" r:id="rId6"/>
    <p:sldLayoutId id="2147483794" r:id="rId7"/>
    <p:sldLayoutId id="2147483795" r:id="rId8"/>
    <p:sldLayoutId id="2147483796" r:id="rId9"/>
    <p:sldLayoutId id="2147483797" r:id="rId10"/>
    <p:sldLayoutId id="2147483798" r:id="rId11"/>
    <p:sldLayoutId id="2147483801" r:id="rId12"/>
    <p:sldLayoutId id="2147483802" r:id="rId13"/>
    <p:sldLayoutId id="2147483887" r:id="rId14"/>
  </p:sldLayoutIdLst>
  <p:hf hdr="0" dt="0"/>
  <p:txStyles>
    <p:titleStyle>
      <a:lvl1pPr algn="l" rtl="0" eaLnBrk="1" fontAlgn="base" hangingPunct="1">
        <a:lnSpc>
          <a:spcPct val="95000"/>
        </a:lnSpc>
        <a:spcBef>
          <a:spcPct val="0"/>
        </a:spcBef>
        <a:spcAft>
          <a:spcPct val="0"/>
        </a:spcAft>
        <a:defRPr sz="3200" kern="1200">
          <a:solidFill>
            <a:schemeClr val="accent1"/>
          </a:solidFill>
          <a:latin typeface="+mj-lt"/>
          <a:ea typeface="+mj-ea"/>
          <a:cs typeface="+mj-cs"/>
        </a:defRPr>
      </a:lvl1pPr>
      <a:lvl2pPr algn="l" rtl="0" eaLnBrk="1" fontAlgn="base" hangingPunct="1">
        <a:lnSpc>
          <a:spcPct val="95000"/>
        </a:lnSpc>
        <a:spcBef>
          <a:spcPct val="0"/>
        </a:spcBef>
        <a:spcAft>
          <a:spcPct val="0"/>
        </a:spcAft>
        <a:defRPr sz="3200">
          <a:solidFill>
            <a:schemeClr val="accent1"/>
          </a:solidFill>
          <a:latin typeface="Montserrat Light" panose="00000400000000000000" pitchFamily="2" charset="0"/>
        </a:defRPr>
      </a:lvl2pPr>
      <a:lvl3pPr algn="l" rtl="0" eaLnBrk="1" fontAlgn="base" hangingPunct="1">
        <a:lnSpc>
          <a:spcPct val="95000"/>
        </a:lnSpc>
        <a:spcBef>
          <a:spcPct val="0"/>
        </a:spcBef>
        <a:spcAft>
          <a:spcPct val="0"/>
        </a:spcAft>
        <a:defRPr sz="3200">
          <a:solidFill>
            <a:schemeClr val="accent1"/>
          </a:solidFill>
          <a:latin typeface="Montserrat Light" panose="00000400000000000000" pitchFamily="2" charset="0"/>
        </a:defRPr>
      </a:lvl3pPr>
      <a:lvl4pPr algn="l" rtl="0" eaLnBrk="1" fontAlgn="base" hangingPunct="1">
        <a:lnSpc>
          <a:spcPct val="95000"/>
        </a:lnSpc>
        <a:spcBef>
          <a:spcPct val="0"/>
        </a:spcBef>
        <a:spcAft>
          <a:spcPct val="0"/>
        </a:spcAft>
        <a:defRPr sz="3200">
          <a:solidFill>
            <a:schemeClr val="accent1"/>
          </a:solidFill>
          <a:latin typeface="Montserrat Light" panose="00000400000000000000" pitchFamily="2" charset="0"/>
        </a:defRPr>
      </a:lvl4pPr>
      <a:lvl5pPr algn="l" rtl="0" eaLnBrk="1" fontAlgn="base" hangingPunct="1">
        <a:lnSpc>
          <a:spcPct val="95000"/>
        </a:lnSpc>
        <a:spcBef>
          <a:spcPct val="0"/>
        </a:spcBef>
        <a:spcAft>
          <a:spcPct val="0"/>
        </a:spcAft>
        <a:defRPr sz="3200">
          <a:solidFill>
            <a:schemeClr val="accent1"/>
          </a:solidFill>
          <a:latin typeface="Montserrat Light" panose="00000400000000000000" pitchFamily="2" charset="0"/>
        </a:defRPr>
      </a:lvl5pPr>
      <a:lvl6pPr marL="457200" algn="l" rtl="0" eaLnBrk="1" fontAlgn="base" hangingPunct="1">
        <a:lnSpc>
          <a:spcPct val="95000"/>
        </a:lnSpc>
        <a:spcBef>
          <a:spcPct val="0"/>
        </a:spcBef>
        <a:spcAft>
          <a:spcPct val="0"/>
        </a:spcAft>
        <a:defRPr sz="3200">
          <a:solidFill>
            <a:schemeClr val="accent1"/>
          </a:solidFill>
          <a:latin typeface="Montserrat Light" panose="00000400000000000000" pitchFamily="2" charset="0"/>
        </a:defRPr>
      </a:lvl6pPr>
      <a:lvl7pPr marL="914400" algn="l" rtl="0" eaLnBrk="1" fontAlgn="base" hangingPunct="1">
        <a:lnSpc>
          <a:spcPct val="95000"/>
        </a:lnSpc>
        <a:spcBef>
          <a:spcPct val="0"/>
        </a:spcBef>
        <a:spcAft>
          <a:spcPct val="0"/>
        </a:spcAft>
        <a:defRPr sz="3200">
          <a:solidFill>
            <a:schemeClr val="accent1"/>
          </a:solidFill>
          <a:latin typeface="Montserrat Light" panose="00000400000000000000" pitchFamily="2" charset="0"/>
        </a:defRPr>
      </a:lvl7pPr>
      <a:lvl8pPr marL="1371600" algn="l" rtl="0" eaLnBrk="1" fontAlgn="base" hangingPunct="1">
        <a:lnSpc>
          <a:spcPct val="95000"/>
        </a:lnSpc>
        <a:spcBef>
          <a:spcPct val="0"/>
        </a:spcBef>
        <a:spcAft>
          <a:spcPct val="0"/>
        </a:spcAft>
        <a:defRPr sz="3200">
          <a:solidFill>
            <a:schemeClr val="accent1"/>
          </a:solidFill>
          <a:latin typeface="Montserrat Light" panose="00000400000000000000" pitchFamily="2" charset="0"/>
        </a:defRPr>
      </a:lvl8pPr>
      <a:lvl9pPr marL="1828800" algn="l" rtl="0" eaLnBrk="1" fontAlgn="base" hangingPunct="1">
        <a:lnSpc>
          <a:spcPct val="95000"/>
        </a:lnSpc>
        <a:spcBef>
          <a:spcPct val="0"/>
        </a:spcBef>
        <a:spcAft>
          <a:spcPct val="0"/>
        </a:spcAft>
        <a:defRPr sz="3200">
          <a:solidFill>
            <a:schemeClr val="accent1"/>
          </a:solidFill>
          <a:latin typeface="Montserrat Light" panose="00000400000000000000" pitchFamily="2" charset="0"/>
        </a:defRPr>
      </a:lvl9pPr>
    </p:titleStyle>
    <p:body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400" kern="1200">
          <a:solidFill>
            <a:schemeClr val="tx1"/>
          </a:solidFill>
          <a:latin typeface="+mn-lt"/>
          <a:ea typeface="+mn-ea"/>
          <a:cs typeface="+mn-cs"/>
        </a:defRPr>
      </a:lvl2pPr>
      <a:lvl3pPr marL="914400" algn="l" defTabSz="914400" rtl="0" eaLnBrk="1" latinLnBrk="0" hangingPunct="1">
        <a:defRPr sz="1400" kern="1200">
          <a:solidFill>
            <a:schemeClr val="tx1"/>
          </a:solidFill>
          <a:latin typeface="+mn-lt"/>
          <a:ea typeface="+mn-ea"/>
          <a:cs typeface="+mn-cs"/>
        </a:defRPr>
      </a:lvl3pPr>
      <a:lvl4pPr marL="1371600" algn="l" defTabSz="914400" rtl="0" eaLnBrk="1" latinLnBrk="0" hangingPunct="1">
        <a:defRPr sz="1400" kern="1200">
          <a:solidFill>
            <a:schemeClr val="tx1"/>
          </a:solidFill>
          <a:latin typeface="+mn-lt"/>
          <a:ea typeface="+mn-ea"/>
          <a:cs typeface="+mn-cs"/>
        </a:defRPr>
      </a:lvl4pPr>
      <a:lvl5pPr marL="1828800" algn="l" defTabSz="914400" rtl="0" eaLnBrk="1" latinLnBrk="0" hangingPunct="1">
        <a:defRPr sz="1400" kern="1200">
          <a:solidFill>
            <a:schemeClr val="tx1"/>
          </a:solidFill>
          <a:latin typeface="+mn-lt"/>
          <a:ea typeface="+mn-ea"/>
          <a:cs typeface="+mn-cs"/>
        </a:defRPr>
      </a:lvl5pPr>
      <a:lvl6pPr marL="2286000" algn="l" defTabSz="914400" rtl="0" eaLnBrk="1" latinLnBrk="0" hangingPunct="1">
        <a:defRPr sz="1400" kern="1200">
          <a:solidFill>
            <a:schemeClr val="tx1"/>
          </a:solidFill>
          <a:latin typeface="+mn-lt"/>
          <a:ea typeface="+mn-ea"/>
          <a:cs typeface="+mn-cs"/>
        </a:defRPr>
      </a:lvl6pPr>
      <a:lvl7pPr marL="2743200" algn="l" defTabSz="914400" rtl="0" eaLnBrk="1" latinLnBrk="0" hangingPunct="1">
        <a:defRPr sz="1400" kern="1200">
          <a:solidFill>
            <a:schemeClr val="tx1"/>
          </a:solidFill>
          <a:latin typeface="+mn-lt"/>
          <a:ea typeface="+mn-ea"/>
          <a:cs typeface="+mn-cs"/>
        </a:defRPr>
      </a:lvl7pPr>
      <a:lvl8pPr marL="3200400" algn="l" defTabSz="914400" rtl="0" eaLnBrk="1" latinLnBrk="0" hangingPunct="1">
        <a:defRPr sz="1400" kern="1200">
          <a:solidFill>
            <a:schemeClr val="tx1"/>
          </a:solidFill>
          <a:latin typeface="+mn-lt"/>
          <a:ea typeface="+mn-ea"/>
          <a:cs typeface="+mn-cs"/>
        </a:defRPr>
      </a:lvl8pPr>
      <a:lvl9pPr marL="3657600" algn="l" defTabSz="914400" rtl="0" eaLnBrk="1" latinLnBrk="0" hangingPunct="1">
        <a:defRPr sz="1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AF368E36-E827-5D44-2C94-F8565E661F37}"/>
              </a:ext>
            </a:extLst>
          </p:cNvPr>
          <p:cNvGraphicFramePr>
            <a:graphicFrameLocks noChangeAspect="1"/>
          </p:cNvGraphicFramePr>
          <p:nvPr userDrawn="1">
            <p:custDataLst>
              <p:tags r:id="rId34"/>
            </p:custDataLst>
            <p:extLst>
              <p:ext uri="{D42A27DB-BD31-4B8C-83A1-F6EECF244321}">
                <p14:modId xmlns:p14="http://schemas.microsoft.com/office/powerpoint/2010/main" val="1995393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5" imgW="395" imgH="396" progId="TCLayout.ActiveDocument.1">
                  <p:embed/>
                </p:oleObj>
              </mc:Choice>
              <mc:Fallback>
                <p:oleObj name="think-cell Slide" r:id="rId35" imgW="395" imgH="396" progId="TCLayout.ActiveDocument.1">
                  <p:embed/>
                  <p:pic>
                    <p:nvPicPr>
                      <p:cNvPr id="9" name="Object 8" hidden="1">
                        <a:extLst>
                          <a:ext uri="{FF2B5EF4-FFF2-40B4-BE49-F238E27FC236}">
                            <a16:creationId xmlns:a16="http://schemas.microsoft.com/office/drawing/2014/main" id="{AF368E36-E827-5D44-2C94-F8565E661F37}"/>
                          </a:ext>
                        </a:extLst>
                      </p:cNvPr>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4E0D44E-6AF3-48D6-A375-854F33C0050D}"/>
              </a:ext>
            </a:extLst>
          </p:cNvPr>
          <p:cNvSpPr>
            <a:spLocks noGrp="1"/>
          </p:cNvSpPr>
          <p:nvPr>
            <p:ph type="title"/>
          </p:nvPr>
        </p:nvSpPr>
        <p:spPr>
          <a:xfrm>
            <a:off x="429488" y="685800"/>
            <a:ext cx="11305312" cy="822960"/>
          </a:xfrm>
          <a:prstGeom prst="rect">
            <a:avLst/>
          </a:prstGeom>
        </p:spPr>
        <p:txBody>
          <a:bodyPr vert="horz" lIns="0" tIns="0" rIns="0" bIns="0" rtlCol="0" anchor="t" anchorCtr="0">
            <a:noAutofit/>
          </a:bodyPr>
          <a:lstStyle/>
          <a:p>
            <a:r>
              <a:rPr lang="en-US"/>
              <a:t>Click to edit Master title style</a:t>
            </a:r>
          </a:p>
        </p:txBody>
      </p:sp>
      <p:sp>
        <p:nvSpPr>
          <p:cNvPr id="3" name="Text Placeholder 2">
            <a:extLst>
              <a:ext uri="{FF2B5EF4-FFF2-40B4-BE49-F238E27FC236}">
                <a16:creationId xmlns:a16="http://schemas.microsoft.com/office/drawing/2014/main" id="{B8BE5C36-47C3-454B-8DE2-D117F9A51CDD}"/>
              </a:ext>
            </a:extLst>
          </p:cNvPr>
          <p:cNvSpPr>
            <a:spLocks noGrp="1"/>
          </p:cNvSpPr>
          <p:nvPr>
            <p:ph type="body" idx="1"/>
          </p:nvPr>
        </p:nvSpPr>
        <p:spPr>
          <a:xfrm>
            <a:off x="445208" y="1645920"/>
            <a:ext cx="11274552" cy="4663440"/>
          </a:xfrm>
          <a:prstGeom prst="rect">
            <a:avLst/>
          </a:prstGeom>
        </p:spPr>
        <p:txBody>
          <a:bodyPr vert="horz" lIns="0" tIns="0" rIns="0" bIns="0" rtlCol="0">
            <a:noAutofit/>
          </a:bodyPr>
          <a:lstStyle/>
          <a:p>
            <a:pPr lvl="0"/>
            <a:r>
              <a:rPr lang="en-US"/>
              <a:t>First level, 20pt Regular</a:t>
            </a:r>
          </a:p>
          <a:p>
            <a:pPr lvl="1"/>
            <a:r>
              <a:rPr lang="en-US"/>
              <a:t>Second level, 18pt</a:t>
            </a:r>
          </a:p>
          <a:p>
            <a:pPr lvl="2"/>
            <a:r>
              <a:rPr lang="en-US"/>
              <a:t>Third level, 16pt</a:t>
            </a:r>
          </a:p>
          <a:p>
            <a:pPr lvl="3"/>
            <a:r>
              <a:rPr lang="en-US"/>
              <a:t>Fourth level, 14pt</a:t>
            </a:r>
          </a:p>
          <a:p>
            <a:pPr marL="0" marR="0" lvl="4"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lang="en-US"/>
              <a:t>Fifth level, 12pt Bold, use for captions</a:t>
            </a:r>
          </a:p>
        </p:txBody>
      </p:sp>
      <p:sp>
        <p:nvSpPr>
          <p:cNvPr id="4" name="Date Placeholder 3">
            <a:extLst>
              <a:ext uri="{FF2B5EF4-FFF2-40B4-BE49-F238E27FC236}">
                <a16:creationId xmlns:a16="http://schemas.microsoft.com/office/drawing/2014/main" id="{A816EEBB-E46A-4F87-B643-EA8F3B204108}"/>
              </a:ext>
            </a:extLst>
          </p:cNvPr>
          <p:cNvSpPr>
            <a:spLocks noGrp="1"/>
          </p:cNvSpPr>
          <p:nvPr>
            <p:ph type="dt" sz="half" idx="2"/>
          </p:nvPr>
        </p:nvSpPr>
        <p:spPr>
          <a:xfrm>
            <a:off x="5404937" y="6407433"/>
            <a:ext cx="2579626" cy="201168"/>
          </a:xfrm>
          <a:prstGeom prst="rect">
            <a:avLst/>
          </a:prstGeom>
        </p:spPr>
        <p:txBody>
          <a:bodyPr vert="horz" lIns="0" tIns="0" rIns="0" bIns="0" rtlCol="0" anchor="ctr">
            <a:noAutofit/>
          </a:bodyPr>
          <a:lstStyle>
            <a:lvl1pPr algn="l">
              <a:defRPr sz="1200">
                <a:solidFill>
                  <a:schemeClr val="tx1"/>
                </a:solidFill>
              </a:defRPr>
            </a:lvl1pPr>
          </a:lstStyle>
          <a:p>
            <a:endParaRPr lang="en-US"/>
          </a:p>
        </p:txBody>
      </p:sp>
      <p:sp>
        <p:nvSpPr>
          <p:cNvPr id="5" name="Footer Placeholder 4">
            <a:extLst>
              <a:ext uri="{FF2B5EF4-FFF2-40B4-BE49-F238E27FC236}">
                <a16:creationId xmlns:a16="http://schemas.microsoft.com/office/drawing/2014/main" id="{B0B895C3-C7F0-4D18-84BC-16905F575C9C}"/>
              </a:ext>
            </a:extLst>
          </p:cNvPr>
          <p:cNvSpPr>
            <a:spLocks noGrp="1"/>
          </p:cNvSpPr>
          <p:nvPr>
            <p:ph type="ftr" sz="quarter" idx="3"/>
          </p:nvPr>
        </p:nvSpPr>
        <p:spPr>
          <a:xfrm>
            <a:off x="463296" y="6428058"/>
            <a:ext cx="4114800" cy="198318"/>
          </a:xfrm>
          <a:prstGeom prst="rect">
            <a:avLst/>
          </a:prstGeom>
        </p:spPr>
        <p:txBody>
          <a:bodyPr vert="horz" lIns="0" tIns="0" rIns="0" bIns="0" rtlCol="0" anchor="ctr">
            <a:noAutofit/>
          </a:bodyPr>
          <a:lstStyle>
            <a:lvl1pPr algn="l">
              <a:defRPr sz="800">
                <a:solidFill>
                  <a:schemeClr val="tx1"/>
                </a:solidFill>
              </a:defRPr>
            </a:lvl1pPr>
          </a:lstStyle>
          <a:p>
            <a:r>
              <a:rPr lang="en-US"/>
              <a:t>Copyright © 2021 Comcast Business. All rights reserved.</a:t>
            </a:r>
          </a:p>
        </p:txBody>
      </p:sp>
      <p:sp>
        <p:nvSpPr>
          <p:cNvPr id="6" name="Slide Number Placeholder 5">
            <a:extLst>
              <a:ext uri="{FF2B5EF4-FFF2-40B4-BE49-F238E27FC236}">
                <a16:creationId xmlns:a16="http://schemas.microsoft.com/office/drawing/2014/main" id="{DD83C4A7-CDC5-4B79-8D38-512EC76E65FA}"/>
              </a:ext>
            </a:extLst>
          </p:cNvPr>
          <p:cNvSpPr>
            <a:spLocks noGrp="1"/>
          </p:cNvSpPr>
          <p:nvPr>
            <p:ph type="sldNum" sz="quarter" idx="4"/>
          </p:nvPr>
        </p:nvSpPr>
        <p:spPr>
          <a:xfrm>
            <a:off x="11341608" y="6423938"/>
            <a:ext cx="393192" cy="201168"/>
          </a:xfrm>
          <a:prstGeom prst="rect">
            <a:avLst/>
          </a:prstGeom>
        </p:spPr>
        <p:txBody>
          <a:bodyPr vert="horz" lIns="0" tIns="0" rIns="0" bIns="0" rtlCol="0" anchor="ctr">
            <a:noAutofit/>
          </a:bodyPr>
          <a:lstStyle>
            <a:lvl1pPr algn="r">
              <a:defRPr sz="800">
                <a:solidFill>
                  <a:schemeClr val="tx2"/>
                </a:solidFill>
              </a:defRPr>
            </a:lvl1pPr>
          </a:lstStyle>
          <a:p>
            <a:fld id="{A07A7439-3E0E-4A6B-9524-3A8EBA819993}" type="slidenum">
              <a:rPr lang="en-US" smtClean="0"/>
              <a:pPr/>
              <a:t>‹#›</a:t>
            </a:fld>
            <a:endParaRPr lang="en-US"/>
          </a:p>
        </p:txBody>
      </p:sp>
      <p:grpSp>
        <p:nvGrpSpPr>
          <p:cNvPr id="13" name="Group 12">
            <a:extLst>
              <a:ext uri="{FF2B5EF4-FFF2-40B4-BE49-F238E27FC236}">
                <a16:creationId xmlns:a16="http://schemas.microsoft.com/office/drawing/2014/main" id="{FE8A61E1-64B2-4668-9A94-844057B55633}"/>
              </a:ext>
            </a:extLst>
          </p:cNvPr>
          <p:cNvGrpSpPr>
            <a:grpSpLocks noChangeAspect="1"/>
          </p:cNvGrpSpPr>
          <p:nvPr userDrawn="1"/>
        </p:nvGrpSpPr>
        <p:grpSpPr bwMode="auto">
          <a:xfrm>
            <a:off x="8679774" y="6436900"/>
            <a:ext cx="2522538" cy="184150"/>
            <a:chOff x="288" y="4035"/>
            <a:chExt cx="1589" cy="116"/>
          </a:xfrm>
        </p:grpSpPr>
        <p:sp>
          <p:nvSpPr>
            <p:cNvPr id="14" name="Freeform 5">
              <a:extLst>
                <a:ext uri="{FF2B5EF4-FFF2-40B4-BE49-F238E27FC236}">
                  <a16:creationId xmlns:a16="http://schemas.microsoft.com/office/drawing/2014/main" id="{774F1D41-4A4E-4CB0-9C75-5BF1F67D3897}"/>
                </a:ext>
              </a:extLst>
            </p:cNvPr>
            <p:cNvSpPr>
              <a:spLocks noEditPoints="1"/>
            </p:cNvSpPr>
            <p:nvPr userDrawn="1"/>
          </p:nvSpPr>
          <p:spPr bwMode="auto">
            <a:xfrm>
              <a:off x="288" y="4035"/>
              <a:ext cx="769" cy="116"/>
            </a:xfrm>
            <a:custGeom>
              <a:avLst/>
              <a:gdLst>
                <a:gd name="T0" fmla="*/ 3874 w 3874"/>
                <a:gd name="T1" fmla="*/ 31 h 573"/>
                <a:gd name="T2" fmla="*/ 3527 w 3874"/>
                <a:gd name="T3" fmla="*/ 3 h 573"/>
                <a:gd name="T4" fmla="*/ 3527 w 3874"/>
                <a:gd name="T5" fmla="*/ 59 h 573"/>
                <a:gd name="T6" fmla="*/ 3661 w 3874"/>
                <a:gd name="T7" fmla="*/ 569 h 573"/>
                <a:gd name="T8" fmla="*/ 3713 w 3874"/>
                <a:gd name="T9" fmla="*/ 59 h 573"/>
                <a:gd name="T10" fmla="*/ 3874 w 3874"/>
                <a:gd name="T11" fmla="*/ 31 h 573"/>
                <a:gd name="T12" fmla="*/ 2759 w 3874"/>
                <a:gd name="T13" fmla="*/ 0 h 573"/>
                <a:gd name="T14" fmla="*/ 2523 w 3874"/>
                <a:gd name="T15" fmla="*/ 538 h 573"/>
                <a:gd name="T16" fmla="*/ 2547 w 3874"/>
                <a:gd name="T17" fmla="*/ 573 h 573"/>
                <a:gd name="T18" fmla="*/ 2651 w 3874"/>
                <a:gd name="T19" fmla="*/ 359 h 573"/>
                <a:gd name="T20" fmla="*/ 2954 w 3874"/>
                <a:gd name="T21" fmla="*/ 569 h 573"/>
                <a:gd name="T22" fmla="*/ 2784 w 3874"/>
                <a:gd name="T23" fmla="*/ 16 h 573"/>
                <a:gd name="T24" fmla="*/ 2675 w 3874"/>
                <a:gd name="T25" fmla="*/ 302 h 573"/>
                <a:gd name="T26" fmla="*/ 2760 w 3874"/>
                <a:gd name="T27" fmla="*/ 93 h 573"/>
                <a:gd name="T28" fmla="*/ 2675 w 3874"/>
                <a:gd name="T29" fmla="*/ 302 h 573"/>
                <a:gd name="T30" fmla="*/ 1742 w 3874"/>
                <a:gd name="T31" fmla="*/ 0 h 573"/>
                <a:gd name="T32" fmla="*/ 1549 w 3874"/>
                <a:gd name="T33" fmla="*/ 430 h 573"/>
                <a:gd name="T34" fmla="*/ 1357 w 3874"/>
                <a:gd name="T35" fmla="*/ 0 h 573"/>
                <a:gd name="T36" fmla="*/ 1237 w 3874"/>
                <a:gd name="T37" fmla="*/ 543 h 573"/>
                <a:gd name="T38" fmla="*/ 1261 w 3874"/>
                <a:gd name="T39" fmla="*/ 573 h 573"/>
                <a:gd name="T40" fmla="*/ 1366 w 3874"/>
                <a:gd name="T41" fmla="*/ 116 h 573"/>
                <a:gd name="T42" fmla="*/ 1549 w 3874"/>
                <a:gd name="T43" fmla="*/ 523 h 573"/>
                <a:gd name="T44" fmla="*/ 1732 w 3874"/>
                <a:gd name="T45" fmla="*/ 116 h 573"/>
                <a:gd name="T46" fmla="*/ 1868 w 3874"/>
                <a:gd name="T47" fmla="*/ 570 h 573"/>
                <a:gd name="T48" fmla="*/ 1742 w 3874"/>
                <a:gd name="T49" fmla="*/ 0 h 573"/>
                <a:gd name="T50" fmla="*/ 2226 w 3874"/>
                <a:gd name="T51" fmla="*/ 57 h 573"/>
                <a:gd name="T52" fmla="*/ 2429 w 3874"/>
                <a:gd name="T53" fmla="*/ 124 h 573"/>
                <a:gd name="T54" fmla="*/ 2429 w 3874"/>
                <a:gd name="T55" fmla="*/ 84 h 573"/>
                <a:gd name="T56" fmla="*/ 2226 w 3874"/>
                <a:gd name="T57" fmla="*/ 0 h 573"/>
                <a:gd name="T58" fmla="*/ 2226 w 3874"/>
                <a:gd name="T59" fmla="*/ 573 h 573"/>
                <a:gd name="T60" fmla="*/ 2397 w 3874"/>
                <a:gd name="T61" fmla="*/ 440 h 573"/>
                <a:gd name="T62" fmla="*/ 1996 w 3874"/>
                <a:gd name="T63" fmla="*/ 286 h 573"/>
                <a:gd name="T64" fmla="*/ 285 w 3874"/>
                <a:gd name="T65" fmla="*/ 57 h 573"/>
                <a:gd name="T66" fmla="*/ 448 w 3874"/>
                <a:gd name="T67" fmla="*/ 124 h 573"/>
                <a:gd name="T68" fmla="*/ 497 w 3874"/>
                <a:gd name="T69" fmla="*/ 104 h 573"/>
                <a:gd name="T70" fmla="*/ 485 w 3874"/>
                <a:gd name="T71" fmla="*/ 80 h 573"/>
                <a:gd name="T72" fmla="*/ 0 w 3874"/>
                <a:gd name="T73" fmla="*/ 287 h 573"/>
                <a:gd name="T74" fmla="*/ 497 w 3874"/>
                <a:gd name="T75" fmla="*/ 480 h 573"/>
                <a:gd name="T76" fmla="*/ 286 w 3874"/>
                <a:gd name="T77" fmla="*/ 516 h 573"/>
                <a:gd name="T78" fmla="*/ 285 w 3874"/>
                <a:gd name="T79" fmla="*/ 57 h 573"/>
                <a:gd name="T80" fmla="*/ 3341 w 3874"/>
                <a:gd name="T81" fmla="*/ 290 h 573"/>
                <a:gd name="T82" fmla="*/ 3152 w 3874"/>
                <a:gd name="T83" fmla="*/ 142 h 573"/>
                <a:gd name="T84" fmla="*/ 3361 w 3874"/>
                <a:gd name="T85" fmla="*/ 86 h 573"/>
                <a:gd name="T86" fmla="*/ 3403 w 3874"/>
                <a:gd name="T87" fmla="*/ 61 h 573"/>
                <a:gd name="T88" fmla="*/ 3262 w 3874"/>
                <a:gd name="T89" fmla="*/ 0 h 573"/>
                <a:gd name="T90" fmla="*/ 3194 w 3874"/>
                <a:gd name="T91" fmla="*/ 277 h 573"/>
                <a:gd name="T92" fmla="*/ 3375 w 3874"/>
                <a:gd name="T93" fmla="*/ 423 h 573"/>
                <a:gd name="T94" fmla="*/ 3129 w 3874"/>
                <a:gd name="T95" fmla="*/ 456 h 573"/>
                <a:gd name="T96" fmla="*/ 3082 w 3874"/>
                <a:gd name="T97" fmla="*/ 489 h 573"/>
                <a:gd name="T98" fmla="*/ 3266 w 3874"/>
                <a:gd name="T99" fmla="*/ 572 h 573"/>
                <a:gd name="T100" fmla="*/ 3341 w 3874"/>
                <a:gd name="T101" fmla="*/ 290 h 573"/>
                <a:gd name="T102" fmla="*/ 872 w 3874"/>
                <a:gd name="T103" fmla="*/ 0 h 573"/>
                <a:gd name="T104" fmla="*/ 872 w 3874"/>
                <a:gd name="T105" fmla="*/ 573 h 573"/>
                <a:gd name="T106" fmla="*/ 872 w 3874"/>
                <a:gd name="T107" fmla="*/ 0 h 573"/>
                <a:gd name="T108" fmla="*/ 872 w 3874"/>
                <a:gd name="T109" fmla="*/ 516 h 573"/>
                <a:gd name="T110" fmla="*/ 872 w 3874"/>
                <a:gd name="T111" fmla="*/ 56 h 573"/>
                <a:gd name="T112" fmla="*/ 872 w 3874"/>
                <a:gd name="T113" fmla="*/ 516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874" h="573">
                  <a:moveTo>
                    <a:pt x="3874" y="31"/>
                  </a:moveTo>
                  <a:lnTo>
                    <a:pt x="3874" y="31"/>
                  </a:lnTo>
                  <a:cubicBezTo>
                    <a:pt x="3874" y="16"/>
                    <a:pt x="3861" y="3"/>
                    <a:pt x="3846" y="3"/>
                  </a:cubicBezTo>
                  <a:lnTo>
                    <a:pt x="3527" y="3"/>
                  </a:lnTo>
                  <a:cubicBezTo>
                    <a:pt x="3512" y="3"/>
                    <a:pt x="3499" y="15"/>
                    <a:pt x="3499" y="31"/>
                  </a:cubicBezTo>
                  <a:cubicBezTo>
                    <a:pt x="3499" y="47"/>
                    <a:pt x="3511" y="59"/>
                    <a:pt x="3527" y="59"/>
                  </a:cubicBezTo>
                  <a:lnTo>
                    <a:pt x="3661" y="59"/>
                  </a:lnTo>
                  <a:lnTo>
                    <a:pt x="3661" y="569"/>
                  </a:lnTo>
                  <a:lnTo>
                    <a:pt x="3713" y="569"/>
                  </a:lnTo>
                  <a:lnTo>
                    <a:pt x="3713" y="59"/>
                  </a:lnTo>
                  <a:lnTo>
                    <a:pt x="3846" y="59"/>
                  </a:lnTo>
                  <a:cubicBezTo>
                    <a:pt x="3862" y="60"/>
                    <a:pt x="3874" y="47"/>
                    <a:pt x="3874" y="31"/>
                  </a:cubicBezTo>
                  <a:close/>
                  <a:moveTo>
                    <a:pt x="2759" y="0"/>
                  </a:moveTo>
                  <a:lnTo>
                    <a:pt x="2759" y="0"/>
                  </a:lnTo>
                  <a:cubicBezTo>
                    <a:pt x="2748" y="0"/>
                    <a:pt x="2741" y="7"/>
                    <a:pt x="2735" y="16"/>
                  </a:cubicBezTo>
                  <a:cubicBezTo>
                    <a:pt x="2731" y="26"/>
                    <a:pt x="2523" y="538"/>
                    <a:pt x="2523" y="538"/>
                  </a:cubicBezTo>
                  <a:cubicBezTo>
                    <a:pt x="2522" y="541"/>
                    <a:pt x="2521" y="544"/>
                    <a:pt x="2521" y="547"/>
                  </a:cubicBezTo>
                  <a:cubicBezTo>
                    <a:pt x="2521" y="562"/>
                    <a:pt x="2532" y="573"/>
                    <a:pt x="2547" y="573"/>
                  </a:cubicBezTo>
                  <a:cubicBezTo>
                    <a:pt x="2558" y="573"/>
                    <a:pt x="2567" y="566"/>
                    <a:pt x="2570" y="556"/>
                  </a:cubicBezTo>
                  <a:lnTo>
                    <a:pt x="2651" y="359"/>
                  </a:lnTo>
                  <a:lnTo>
                    <a:pt x="2868" y="359"/>
                  </a:lnTo>
                  <a:lnTo>
                    <a:pt x="2954" y="569"/>
                  </a:lnTo>
                  <a:lnTo>
                    <a:pt x="3009" y="569"/>
                  </a:lnTo>
                  <a:cubicBezTo>
                    <a:pt x="3009" y="569"/>
                    <a:pt x="2788" y="25"/>
                    <a:pt x="2784" y="16"/>
                  </a:cubicBezTo>
                  <a:cubicBezTo>
                    <a:pt x="2779" y="7"/>
                    <a:pt x="2770" y="0"/>
                    <a:pt x="2759" y="0"/>
                  </a:cubicBezTo>
                  <a:close/>
                  <a:moveTo>
                    <a:pt x="2675" y="302"/>
                  </a:moveTo>
                  <a:lnTo>
                    <a:pt x="2675" y="302"/>
                  </a:lnTo>
                  <a:lnTo>
                    <a:pt x="2760" y="93"/>
                  </a:lnTo>
                  <a:lnTo>
                    <a:pt x="2845" y="302"/>
                  </a:lnTo>
                  <a:lnTo>
                    <a:pt x="2675" y="302"/>
                  </a:lnTo>
                  <a:close/>
                  <a:moveTo>
                    <a:pt x="1742" y="0"/>
                  </a:moveTo>
                  <a:lnTo>
                    <a:pt x="1742" y="0"/>
                  </a:lnTo>
                  <a:cubicBezTo>
                    <a:pt x="1731" y="0"/>
                    <a:pt x="1723" y="7"/>
                    <a:pt x="1718" y="16"/>
                  </a:cubicBezTo>
                  <a:cubicBezTo>
                    <a:pt x="1714" y="25"/>
                    <a:pt x="1549" y="430"/>
                    <a:pt x="1549" y="430"/>
                  </a:cubicBezTo>
                  <a:cubicBezTo>
                    <a:pt x="1549" y="430"/>
                    <a:pt x="1385" y="24"/>
                    <a:pt x="1381" y="16"/>
                  </a:cubicBezTo>
                  <a:cubicBezTo>
                    <a:pt x="1376" y="7"/>
                    <a:pt x="1368" y="0"/>
                    <a:pt x="1357" y="0"/>
                  </a:cubicBezTo>
                  <a:cubicBezTo>
                    <a:pt x="1345" y="0"/>
                    <a:pt x="1335" y="9"/>
                    <a:pt x="1332" y="21"/>
                  </a:cubicBezTo>
                  <a:cubicBezTo>
                    <a:pt x="1329" y="33"/>
                    <a:pt x="1237" y="543"/>
                    <a:pt x="1237" y="543"/>
                  </a:cubicBezTo>
                  <a:cubicBezTo>
                    <a:pt x="1237" y="545"/>
                    <a:pt x="1236" y="546"/>
                    <a:pt x="1236" y="548"/>
                  </a:cubicBezTo>
                  <a:cubicBezTo>
                    <a:pt x="1236" y="562"/>
                    <a:pt x="1247" y="573"/>
                    <a:pt x="1261" y="573"/>
                  </a:cubicBezTo>
                  <a:cubicBezTo>
                    <a:pt x="1273" y="573"/>
                    <a:pt x="1284" y="564"/>
                    <a:pt x="1286" y="553"/>
                  </a:cubicBezTo>
                  <a:lnTo>
                    <a:pt x="1366" y="116"/>
                  </a:lnTo>
                  <a:cubicBezTo>
                    <a:pt x="1366" y="116"/>
                    <a:pt x="1521" y="498"/>
                    <a:pt x="1526" y="507"/>
                  </a:cubicBezTo>
                  <a:cubicBezTo>
                    <a:pt x="1530" y="516"/>
                    <a:pt x="1538" y="523"/>
                    <a:pt x="1549" y="523"/>
                  </a:cubicBezTo>
                  <a:cubicBezTo>
                    <a:pt x="1560" y="523"/>
                    <a:pt x="1569" y="516"/>
                    <a:pt x="1573" y="507"/>
                  </a:cubicBezTo>
                  <a:cubicBezTo>
                    <a:pt x="1578" y="498"/>
                    <a:pt x="1732" y="116"/>
                    <a:pt x="1732" y="116"/>
                  </a:cubicBezTo>
                  <a:lnTo>
                    <a:pt x="1816" y="570"/>
                  </a:lnTo>
                  <a:lnTo>
                    <a:pt x="1868" y="570"/>
                  </a:lnTo>
                  <a:cubicBezTo>
                    <a:pt x="1868" y="570"/>
                    <a:pt x="1770" y="33"/>
                    <a:pt x="1767" y="21"/>
                  </a:cubicBezTo>
                  <a:cubicBezTo>
                    <a:pt x="1763" y="9"/>
                    <a:pt x="1754" y="0"/>
                    <a:pt x="1742" y="0"/>
                  </a:cubicBezTo>
                  <a:close/>
                  <a:moveTo>
                    <a:pt x="2226" y="57"/>
                  </a:moveTo>
                  <a:lnTo>
                    <a:pt x="2226" y="57"/>
                  </a:lnTo>
                  <a:cubicBezTo>
                    <a:pt x="2288" y="57"/>
                    <a:pt x="2345" y="80"/>
                    <a:pt x="2389" y="124"/>
                  </a:cubicBezTo>
                  <a:cubicBezTo>
                    <a:pt x="2399" y="134"/>
                    <a:pt x="2419" y="134"/>
                    <a:pt x="2429" y="124"/>
                  </a:cubicBezTo>
                  <a:cubicBezTo>
                    <a:pt x="2434" y="119"/>
                    <a:pt x="2437" y="112"/>
                    <a:pt x="2437" y="104"/>
                  </a:cubicBezTo>
                  <a:cubicBezTo>
                    <a:pt x="2437" y="96"/>
                    <a:pt x="2434" y="89"/>
                    <a:pt x="2429" y="84"/>
                  </a:cubicBezTo>
                  <a:lnTo>
                    <a:pt x="2426" y="80"/>
                  </a:lnTo>
                  <a:cubicBezTo>
                    <a:pt x="2372" y="29"/>
                    <a:pt x="2301" y="0"/>
                    <a:pt x="2226" y="0"/>
                  </a:cubicBezTo>
                  <a:cubicBezTo>
                    <a:pt x="2069" y="0"/>
                    <a:pt x="1940" y="129"/>
                    <a:pt x="1940" y="287"/>
                  </a:cubicBezTo>
                  <a:cubicBezTo>
                    <a:pt x="1940" y="445"/>
                    <a:pt x="2069" y="573"/>
                    <a:pt x="2226" y="573"/>
                  </a:cubicBezTo>
                  <a:cubicBezTo>
                    <a:pt x="2310" y="573"/>
                    <a:pt x="2385" y="538"/>
                    <a:pt x="2437" y="480"/>
                  </a:cubicBezTo>
                  <a:lnTo>
                    <a:pt x="2397" y="440"/>
                  </a:lnTo>
                  <a:cubicBezTo>
                    <a:pt x="2355" y="487"/>
                    <a:pt x="2294" y="516"/>
                    <a:pt x="2226" y="516"/>
                  </a:cubicBezTo>
                  <a:cubicBezTo>
                    <a:pt x="2100" y="516"/>
                    <a:pt x="1996" y="413"/>
                    <a:pt x="1996" y="286"/>
                  </a:cubicBezTo>
                  <a:cubicBezTo>
                    <a:pt x="1996" y="160"/>
                    <a:pt x="2100" y="57"/>
                    <a:pt x="2226" y="57"/>
                  </a:cubicBezTo>
                  <a:close/>
                  <a:moveTo>
                    <a:pt x="285" y="57"/>
                  </a:moveTo>
                  <a:lnTo>
                    <a:pt x="285" y="57"/>
                  </a:lnTo>
                  <a:cubicBezTo>
                    <a:pt x="347" y="57"/>
                    <a:pt x="404" y="80"/>
                    <a:pt x="448" y="124"/>
                  </a:cubicBezTo>
                  <a:cubicBezTo>
                    <a:pt x="459" y="134"/>
                    <a:pt x="478" y="134"/>
                    <a:pt x="488" y="124"/>
                  </a:cubicBezTo>
                  <a:cubicBezTo>
                    <a:pt x="494" y="119"/>
                    <a:pt x="497" y="112"/>
                    <a:pt x="497" y="104"/>
                  </a:cubicBezTo>
                  <a:cubicBezTo>
                    <a:pt x="497" y="96"/>
                    <a:pt x="494" y="89"/>
                    <a:pt x="488" y="84"/>
                  </a:cubicBezTo>
                  <a:lnTo>
                    <a:pt x="485" y="80"/>
                  </a:lnTo>
                  <a:cubicBezTo>
                    <a:pt x="431" y="29"/>
                    <a:pt x="361" y="0"/>
                    <a:pt x="286" y="0"/>
                  </a:cubicBezTo>
                  <a:cubicBezTo>
                    <a:pt x="128" y="0"/>
                    <a:pt x="0" y="129"/>
                    <a:pt x="0" y="287"/>
                  </a:cubicBezTo>
                  <a:cubicBezTo>
                    <a:pt x="0" y="445"/>
                    <a:pt x="128" y="573"/>
                    <a:pt x="286" y="573"/>
                  </a:cubicBezTo>
                  <a:cubicBezTo>
                    <a:pt x="369" y="573"/>
                    <a:pt x="444" y="538"/>
                    <a:pt x="497" y="480"/>
                  </a:cubicBezTo>
                  <a:lnTo>
                    <a:pt x="457" y="440"/>
                  </a:lnTo>
                  <a:cubicBezTo>
                    <a:pt x="415" y="487"/>
                    <a:pt x="353" y="516"/>
                    <a:pt x="286" y="516"/>
                  </a:cubicBezTo>
                  <a:cubicBezTo>
                    <a:pt x="159" y="516"/>
                    <a:pt x="56" y="413"/>
                    <a:pt x="56" y="286"/>
                  </a:cubicBezTo>
                  <a:cubicBezTo>
                    <a:pt x="55" y="160"/>
                    <a:pt x="159" y="57"/>
                    <a:pt x="285" y="57"/>
                  </a:cubicBezTo>
                  <a:close/>
                  <a:moveTo>
                    <a:pt x="3341" y="290"/>
                  </a:moveTo>
                  <a:lnTo>
                    <a:pt x="3341" y="290"/>
                  </a:lnTo>
                  <a:cubicBezTo>
                    <a:pt x="3326" y="282"/>
                    <a:pt x="3233" y="234"/>
                    <a:pt x="3219" y="227"/>
                  </a:cubicBezTo>
                  <a:cubicBezTo>
                    <a:pt x="3170" y="201"/>
                    <a:pt x="3152" y="179"/>
                    <a:pt x="3152" y="142"/>
                  </a:cubicBezTo>
                  <a:cubicBezTo>
                    <a:pt x="3152" y="90"/>
                    <a:pt x="3195" y="56"/>
                    <a:pt x="3262" y="56"/>
                  </a:cubicBezTo>
                  <a:cubicBezTo>
                    <a:pt x="3301" y="56"/>
                    <a:pt x="3339" y="73"/>
                    <a:pt x="3361" y="86"/>
                  </a:cubicBezTo>
                  <a:cubicBezTo>
                    <a:pt x="3365" y="88"/>
                    <a:pt x="3370" y="89"/>
                    <a:pt x="3374" y="89"/>
                  </a:cubicBezTo>
                  <a:cubicBezTo>
                    <a:pt x="3390" y="89"/>
                    <a:pt x="3403" y="77"/>
                    <a:pt x="3403" y="61"/>
                  </a:cubicBezTo>
                  <a:cubicBezTo>
                    <a:pt x="3403" y="51"/>
                    <a:pt x="3397" y="42"/>
                    <a:pt x="3388" y="37"/>
                  </a:cubicBezTo>
                  <a:cubicBezTo>
                    <a:pt x="3361" y="21"/>
                    <a:pt x="3313" y="0"/>
                    <a:pt x="3262" y="0"/>
                  </a:cubicBezTo>
                  <a:cubicBezTo>
                    <a:pt x="3165" y="0"/>
                    <a:pt x="3097" y="58"/>
                    <a:pt x="3097" y="142"/>
                  </a:cubicBezTo>
                  <a:cubicBezTo>
                    <a:pt x="3097" y="217"/>
                    <a:pt x="3146" y="252"/>
                    <a:pt x="3194" y="277"/>
                  </a:cubicBezTo>
                  <a:cubicBezTo>
                    <a:pt x="3208" y="284"/>
                    <a:pt x="3302" y="333"/>
                    <a:pt x="3317" y="340"/>
                  </a:cubicBezTo>
                  <a:cubicBezTo>
                    <a:pt x="3354" y="360"/>
                    <a:pt x="3375" y="390"/>
                    <a:pt x="3375" y="423"/>
                  </a:cubicBezTo>
                  <a:cubicBezTo>
                    <a:pt x="3375" y="468"/>
                    <a:pt x="3337" y="516"/>
                    <a:pt x="3266" y="516"/>
                  </a:cubicBezTo>
                  <a:cubicBezTo>
                    <a:pt x="3196" y="516"/>
                    <a:pt x="3143" y="470"/>
                    <a:pt x="3129" y="456"/>
                  </a:cubicBezTo>
                  <a:lnTo>
                    <a:pt x="3124" y="451"/>
                  </a:lnTo>
                  <a:lnTo>
                    <a:pt x="3082" y="489"/>
                  </a:lnTo>
                  <a:lnTo>
                    <a:pt x="3087" y="494"/>
                  </a:lnTo>
                  <a:cubicBezTo>
                    <a:pt x="3106" y="512"/>
                    <a:pt x="3173" y="572"/>
                    <a:pt x="3266" y="572"/>
                  </a:cubicBezTo>
                  <a:cubicBezTo>
                    <a:pt x="3369" y="572"/>
                    <a:pt x="3431" y="496"/>
                    <a:pt x="3431" y="422"/>
                  </a:cubicBezTo>
                  <a:cubicBezTo>
                    <a:pt x="3431" y="368"/>
                    <a:pt x="3398" y="320"/>
                    <a:pt x="3341" y="290"/>
                  </a:cubicBezTo>
                  <a:close/>
                  <a:moveTo>
                    <a:pt x="872" y="0"/>
                  </a:moveTo>
                  <a:lnTo>
                    <a:pt x="872" y="0"/>
                  </a:lnTo>
                  <a:cubicBezTo>
                    <a:pt x="715" y="0"/>
                    <a:pt x="586" y="129"/>
                    <a:pt x="586" y="287"/>
                  </a:cubicBezTo>
                  <a:cubicBezTo>
                    <a:pt x="586" y="445"/>
                    <a:pt x="715" y="573"/>
                    <a:pt x="872" y="573"/>
                  </a:cubicBezTo>
                  <a:cubicBezTo>
                    <a:pt x="1030" y="573"/>
                    <a:pt x="1159" y="445"/>
                    <a:pt x="1159" y="287"/>
                  </a:cubicBezTo>
                  <a:cubicBezTo>
                    <a:pt x="1159" y="129"/>
                    <a:pt x="1030" y="0"/>
                    <a:pt x="872" y="0"/>
                  </a:cubicBezTo>
                  <a:close/>
                  <a:moveTo>
                    <a:pt x="872" y="516"/>
                  </a:moveTo>
                  <a:lnTo>
                    <a:pt x="872" y="516"/>
                  </a:lnTo>
                  <a:cubicBezTo>
                    <a:pt x="746" y="516"/>
                    <a:pt x="642" y="413"/>
                    <a:pt x="642" y="286"/>
                  </a:cubicBezTo>
                  <a:cubicBezTo>
                    <a:pt x="642" y="159"/>
                    <a:pt x="746" y="56"/>
                    <a:pt x="872" y="56"/>
                  </a:cubicBezTo>
                  <a:cubicBezTo>
                    <a:pt x="999" y="56"/>
                    <a:pt x="1103" y="159"/>
                    <a:pt x="1103" y="286"/>
                  </a:cubicBezTo>
                  <a:cubicBezTo>
                    <a:pt x="1102" y="413"/>
                    <a:pt x="999" y="516"/>
                    <a:pt x="872" y="516"/>
                  </a:cubicBezTo>
                  <a:close/>
                </a:path>
              </a:pathLst>
            </a:custGeom>
            <a:solidFill>
              <a:srgbClr val="112F6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D8931567-3AE5-4274-8FB1-4124BC4D78BC}"/>
                </a:ext>
              </a:extLst>
            </p:cNvPr>
            <p:cNvSpPr>
              <a:spLocks noEditPoints="1"/>
            </p:cNvSpPr>
            <p:nvPr userDrawn="1"/>
          </p:nvSpPr>
          <p:spPr bwMode="auto">
            <a:xfrm>
              <a:off x="1114" y="4035"/>
              <a:ext cx="763" cy="116"/>
            </a:xfrm>
            <a:custGeom>
              <a:avLst/>
              <a:gdLst>
                <a:gd name="T0" fmla="*/ 3647 w 3842"/>
                <a:gd name="T1" fmla="*/ 576 h 576"/>
                <a:gd name="T2" fmla="*/ 3634 w 3842"/>
                <a:gd name="T3" fmla="*/ 216 h 576"/>
                <a:gd name="T4" fmla="*/ 3742 w 3842"/>
                <a:gd name="T5" fmla="*/ 105 h 576"/>
                <a:gd name="T6" fmla="*/ 3789 w 3842"/>
                <a:gd name="T7" fmla="*/ 28 h 576"/>
                <a:gd name="T8" fmla="*/ 3606 w 3842"/>
                <a:gd name="T9" fmla="*/ 307 h 576"/>
                <a:gd name="T10" fmla="*/ 3656 w 3842"/>
                <a:gd name="T11" fmla="*/ 487 h 576"/>
                <a:gd name="T12" fmla="*/ 2997 w 3842"/>
                <a:gd name="T13" fmla="*/ 491 h 576"/>
                <a:gd name="T14" fmla="*/ 3376 w 3842"/>
                <a:gd name="T15" fmla="*/ 415 h 576"/>
                <a:gd name="T16" fmla="*/ 3116 w 3842"/>
                <a:gd name="T17" fmla="*/ 149 h 576"/>
                <a:gd name="T18" fmla="*/ 3314 w 3842"/>
                <a:gd name="T19" fmla="*/ 116 h 576"/>
                <a:gd name="T20" fmla="*/ 3197 w 3842"/>
                <a:gd name="T21" fmla="*/ 0 h 576"/>
                <a:gd name="T22" fmla="*/ 3217 w 3842"/>
                <a:gd name="T23" fmla="*/ 343 h 576"/>
                <a:gd name="T24" fmla="*/ 3065 w 3842"/>
                <a:gd name="T25" fmla="*/ 428 h 576"/>
                <a:gd name="T26" fmla="*/ 1117 w 3842"/>
                <a:gd name="T27" fmla="*/ 491 h 576"/>
                <a:gd name="T28" fmla="*/ 1381 w 3842"/>
                <a:gd name="T29" fmla="*/ 261 h 576"/>
                <a:gd name="T30" fmla="*/ 1321 w 3842"/>
                <a:gd name="T31" fmla="*/ 87 h 576"/>
                <a:gd name="T32" fmla="*/ 1476 w 3842"/>
                <a:gd name="T33" fmla="*/ 72 h 576"/>
                <a:gd name="T34" fmla="*/ 1140 w 3842"/>
                <a:gd name="T35" fmla="*/ 153 h 576"/>
                <a:gd name="T36" fmla="*/ 1400 w 3842"/>
                <a:gd name="T37" fmla="*/ 417 h 576"/>
                <a:gd name="T38" fmla="*/ 1117 w 3842"/>
                <a:gd name="T39" fmla="*/ 491 h 576"/>
                <a:gd name="T40" fmla="*/ 1903 w 3842"/>
                <a:gd name="T41" fmla="*/ 43 h 576"/>
                <a:gd name="T42" fmla="*/ 1994 w 3842"/>
                <a:gd name="T43" fmla="*/ 531 h 576"/>
                <a:gd name="T44" fmla="*/ 2328 w 3842"/>
                <a:gd name="T45" fmla="*/ 576 h 576"/>
                <a:gd name="T46" fmla="*/ 2282 w 3842"/>
                <a:gd name="T47" fmla="*/ 3 h 576"/>
                <a:gd name="T48" fmla="*/ 1949 w 3842"/>
                <a:gd name="T49" fmla="*/ 0 h 576"/>
                <a:gd name="T50" fmla="*/ 426 w 3842"/>
                <a:gd name="T51" fmla="*/ 402 h 576"/>
                <a:gd name="T52" fmla="*/ 0 w 3842"/>
                <a:gd name="T53" fmla="*/ 47 h 576"/>
                <a:gd name="T54" fmla="*/ 399 w 3842"/>
                <a:gd name="T55" fmla="*/ 147 h 576"/>
                <a:gd name="T56" fmla="*/ 91 w 3842"/>
                <a:gd name="T57" fmla="*/ 230 h 576"/>
                <a:gd name="T58" fmla="*/ 229 w 3842"/>
                <a:gd name="T59" fmla="*/ 92 h 576"/>
                <a:gd name="T60" fmla="*/ 235 w 3842"/>
                <a:gd name="T61" fmla="*/ 484 h 576"/>
                <a:gd name="T62" fmla="*/ 235 w 3842"/>
                <a:gd name="T63" fmla="*/ 314 h 576"/>
                <a:gd name="T64" fmla="*/ 235 w 3842"/>
                <a:gd name="T65" fmla="*/ 484 h 576"/>
                <a:gd name="T66" fmla="*/ 2906 w 3842"/>
                <a:gd name="T67" fmla="*/ 48 h 576"/>
                <a:gd name="T68" fmla="*/ 2532 w 3842"/>
                <a:gd name="T69" fmla="*/ 48 h 576"/>
                <a:gd name="T70" fmla="*/ 2903 w 3842"/>
                <a:gd name="T71" fmla="*/ 573 h 576"/>
                <a:gd name="T72" fmla="*/ 2624 w 3842"/>
                <a:gd name="T73" fmla="*/ 318 h 576"/>
                <a:gd name="T74" fmla="*/ 2834 w 3842"/>
                <a:gd name="T75" fmla="*/ 229 h 576"/>
                <a:gd name="T76" fmla="*/ 2858 w 3842"/>
                <a:gd name="T77" fmla="*/ 92 h 576"/>
                <a:gd name="T78" fmla="*/ 634 w 3842"/>
                <a:gd name="T79" fmla="*/ 44 h 576"/>
                <a:gd name="T80" fmla="*/ 542 w 3842"/>
                <a:gd name="T81" fmla="*/ 343 h 576"/>
                <a:gd name="T82" fmla="*/ 1010 w 3842"/>
                <a:gd name="T83" fmla="*/ 2 h 576"/>
                <a:gd name="T84" fmla="*/ 776 w 3842"/>
                <a:gd name="T85" fmla="*/ 488 h 576"/>
                <a:gd name="T86" fmla="*/ 1676 w 3842"/>
                <a:gd name="T87" fmla="*/ 0 h 576"/>
                <a:gd name="T88" fmla="*/ 1630 w 3842"/>
                <a:gd name="T89" fmla="*/ 572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842" h="576">
                  <a:moveTo>
                    <a:pt x="3464" y="491"/>
                  </a:moveTo>
                  <a:lnTo>
                    <a:pt x="3464" y="491"/>
                  </a:lnTo>
                  <a:cubicBezTo>
                    <a:pt x="3475" y="506"/>
                    <a:pt x="3529" y="576"/>
                    <a:pt x="3647" y="576"/>
                  </a:cubicBezTo>
                  <a:cubicBezTo>
                    <a:pt x="3763" y="576"/>
                    <a:pt x="3842" y="509"/>
                    <a:pt x="3842" y="415"/>
                  </a:cubicBezTo>
                  <a:cubicBezTo>
                    <a:pt x="3842" y="354"/>
                    <a:pt x="3818" y="305"/>
                    <a:pt x="3727" y="261"/>
                  </a:cubicBezTo>
                  <a:cubicBezTo>
                    <a:pt x="3703" y="249"/>
                    <a:pt x="3634" y="216"/>
                    <a:pt x="3634" y="216"/>
                  </a:cubicBezTo>
                  <a:cubicBezTo>
                    <a:pt x="3599" y="199"/>
                    <a:pt x="3583" y="178"/>
                    <a:pt x="3583" y="149"/>
                  </a:cubicBezTo>
                  <a:cubicBezTo>
                    <a:pt x="3583" y="120"/>
                    <a:pt x="3607" y="87"/>
                    <a:pt x="3667" y="87"/>
                  </a:cubicBezTo>
                  <a:cubicBezTo>
                    <a:pt x="3701" y="87"/>
                    <a:pt x="3727" y="98"/>
                    <a:pt x="3742" y="105"/>
                  </a:cubicBezTo>
                  <a:cubicBezTo>
                    <a:pt x="3748" y="108"/>
                    <a:pt x="3764" y="116"/>
                    <a:pt x="3780" y="116"/>
                  </a:cubicBezTo>
                  <a:cubicBezTo>
                    <a:pt x="3800" y="116"/>
                    <a:pt x="3822" y="102"/>
                    <a:pt x="3822" y="72"/>
                  </a:cubicBezTo>
                  <a:cubicBezTo>
                    <a:pt x="3822" y="48"/>
                    <a:pt x="3804" y="35"/>
                    <a:pt x="3789" y="28"/>
                  </a:cubicBezTo>
                  <a:cubicBezTo>
                    <a:pt x="3764" y="16"/>
                    <a:pt x="3726" y="0"/>
                    <a:pt x="3662" y="0"/>
                  </a:cubicBezTo>
                  <a:cubicBezTo>
                    <a:pt x="3561" y="0"/>
                    <a:pt x="3486" y="63"/>
                    <a:pt x="3486" y="153"/>
                  </a:cubicBezTo>
                  <a:cubicBezTo>
                    <a:pt x="3486" y="234"/>
                    <a:pt x="3540" y="275"/>
                    <a:pt x="3606" y="307"/>
                  </a:cubicBezTo>
                  <a:cubicBezTo>
                    <a:pt x="3619" y="312"/>
                    <a:pt x="3668" y="336"/>
                    <a:pt x="3681" y="343"/>
                  </a:cubicBezTo>
                  <a:cubicBezTo>
                    <a:pt x="3724" y="363"/>
                    <a:pt x="3746" y="382"/>
                    <a:pt x="3746" y="417"/>
                  </a:cubicBezTo>
                  <a:cubicBezTo>
                    <a:pt x="3746" y="455"/>
                    <a:pt x="3710" y="487"/>
                    <a:pt x="3656" y="487"/>
                  </a:cubicBezTo>
                  <a:cubicBezTo>
                    <a:pt x="3579" y="487"/>
                    <a:pt x="3538" y="436"/>
                    <a:pt x="3531" y="428"/>
                  </a:cubicBezTo>
                  <a:lnTo>
                    <a:pt x="3464" y="491"/>
                  </a:lnTo>
                  <a:close/>
                  <a:moveTo>
                    <a:pt x="2997" y="491"/>
                  </a:moveTo>
                  <a:lnTo>
                    <a:pt x="2997" y="491"/>
                  </a:lnTo>
                  <a:cubicBezTo>
                    <a:pt x="3009" y="506"/>
                    <a:pt x="3063" y="576"/>
                    <a:pt x="3182" y="576"/>
                  </a:cubicBezTo>
                  <a:cubicBezTo>
                    <a:pt x="3297" y="576"/>
                    <a:pt x="3376" y="509"/>
                    <a:pt x="3376" y="415"/>
                  </a:cubicBezTo>
                  <a:cubicBezTo>
                    <a:pt x="3376" y="354"/>
                    <a:pt x="3352" y="305"/>
                    <a:pt x="3261" y="261"/>
                  </a:cubicBezTo>
                  <a:cubicBezTo>
                    <a:pt x="3237" y="249"/>
                    <a:pt x="3169" y="216"/>
                    <a:pt x="3169" y="216"/>
                  </a:cubicBezTo>
                  <a:cubicBezTo>
                    <a:pt x="3133" y="199"/>
                    <a:pt x="3116" y="178"/>
                    <a:pt x="3116" y="149"/>
                  </a:cubicBezTo>
                  <a:cubicBezTo>
                    <a:pt x="3116" y="120"/>
                    <a:pt x="3141" y="87"/>
                    <a:pt x="3201" y="87"/>
                  </a:cubicBezTo>
                  <a:cubicBezTo>
                    <a:pt x="3235" y="87"/>
                    <a:pt x="3261" y="98"/>
                    <a:pt x="3275" y="105"/>
                  </a:cubicBezTo>
                  <a:cubicBezTo>
                    <a:pt x="3283" y="108"/>
                    <a:pt x="3299" y="116"/>
                    <a:pt x="3314" y="116"/>
                  </a:cubicBezTo>
                  <a:cubicBezTo>
                    <a:pt x="3334" y="116"/>
                    <a:pt x="3356" y="102"/>
                    <a:pt x="3356" y="72"/>
                  </a:cubicBezTo>
                  <a:cubicBezTo>
                    <a:pt x="3356" y="48"/>
                    <a:pt x="3339" y="35"/>
                    <a:pt x="3323" y="28"/>
                  </a:cubicBezTo>
                  <a:cubicBezTo>
                    <a:pt x="3299" y="16"/>
                    <a:pt x="3260" y="0"/>
                    <a:pt x="3197" y="0"/>
                  </a:cubicBezTo>
                  <a:cubicBezTo>
                    <a:pt x="3095" y="0"/>
                    <a:pt x="3020" y="63"/>
                    <a:pt x="3020" y="153"/>
                  </a:cubicBezTo>
                  <a:cubicBezTo>
                    <a:pt x="3020" y="234"/>
                    <a:pt x="3075" y="275"/>
                    <a:pt x="3141" y="307"/>
                  </a:cubicBezTo>
                  <a:cubicBezTo>
                    <a:pt x="3154" y="312"/>
                    <a:pt x="3203" y="336"/>
                    <a:pt x="3217" y="343"/>
                  </a:cubicBezTo>
                  <a:cubicBezTo>
                    <a:pt x="3258" y="363"/>
                    <a:pt x="3280" y="382"/>
                    <a:pt x="3280" y="417"/>
                  </a:cubicBezTo>
                  <a:cubicBezTo>
                    <a:pt x="3280" y="455"/>
                    <a:pt x="3244" y="487"/>
                    <a:pt x="3191" y="487"/>
                  </a:cubicBezTo>
                  <a:cubicBezTo>
                    <a:pt x="3113" y="487"/>
                    <a:pt x="3072" y="436"/>
                    <a:pt x="3065" y="428"/>
                  </a:cubicBezTo>
                  <a:lnTo>
                    <a:pt x="2997" y="491"/>
                  </a:lnTo>
                  <a:close/>
                  <a:moveTo>
                    <a:pt x="1117" y="491"/>
                  </a:moveTo>
                  <a:lnTo>
                    <a:pt x="1117" y="491"/>
                  </a:lnTo>
                  <a:cubicBezTo>
                    <a:pt x="1129" y="506"/>
                    <a:pt x="1182" y="576"/>
                    <a:pt x="1301" y="576"/>
                  </a:cubicBezTo>
                  <a:cubicBezTo>
                    <a:pt x="1417" y="576"/>
                    <a:pt x="1496" y="509"/>
                    <a:pt x="1496" y="415"/>
                  </a:cubicBezTo>
                  <a:cubicBezTo>
                    <a:pt x="1496" y="354"/>
                    <a:pt x="1472" y="305"/>
                    <a:pt x="1381" y="261"/>
                  </a:cubicBezTo>
                  <a:cubicBezTo>
                    <a:pt x="1356" y="249"/>
                    <a:pt x="1288" y="216"/>
                    <a:pt x="1288" y="216"/>
                  </a:cubicBezTo>
                  <a:cubicBezTo>
                    <a:pt x="1252" y="199"/>
                    <a:pt x="1236" y="178"/>
                    <a:pt x="1236" y="149"/>
                  </a:cubicBezTo>
                  <a:cubicBezTo>
                    <a:pt x="1236" y="120"/>
                    <a:pt x="1261" y="87"/>
                    <a:pt x="1321" y="87"/>
                  </a:cubicBezTo>
                  <a:cubicBezTo>
                    <a:pt x="1355" y="87"/>
                    <a:pt x="1381" y="98"/>
                    <a:pt x="1395" y="105"/>
                  </a:cubicBezTo>
                  <a:cubicBezTo>
                    <a:pt x="1402" y="108"/>
                    <a:pt x="1418" y="116"/>
                    <a:pt x="1434" y="116"/>
                  </a:cubicBezTo>
                  <a:cubicBezTo>
                    <a:pt x="1454" y="116"/>
                    <a:pt x="1476" y="102"/>
                    <a:pt x="1476" y="72"/>
                  </a:cubicBezTo>
                  <a:cubicBezTo>
                    <a:pt x="1476" y="48"/>
                    <a:pt x="1458" y="35"/>
                    <a:pt x="1443" y="28"/>
                  </a:cubicBezTo>
                  <a:cubicBezTo>
                    <a:pt x="1418" y="16"/>
                    <a:pt x="1380" y="0"/>
                    <a:pt x="1316" y="0"/>
                  </a:cubicBezTo>
                  <a:cubicBezTo>
                    <a:pt x="1215" y="0"/>
                    <a:pt x="1140" y="63"/>
                    <a:pt x="1140" y="153"/>
                  </a:cubicBezTo>
                  <a:cubicBezTo>
                    <a:pt x="1140" y="234"/>
                    <a:pt x="1195" y="275"/>
                    <a:pt x="1261" y="307"/>
                  </a:cubicBezTo>
                  <a:cubicBezTo>
                    <a:pt x="1273" y="312"/>
                    <a:pt x="1322" y="336"/>
                    <a:pt x="1336" y="343"/>
                  </a:cubicBezTo>
                  <a:cubicBezTo>
                    <a:pt x="1378" y="363"/>
                    <a:pt x="1400" y="382"/>
                    <a:pt x="1400" y="417"/>
                  </a:cubicBezTo>
                  <a:cubicBezTo>
                    <a:pt x="1400" y="455"/>
                    <a:pt x="1364" y="487"/>
                    <a:pt x="1310" y="487"/>
                  </a:cubicBezTo>
                  <a:cubicBezTo>
                    <a:pt x="1233" y="487"/>
                    <a:pt x="1192" y="436"/>
                    <a:pt x="1185" y="428"/>
                  </a:cubicBezTo>
                  <a:lnTo>
                    <a:pt x="1117" y="491"/>
                  </a:lnTo>
                  <a:close/>
                  <a:moveTo>
                    <a:pt x="1949" y="0"/>
                  </a:moveTo>
                  <a:lnTo>
                    <a:pt x="1949" y="0"/>
                  </a:lnTo>
                  <a:cubicBezTo>
                    <a:pt x="1921" y="0"/>
                    <a:pt x="1903" y="19"/>
                    <a:pt x="1903" y="43"/>
                  </a:cubicBezTo>
                  <a:lnTo>
                    <a:pt x="1903" y="531"/>
                  </a:lnTo>
                  <a:cubicBezTo>
                    <a:pt x="1903" y="555"/>
                    <a:pt x="1924" y="575"/>
                    <a:pt x="1949" y="575"/>
                  </a:cubicBezTo>
                  <a:cubicBezTo>
                    <a:pt x="1972" y="575"/>
                    <a:pt x="1994" y="555"/>
                    <a:pt x="1994" y="531"/>
                  </a:cubicBezTo>
                  <a:lnTo>
                    <a:pt x="1994" y="179"/>
                  </a:lnTo>
                  <a:cubicBezTo>
                    <a:pt x="1994" y="179"/>
                    <a:pt x="2218" y="465"/>
                    <a:pt x="2276" y="541"/>
                  </a:cubicBezTo>
                  <a:cubicBezTo>
                    <a:pt x="2291" y="559"/>
                    <a:pt x="2302" y="576"/>
                    <a:pt x="2328" y="576"/>
                  </a:cubicBezTo>
                  <a:cubicBezTo>
                    <a:pt x="2355" y="576"/>
                    <a:pt x="2373" y="556"/>
                    <a:pt x="2373" y="532"/>
                  </a:cubicBezTo>
                  <a:lnTo>
                    <a:pt x="2373" y="3"/>
                  </a:lnTo>
                  <a:lnTo>
                    <a:pt x="2282" y="3"/>
                  </a:lnTo>
                  <a:lnTo>
                    <a:pt x="2282" y="398"/>
                  </a:lnTo>
                  <a:cubicBezTo>
                    <a:pt x="2282" y="398"/>
                    <a:pt x="2033" y="78"/>
                    <a:pt x="1998" y="34"/>
                  </a:cubicBezTo>
                  <a:cubicBezTo>
                    <a:pt x="1982" y="13"/>
                    <a:pt x="1970" y="0"/>
                    <a:pt x="1949" y="0"/>
                  </a:cubicBezTo>
                  <a:close/>
                  <a:moveTo>
                    <a:pt x="342" y="264"/>
                  </a:moveTo>
                  <a:lnTo>
                    <a:pt x="342" y="264"/>
                  </a:lnTo>
                  <a:cubicBezTo>
                    <a:pt x="358" y="272"/>
                    <a:pt x="426" y="301"/>
                    <a:pt x="426" y="402"/>
                  </a:cubicBezTo>
                  <a:cubicBezTo>
                    <a:pt x="426" y="497"/>
                    <a:pt x="355" y="572"/>
                    <a:pt x="252" y="572"/>
                  </a:cubicBezTo>
                  <a:lnTo>
                    <a:pt x="0" y="572"/>
                  </a:lnTo>
                  <a:lnTo>
                    <a:pt x="0" y="47"/>
                  </a:lnTo>
                  <a:cubicBezTo>
                    <a:pt x="0" y="20"/>
                    <a:pt x="18" y="2"/>
                    <a:pt x="44" y="2"/>
                  </a:cubicBezTo>
                  <a:lnTo>
                    <a:pt x="241" y="2"/>
                  </a:lnTo>
                  <a:cubicBezTo>
                    <a:pt x="336" y="2"/>
                    <a:pt x="399" y="59"/>
                    <a:pt x="399" y="147"/>
                  </a:cubicBezTo>
                  <a:cubicBezTo>
                    <a:pt x="399" y="221"/>
                    <a:pt x="357" y="254"/>
                    <a:pt x="342" y="264"/>
                  </a:cubicBezTo>
                  <a:close/>
                  <a:moveTo>
                    <a:pt x="91" y="230"/>
                  </a:moveTo>
                  <a:lnTo>
                    <a:pt x="91" y="230"/>
                  </a:lnTo>
                  <a:lnTo>
                    <a:pt x="229" y="230"/>
                  </a:lnTo>
                  <a:cubicBezTo>
                    <a:pt x="278" y="230"/>
                    <a:pt x="306" y="199"/>
                    <a:pt x="306" y="161"/>
                  </a:cubicBezTo>
                  <a:cubicBezTo>
                    <a:pt x="306" y="123"/>
                    <a:pt x="281" y="92"/>
                    <a:pt x="229" y="92"/>
                  </a:cubicBezTo>
                  <a:lnTo>
                    <a:pt x="91" y="92"/>
                  </a:lnTo>
                  <a:lnTo>
                    <a:pt x="91" y="230"/>
                  </a:lnTo>
                  <a:close/>
                  <a:moveTo>
                    <a:pt x="235" y="484"/>
                  </a:moveTo>
                  <a:lnTo>
                    <a:pt x="235" y="484"/>
                  </a:lnTo>
                  <a:cubicBezTo>
                    <a:pt x="300" y="484"/>
                    <a:pt x="333" y="446"/>
                    <a:pt x="333" y="400"/>
                  </a:cubicBezTo>
                  <a:cubicBezTo>
                    <a:pt x="333" y="352"/>
                    <a:pt x="301" y="314"/>
                    <a:pt x="235" y="314"/>
                  </a:cubicBezTo>
                  <a:lnTo>
                    <a:pt x="91" y="314"/>
                  </a:lnTo>
                  <a:lnTo>
                    <a:pt x="91" y="484"/>
                  </a:lnTo>
                  <a:lnTo>
                    <a:pt x="235" y="484"/>
                  </a:lnTo>
                  <a:close/>
                  <a:moveTo>
                    <a:pt x="2858" y="92"/>
                  </a:moveTo>
                  <a:lnTo>
                    <a:pt x="2858" y="92"/>
                  </a:lnTo>
                  <a:cubicBezTo>
                    <a:pt x="2888" y="92"/>
                    <a:pt x="2906" y="73"/>
                    <a:pt x="2906" y="48"/>
                  </a:cubicBezTo>
                  <a:cubicBezTo>
                    <a:pt x="2906" y="23"/>
                    <a:pt x="2887" y="3"/>
                    <a:pt x="2858" y="3"/>
                  </a:cubicBezTo>
                  <a:lnTo>
                    <a:pt x="2576" y="3"/>
                  </a:lnTo>
                  <a:cubicBezTo>
                    <a:pt x="2551" y="3"/>
                    <a:pt x="2532" y="22"/>
                    <a:pt x="2532" y="48"/>
                  </a:cubicBezTo>
                  <a:lnTo>
                    <a:pt x="2532" y="529"/>
                  </a:lnTo>
                  <a:cubicBezTo>
                    <a:pt x="2532" y="554"/>
                    <a:pt x="2551" y="573"/>
                    <a:pt x="2576" y="573"/>
                  </a:cubicBezTo>
                  <a:lnTo>
                    <a:pt x="2903" y="573"/>
                  </a:lnTo>
                  <a:lnTo>
                    <a:pt x="2903" y="484"/>
                  </a:lnTo>
                  <a:lnTo>
                    <a:pt x="2624" y="484"/>
                  </a:lnTo>
                  <a:lnTo>
                    <a:pt x="2624" y="318"/>
                  </a:lnTo>
                  <a:lnTo>
                    <a:pt x="2834" y="318"/>
                  </a:lnTo>
                  <a:cubicBezTo>
                    <a:pt x="2866" y="318"/>
                    <a:pt x="2884" y="299"/>
                    <a:pt x="2884" y="274"/>
                  </a:cubicBezTo>
                  <a:cubicBezTo>
                    <a:pt x="2884" y="248"/>
                    <a:pt x="2867" y="229"/>
                    <a:pt x="2834" y="229"/>
                  </a:cubicBezTo>
                  <a:lnTo>
                    <a:pt x="2624" y="229"/>
                  </a:lnTo>
                  <a:lnTo>
                    <a:pt x="2624" y="92"/>
                  </a:lnTo>
                  <a:lnTo>
                    <a:pt x="2858" y="92"/>
                  </a:lnTo>
                  <a:close/>
                  <a:moveTo>
                    <a:pt x="634" y="346"/>
                  </a:moveTo>
                  <a:lnTo>
                    <a:pt x="634" y="346"/>
                  </a:lnTo>
                  <a:lnTo>
                    <a:pt x="634" y="44"/>
                  </a:lnTo>
                  <a:cubicBezTo>
                    <a:pt x="634" y="19"/>
                    <a:pt x="616" y="0"/>
                    <a:pt x="588" y="0"/>
                  </a:cubicBezTo>
                  <a:cubicBezTo>
                    <a:pt x="560" y="0"/>
                    <a:pt x="542" y="19"/>
                    <a:pt x="542" y="44"/>
                  </a:cubicBezTo>
                  <a:lnTo>
                    <a:pt x="542" y="343"/>
                  </a:lnTo>
                  <a:cubicBezTo>
                    <a:pt x="542" y="471"/>
                    <a:pt x="632" y="575"/>
                    <a:pt x="776" y="575"/>
                  </a:cubicBezTo>
                  <a:cubicBezTo>
                    <a:pt x="920" y="575"/>
                    <a:pt x="1010" y="471"/>
                    <a:pt x="1010" y="343"/>
                  </a:cubicBezTo>
                  <a:lnTo>
                    <a:pt x="1010" y="2"/>
                  </a:lnTo>
                  <a:lnTo>
                    <a:pt x="918" y="2"/>
                  </a:lnTo>
                  <a:lnTo>
                    <a:pt x="918" y="345"/>
                  </a:lnTo>
                  <a:cubicBezTo>
                    <a:pt x="918" y="421"/>
                    <a:pt x="867" y="488"/>
                    <a:pt x="776" y="488"/>
                  </a:cubicBezTo>
                  <a:cubicBezTo>
                    <a:pt x="684" y="489"/>
                    <a:pt x="634" y="422"/>
                    <a:pt x="634" y="346"/>
                  </a:cubicBezTo>
                  <a:close/>
                  <a:moveTo>
                    <a:pt x="1676" y="0"/>
                  </a:moveTo>
                  <a:lnTo>
                    <a:pt x="1676" y="0"/>
                  </a:lnTo>
                  <a:cubicBezTo>
                    <a:pt x="1704" y="0"/>
                    <a:pt x="1722" y="19"/>
                    <a:pt x="1722" y="44"/>
                  </a:cubicBezTo>
                  <a:lnTo>
                    <a:pt x="1722" y="572"/>
                  </a:lnTo>
                  <a:lnTo>
                    <a:pt x="1630" y="572"/>
                  </a:lnTo>
                  <a:lnTo>
                    <a:pt x="1630" y="44"/>
                  </a:lnTo>
                  <a:cubicBezTo>
                    <a:pt x="1630" y="19"/>
                    <a:pt x="1647" y="0"/>
                    <a:pt x="1676" y="0"/>
                  </a:cubicBezTo>
                  <a:close/>
                </a:path>
              </a:pathLst>
            </a:custGeom>
            <a:solidFill>
              <a:srgbClr val="0D62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8" name="TextBox 7">
            <a:extLst>
              <a:ext uri="{FF2B5EF4-FFF2-40B4-BE49-F238E27FC236}">
                <a16:creationId xmlns:a16="http://schemas.microsoft.com/office/drawing/2014/main" id="{7890595C-FEE2-CFEF-17C7-4117D0EEABE7}"/>
              </a:ext>
            </a:extLst>
          </p:cNvPr>
          <p:cNvSpPr txBox="1"/>
          <p:nvPr>
            <p:extLst>
              <p:ext uri="{1162E1C5-73C7-4A58-AE30-91384D911F3F}">
                <p184:classification xmlns:p184="http://schemas.microsoft.com/office/powerpoint/2018/4/main" val="ftr"/>
              </p:ext>
            </p:extLst>
          </p:nvPr>
        </p:nvSpPr>
        <p:spPr>
          <a:xfrm>
            <a:off x="5774500" y="6736080"/>
            <a:ext cx="665162" cy="121920"/>
          </a:xfrm>
          <a:prstGeom prst="rect">
            <a:avLst/>
          </a:prstGeom>
        </p:spPr>
        <p:txBody>
          <a:bodyPr horzOverflow="overflow" lIns="0" tIns="0" rIns="0" bIns="0">
            <a:spAutoFit/>
          </a:bodyPr>
          <a:lstStyle/>
          <a:p>
            <a:pPr algn="l"/>
            <a:r>
              <a:rPr lang="en-US" sz="800">
                <a:solidFill>
                  <a:srgbClr val="000000"/>
                </a:solidFill>
                <a:latin typeface="Calibri" panose="020F0502020204030204" pitchFamily="34" charset="0"/>
                <a:cs typeface="Calibri" panose="020F0502020204030204" pitchFamily="34" charset="0"/>
              </a:rPr>
              <a:t>Confidential (C)</a:t>
            </a:r>
          </a:p>
        </p:txBody>
      </p:sp>
    </p:spTree>
    <p:extLst>
      <p:ext uri="{BB962C8B-B14F-4D97-AF65-F5344CB8AC3E}">
        <p14:creationId xmlns:p14="http://schemas.microsoft.com/office/powerpoint/2010/main" val="367482393"/>
      </p:ext>
    </p:extLst>
  </p:cSld>
  <p:clrMap bg1="lt1" tx1="dk1" bg2="lt2" tx2="dk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 id="2147483810" r:id="rId6"/>
    <p:sldLayoutId id="2147483811" r:id="rId7"/>
    <p:sldLayoutId id="2147483812" r:id="rId8"/>
    <p:sldLayoutId id="2147483813" r:id="rId9"/>
    <p:sldLayoutId id="2147483814" r:id="rId10"/>
    <p:sldLayoutId id="2147483815" r:id="rId11"/>
    <p:sldLayoutId id="2147483816" r:id="rId12"/>
    <p:sldLayoutId id="2147483817" r:id="rId13"/>
    <p:sldLayoutId id="2147483818" r:id="rId14"/>
    <p:sldLayoutId id="2147483819" r:id="rId15"/>
    <p:sldLayoutId id="2147483820" r:id="rId16"/>
    <p:sldLayoutId id="2147483821" r:id="rId17"/>
    <p:sldLayoutId id="2147483822" r:id="rId18"/>
    <p:sldLayoutId id="2147483823" r:id="rId19"/>
    <p:sldLayoutId id="2147483824" r:id="rId20"/>
    <p:sldLayoutId id="2147483825" r:id="rId21"/>
    <p:sldLayoutId id="2147483826" r:id="rId22"/>
    <p:sldLayoutId id="2147483827" r:id="rId23"/>
    <p:sldLayoutId id="2147483828" r:id="rId24"/>
    <p:sldLayoutId id="2147483829" r:id="rId25"/>
    <p:sldLayoutId id="2147483830" r:id="rId26"/>
    <p:sldLayoutId id="2147483831" r:id="rId27"/>
    <p:sldLayoutId id="2147483833" r:id="rId28"/>
    <p:sldLayoutId id="2147483834" r:id="rId29"/>
    <p:sldLayoutId id="2147483835" r:id="rId30"/>
    <p:sldLayoutId id="2147483836" r:id="rId31"/>
    <p:sldLayoutId id="2147483837" r:id="rId32"/>
  </p:sldLayoutIdLst>
  <p:hf hdr="0" dt="0"/>
  <p:txStyles>
    <p:titleStyle>
      <a:lvl1pPr algn="l" defTabSz="914400" rtl="0" eaLnBrk="1" latinLnBrk="0" hangingPunct="1">
        <a:lnSpc>
          <a:spcPct val="95000"/>
        </a:lnSpc>
        <a:spcBef>
          <a:spcPct val="0"/>
        </a:spcBef>
        <a:buNone/>
        <a:defRPr sz="3200" kern="1200">
          <a:solidFill>
            <a:schemeClr val="accent1"/>
          </a:solidFill>
          <a:latin typeface="+mj-lt"/>
          <a:ea typeface="+mj-ea"/>
          <a:cs typeface="+mj-cs"/>
        </a:defRPr>
      </a:lvl1pPr>
    </p:titleStyle>
    <p:bodyStyle>
      <a:lvl1pPr marL="182880" indent="-182880" algn="l" defTabSz="914400" rtl="0" eaLnBrk="1" latinLnBrk="0" hangingPunct="1">
        <a:lnSpc>
          <a:spcPct val="95000"/>
        </a:lnSpc>
        <a:spcBef>
          <a:spcPts val="1000"/>
        </a:spcBef>
        <a:buFont typeface="Arial" panose="020B0604020202020204" pitchFamily="34" charset="0"/>
        <a:buChar char="•"/>
        <a:defRPr sz="2000" kern="1200">
          <a:solidFill>
            <a:schemeClr val="tx1"/>
          </a:solidFill>
          <a:latin typeface="+mn-lt"/>
          <a:ea typeface="+mn-ea"/>
          <a:cs typeface="+mn-cs"/>
        </a:defRPr>
      </a:lvl1pPr>
      <a:lvl2pPr marL="411480" indent="-182880" algn="l" defTabSz="914400" rtl="0" eaLnBrk="1" latinLnBrk="0" hangingPunct="1">
        <a:lnSpc>
          <a:spcPct val="90000"/>
        </a:lnSpc>
        <a:spcBef>
          <a:spcPts val="500"/>
        </a:spcBef>
        <a:buFont typeface="Montserrat" panose="00000500000000000000" pitchFamily="2" charset="0"/>
        <a:buChar char="–"/>
        <a:defRPr sz="1800" kern="1200">
          <a:solidFill>
            <a:schemeClr val="tx1"/>
          </a:solidFill>
          <a:latin typeface="+mn-lt"/>
          <a:ea typeface="+mn-ea"/>
          <a:cs typeface="+mn-cs"/>
        </a:defRPr>
      </a:lvl2pPr>
      <a:lvl3pPr marL="612648" indent="-18288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822960" indent="-182880" algn="l" defTabSz="914400" rtl="0" eaLnBrk="1" latinLnBrk="0" hangingPunct="1">
        <a:lnSpc>
          <a:spcPct val="90000"/>
        </a:lnSpc>
        <a:spcBef>
          <a:spcPts val="500"/>
        </a:spcBef>
        <a:buFont typeface="Montserrat" panose="00000500000000000000" pitchFamily="2" charset="0"/>
        <a:buChar char="–"/>
        <a:defRPr sz="1400" kern="1200">
          <a:solidFill>
            <a:schemeClr val="tx1"/>
          </a:solidFill>
          <a:latin typeface="+mn-lt"/>
          <a:ea typeface="+mn-ea"/>
          <a:cs typeface="+mn-cs"/>
        </a:defRPr>
      </a:lvl4pPr>
      <a:lvl5pPr marL="0" indent="0" algn="l" defTabSz="914400" rtl="0" eaLnBrk="1" latinLnBrk="0" hangingPunct="1">
        <a:lnSpc>
          <a:spcPct val="90000"/>
        </a:lnSpc>
        <a:spcBef>
          <a:spcPts val="500"/>
        </a:spcBef>
        <a:buFont typeface="Arial" panose="020B0604020202020204" pitchFamily="34" charset="0"/>
        <a:buNone/>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400" kern="1200">
          <a:solidFill>
            <a:schemeClr val="tx1"/>
          </a:solidFill>
          <a:latin typeface="+mn-lt"/>
          <a:ea typeface="+mn-ea"/>
          <a:cs typeface="+mn-cs"/>
        </a:defRPr>
      </a:lvl2pPr>
      <a:lvl3pPr marL="914400" algn="l" defTabSz="914400" rtl="0" eaLnBrk="1" latinLnBrk="0" hangingPunct="1">
        <a:defRPr sz="1400" kern="1200">
          <a:solidFill>
            <a:schemeClr val="tx1"/>
          </a:solidFill>
          <a:latin typeface="+mn-lt"/>
          <a:ea typeface="+mn-ea"/>
          <a:cs typeface="+mn-cs"/>
        </a:defRPr>
      </a:lvl3pPr>
      <a:lvl4pPr marL="1371600" algn="l" defTabSz="914400" rtl="0" eaLnBrk="1" latinLnBrk="0" hangingPunct="1">
        <a:defRPr sz="1400" kern="1200">
          <a:solidFill>
            <a:schemeClr val="tx1"/>
          </a:solidFill>
          <a:latin typeface="+mn-lt"/>
          <a:ea typeface="+mn-ea"/>
          <a:cs typeface="+mn-cs"/>
        </a:defRPr>
      </a:lvl4pPr>
      <a:lvl5pPr marL="1828800" algn="l" defTabSz="914400" rtl="0" eaLnBrk="1" latinLnBrk="0" hangingPunct="1">
        <a:defRPr sz="1400" kern="1200">
          <a:solidFill>
            <a:schemeClr val="tx1"/>
          </a:solidFill>
          <a:latin typeface="+mn-lt"/>
          <a:ea typeface="+mn-ea"/>
          <a:cs typeface="+mn-cs"/>
        </a:defRPr>
      </a:lvl5pPr>
      <a:lvl6pPr marL="2286000" algn="l" defTabSz="914400" rtl="0" eaLnBrk="1" latinLnBrk="0" hangingPunct="1">
        <a:defRPr sz="1400" kern="1200">
          <a:solidFill>
            <a:schemeClr val="tx1"/>
          </a:solidFill>
          <a:latin typeface="+mn-lt"/>
          <a:ea typeface="+mn-ea"/>
          <a:cs typeface="+mn-cs"/>
        </a:defRPr>
      </a:lvl6pPr>
      <a:lvl7pPr marL="2743200" algn="l" defTabSz="914400" rtl="0" eaLnBrk="1" latinLnBrk="0" hangingPunct="1">
        <a:defRPr sz="1400" kern="1200">
          <a:solidFill>
            <a:schemeClr val="tx1"/>
          </a:solidFill>
          <a:latin typeface="+mn-lt"/>
          <a:ea typeface="+mn-ea"/>
          <a:cs typeface="+mn-cs"/>
        </a:defRPr>
      </a:lvl7pPr>
      <a:lvl8pPr marL="3200400" algn="l" defTabSz="914400" rtl="0" eaLnBrk="1" latinLnBrk="0" hangingPunct="1">
        <a:defRPr sz="1400" kern="1200">
          <a:solidFill>
            <a:schemeClr val="tx1"/>
          </a:solidFill>
          <a:latin typeface="+mn-lt"/>
          <a:ea typeface="+mn-ea"/>
          <a:cs typeface="+mn-cs"/>
        </a:defRPr>
      </a:lvl8pPr>
      <a:lvl9pPr marL="3657600" algn="l" defTabSz="9144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7" pos="288">
          <p15:clr>
            <a:srgbClr val="A4A3A4"/>
          </p15:clr>
        </p15:guide>
        <p15:guide id="18" pos="1912">
          <p15:clr>
            <a:srgbClr val="5ACBF0"/>
          </p15:clr>
        </p15:guide>
        <p15:guide id="19" pos="2114">
          <p15:clr>
            <a:srgbClr val="5ACBF0"/>
          </p15:clr>
        </p15:guide>
        <p15:guide id="20" pos="3739">
          <p15:clr>
            <a:srgbClr val="9FCC3B"/>
          </p15:clr>
        </p15:guide>
        <p15:guide id="21" pos="3940">
          <p15:clr>
            <a:srgbClr val="9FCC3B"/>
          </p15:clr>
        </p15:guide>
        <p15:guide id="22" pos="5565">
          <p15:clr>
            <a:srgbClr val="5ACBF0"/>
          </p15:clr>
        </p15:guide>
        <p15:guide id="23" pos="5767">
          <p15:clr>
            <a:srgbClr val="5ACBF0"/>
          </p15:clr>
        </p15:guide>
        <p15:guide id="24" pos="7392">
          <p15:clr>
            <a:srgbClr val="A4A3A4"/>
          </p15:clr>
        </p15:guide>
        <p15:guide id="25" orient="horz" pos="432">
          <p15:clr>
            <a:srgbClr val="A4A3A4"/>
          </p15:clr>
        </p15:guide>
        <p15:guide id="26" orient="horz" pos="1178">
          <p15:clr>
            <a:srgbClr val="5ACBF0"/>
          </p15:clr>
        </p15:guide>
        <p15:guide id="28" orient="horz" pos="3976">
          <p15:clr>
            <a:srgbClr val="A4A3A4"/>
          </p15:clr>
        </p15:guide>
        <p15:guide id="29" orient="horz" pos="413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AB8972E-F75E-BEB5-170F-6D1C1F172722}"/>
              </a:ext>
            </a:extLst>
          </p:cNvPr>
          <p:cNvGraphicFramePr>
            <a:graphicFrameLocks noChangeAspect="1"/>
          </p:cNvGraphicFramePr>
          <p:nvPr userDrawn="1">
            <p:custDataLst>
              <p:tags r:id="rId14"/>
            </p:custDataLst>
            <p:extLst>
              <p:ext uri="{D42A27DB-BD31-4B8C-83A1-F6EECF244321}">
                <p14:modId xmlns:p14="http://schemas.microsoft.com/office/powerpoint/2010/main" val="1822253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95" imgH="396" progId="TCLayout.ActiveDocument.1">
                  <p:embed/>
                </p:oleObj>
              </mc:Choice>
              <mc:Fallback>
                <p:oleObj name="think-cell Slide" r:id="rId15" imgW="395" imgH="396" progId="TCLayout.ActiveDocument.1">
                  <p:embed/>
                  <p:pic>
                    <p:nvPicPr>
                      <p:cNvPr id="2" name="Object 1" hidden="1">
                        <a:extLst>
                          <a:ext uri="{FF2B5EF4-FFF2-40B4-BE49-F238E27FC236}">
                            <a16:creationId xmlns:a16="http://schemas.microsoft.com/office/drawing/2014/main" id="{DAB8972E-F75E-BEB5-170F-6D1C1F172722}"/>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E2257729-6F2F-472D-A628-3AC6323D6DD4}"/>
              </a:ext>
            </a:extLst>
          </p:cNvPr>
          <p:cNvSpPr>
            <a:spLocks noGrp="1"/>
          </p:cNvSpPr>
          <p:nvPr>
            <p:ph type="ftr" sz="quarter" idx="3"/>
          </p:nvPr>
        </p:nvSpPr>
        <p:spPr>
          <a:xfrm>
            <a:off x="463550" y="6427788"/>
            <a:ext cx="4114800" cy="198437"/>
          </a:xfrm>
          <a:prstGeom prst="rect">
            <a:avLst/>
          </a:prstGeom>
        </p:spPr>
        <p:txBody>
          <a:bodyPr vert="horz" lIns="0" tIns="0" rIns="0" bIns="0" rtlCol="0" anchor="ctr">
            <a:noAutofit/>
          </a:bodyPr>
          <a:lstStyle>
            <a:lvl1pPr algn="l" eaLnBrk="1" fontAlgn="auto" hangingPunct="1">
              <a:spcBef>
                <a:spcPts val="0"/>
              </a:spcBef>
              <a:spcAft>
                <a:spcPts val="0"/>
              </a:spcAft>
              <a:defRPr sz="800">
                <a:solidFill>
                  <a:schemeClr val="tx1"/>
                </a:solidFill>
                <a:latin typeface="+mn-lt"/>
              </a:defRPr>
            </a:lvl1pPr>
          </a:lstStyle>
          <a:p>
            <a:pPr>
              <a:defRPr/>
            </a:pPr>
            <a:r>
              <a:rPr lang="en-US"/>
              <a:t>© 2023 Comcast. All rights reserved.</a:t>
            </a:r>
          </a:p>
        </p:txBody>
      </p:sp>
      <p:sp>
        <p:nvSpPr>
          <p:cNvPr id="6" name="Slide Number Placeholder 5">
            <a:extLst>
              <a:ext uri="{FF2B5EF4-FFF2-40B4-BE49-F238E27FC236}">
                <a16:creationId xmlns:a16="http://schemas.microsoft.com/office/drawing/2014/main" id="{F37C4A8A-5A96-4192-8D21-A29D063A18A6}"/>
              </a:ext>
            </a:extLst>
          </p:cNvPr>
          <p:cNvSpPr>
            <a:spLocks noGrp="1"/>
          </p:cNvSpPr>
          <p:nvPr>
            <p:ph type="sldNum" sz="quarter" idx="4"/>
          </p:nvPr>
        </p:nvSpPr>
        <p:spPr>
          <a:xfrm>
            <a:off x="11341100" y="6424613"/>
            <a:ext cx="393700" cy="200025"/>
          </a:xfrm>
          <a:prstGeom prst="rect">
            <a:avLst/>
          </a:prstGeom>
        </p:spPr>
        <p:txBody>
          <a:bodyPr vert="horz" lIns="0" tIns="0" rIns="0" bIns="0" rtlCol="0" anchor="ctr">
            <a:noAutofit/>
          </a:bodyPr>
          <a:lstStyle>
            <a:lvl1pPr algn="r" eaLnBrk="1" fontAlgn="auto" hangingPunct="1">
              <a:spcBef>
                <a:spcPts val="0"/>
              </a:spcBef>
              <a:spcAft>
                <a:spcPts val="0"/>
              </a:spcAft>
              <a:defRPr sz="800">
                <a:solidFill>
                  <a:schemeClr val="tx2"/>
                </a:solidFill>
                <a:latin typeface="+mn-lt"/>
              </a:defRPr>
            </a:lvl1pPr>
          </a:lstStyle>
          <a:p>
            <a:pPr>
              <a:defRPr/>
            </a:pPr>
            <a:fld id="{0328BF2B-1211-4EAA-8AE9-62488A2F8B31}" type="slidenum">
              <a:rPr lang="en-US"/>
              <a:pPr>
                <a:defRPr/>
              </a:pPr>
              <a:t>‹#›</a:t>
            </a:fld>
            <a:endParaRPr lang="en-US"/>
          </a:p>
        </p:txBody>
      </p:sp>
      <p:grpSp>
        <p:nvGrpSpPr>
          <p:cNvPr id="1031" name="Group 12">
            <a:extLst>
              <a:ext uri="{FF2B5EF4-FFF2-40B4-BE49-F238E27FC236}">
                <a16:creationId xmlns:a16="http://schemas.microsoft.com/office/drawing/2014/main" id="{D41623B5-40D3-4867-8C8D-CEBECE13B611}"/>
              </a:ext>
            </a:extLst>
          </p:cNvPr>
          <p:cNvGrpSpPr>
            <a:grpSpLocks noChangeAspect="1"/>
          </p:cNvGrpSpPr>
          <p:nvPr/>
        </p:nvGrpSpPr>
        <p:grpSpPr bwMode="auto">
          <a:xfrm>
            <a:off x="8680450" y="6437313"/>
            <a:ext cx="2522538" cy="184150"/>
            <a:chOff x="288" y="4035"/>
            <a:chExt cx="1589" cy="116"/>
          </a:xfrm>
        </p:grpSpPr>
        <p:sp>
          <p:nvSpPr>
            <p:cNvPr id="1032" name="Freeform 5">
              <a:extLst>
                <a:ext uri="{FF2B5EF4-FFF2-40B4-BE49-F238E27FC236}">
                  <a16:creationId xmlns:a16="http://schemas.microsoft.com/office/drawing/2014/main" id="{9F8FC777-6C07-4901-BD42-CA701CE83A70}"/>
                </a:ext>
              </a:extLst>
            </p:cNvPr>
            <p:cNvSpPr>
              <a:spLocks noEditPoints="1"/>
            </p:cNvSpPr>
            <p:nvPr/>
          </p:nvSpPr>
          <p:spPr bwMode="auto">
            <a:xfrm>
              <a:off x="288" y="4035"/>
              <a:ext cx="769" cy="116"/>
            </a:xfrm>
            <a:custGeom>
              <a:avLst/>
              <a:gdLst>
                <a:gd name="T0" fmla="*/ 30 w 3874"/>
                <a:gd name="T1" fmla="*/ 0 h 573"/>
                <a:gd name="T2" fmla="*/ 28 w 3874"/>
                <a:gd name="T3" fmla="*/ 0 h 573"/>
                <a:gd name="T4" fmla="*/ 28 w 3874"/>
                <a:gd name="T5" fmla="*/ 0 h 573"/>
                <a:gd name="T6" fmla="*/ 29 w 3874"/>
                <a:gd name="T7" fmla="*/ 5 h 573"/>
                <a:gd name="T8" fmla="*/ 29 w 3874"/>
                <a:gd name="T9" fmla="*/ 0 h 573"/>
                <a:gd name="T10" fmla="*/ 30 w 3874"/>
                <a:gd name="T11" fmla="*/ 0 h 573"/>
                <a:gd name="T12" fmla="*/ 22 w 3874"/>
                <a:gd name="T13" fmla="*/ 0 h 573"/>
                <a:gd name="T14" fmla="*/ 20 w 3874"/>
                <a:gd name="T15" fmla="*/ 4 h 573"/>
                <a:gd name="T16" fmla="*/ 20 w 3874"/>
                <a:gd name="T17" fmla="*/ 5 h 573"/>
                <a:gd name="T18" fmla="*/ 21 w 3874"/>
                <a:gd name="T19" fmla="*/ 3 h 573"/>
                <a:gd name="T20" fmla="*/ 23 w 3874"/>
                <a:gd name="T21" fmla="*/ 5 h 573"/>
                <a:gd name="T22" fmla="*/ 22 w 3874"/>
                <a:gd name="T23" fmla="*/ 0 h 573"/>
                <a:gd name="T24" fmla="*/ 21 w 3874"/>
                <a:gd name="T25" fmla="*/ 2 h 573"/>
                <a:gd name="T26" fmla="*/ 22 w 3874"/>
                <a:gd name="T27" fmla="*/ 1 h 573"/>
                <a:gd name="T28" fmla="*/ 21 w 3874"/>
                <a:gd name="T29" fmla="*/ 2 h 573"/>
                <a:gd name="T30" fmla="*/ 14 w 3874"/>
                <a:gd name="T31" fmla="*/ 0 h 573"/>
                <a:gd name="T32" fmla="*/ 12 w 3874"/>
                <a:gd name="T33" fmla="*/ 4 h 573"/>
                <a:gd name="T34" fmla="*/ 11 w 3874"/>
                <a:gd name="T35" fmla="*/ 0 h 573"/>
                <a:gd name="T36" fmla="*/ 10 w 3874"/>
                <a:gd name="T37" fmla="*/ 4 h 573"/>
                <a:gd name="T38" fmla="*/ 10 w 3874"/>
                <a:gd name="T39" fmla="*/ 5 h 573"/>
                <a:gd name="T40" fmla="*/ 11 w 3874"/>
                <a:gd name="T41" fmla="*/ 1 h 573"/>
                <a:gd name="T42" fmla="*/ 12 w 3874"/>
                <a:gd name="T43" fmla="*/ 4 h 573"/>
                <a:gd name="T44" fmla="*/ 13 w 3874"/>
                <a:gd name="T45" fmla="*/ 1 h 573"/>
                <a:gd name="T46" fmla="*/ 15 w 3874"/>
                <a:gd name="T47" fmla="*/ 5 h 573"/>
                <a:gd name="T48" fmla="*/ 14 w 3874"/>
                <a:gd name="T49" fmla="*/ 0 h 573"/>
                <a:gd name="T50" fmla="*/ 17 w 3874"/>
                <a:gd name="T51" fmla="*/ 0 h 573"/>
                <a:gd name="T52" fmla="*/ 19 w 3874"/>
                <a:gd name="T53" fmla="*/ 1 h 573"/>
                <a:gd name="T54" fmla="*/ 19 w 3874"/>
                <a:gd name="T55" fmla="*/ 1 h 573"/>
                <a:gd name="T56" fmla="*/ 17 w 3874"/>
                <a:gd name="T57" fmla="*/ 0 h 573"/>
                <a:gd name="T58" fmla="*/ 17 w 3874"/>
                <a:gd name="T59" fmla="*/ 5 h 573"/>
                <a:gd name="T60" fmla="*/ 19 w 3874"/>
                <a:gd name="T61" fmla="*/ 4 h 573"/>
                <a:gd name="T62" fmla="*/ 16 w 3874"/>
                <a:gd name="T63" fmla="*/ 2 h 573"/>
                <a:gd name="T64" fmla="*/ 2 w 3874"/>
                <a:gd name="T65" fmla="*/ 0 h 573"/>
                <a:gd name="T66" fmla="*/ 4 w 3874"/>
                <a:gd name="T67" fmla="*/ 1 h 573"/>
                <a:gd name="T68" fmla="*/ 4 w 3874"/>
                <a:gd name="T69" fmla="*/ 1 h 573"/>
                <a:gd name="T70" fmla="*/ 4 w 3874"/>
                <a:gd name="T71" fmla="*/ 1 h 573"/>
                <a:gd name="T72" fmla="*/ 0 w 3874"/>
                <a:gd name="T73" fmla="*/ 2 h 573"/>
                <a:gd name="T74" fmla="*/ 4 w 3874"/>
                <a:gd name="T75" fmla="*/ 4 h 573"/>
                <a:gd name="T76" fmla="*/ 2 w 3874"/>
                <a:gd name="T77" fmla="*/ 4 h 573"/>
                <a:gd name="T78" fmla="*/ 2 w 3874"/>
                <a:gd name="T79" fmla="*/ 0 h 573"/>
                <a:gd name="T80" fmla="*/ 26 w 3874"/>
                <a:gd name="T81" fmla="*/ 2 h 573"/>
                <a:gd name="T82" fmla="*/ 25 w 3874"/>
                <a:gd name="T83" fmla="*/ 1 h 573"/>
                <a:gd name="T84" fmla="*/ 26 w 3874"/>
                <a:gd name="T85" fmla="*/ 1 h 573"/>
                <a:gd name="T86" fmla="*/ 27 w 3874"/>
                <a:gd name="T87" fmla="*/ 0 h 573"/>
                <a:gd name="T88" fmla="*/ 26 w 3874"/>
                <a:gd name="T89" fmla="*/ 0 h 573"/>
                <a:gd name="T90" fmla="*/ 25 w 3874"/>
                <a:gd name="T91" fmla="*/ 2 h 573"/>
                <a:gd name="T92" fmla="*/ 26 w 3874"/>
                <a:gd name="T93" fmla="*/ 3 h 573"/>
                <a:gd name="T94" fmla="*/ 24 w 3874"/>
                <a:gd name="T95" fmla="*/ 4 h 573"/>
                <a:gd name="T96" fmla="*/ 24 w 3874"/>
                <a:gd name="T97" fmla="*/ 4 h 573"/>
                <a:gd name="T98" fmla="*/ 26 w 3874"/>
                <a:gd name="T99" fmla="*/ 5 h 573"/>
                <a:gd name="T100" fmla="*/ 26 w 3874"/>
                <a:gd name="T101" fmla="*/ 2 h 573"/>
                <a:gd name="T102" fmla="*/ 7 w 3874"/>
                <a:gd name="T103" fmla="*/ 0 h 573"/>
                <a:gd name="T104" fmla="*/ 7 w 3874"/>
                <a:gd name="T105" fmla="*/ 5 h 573"/>
                <a:gd name="T106" fmla="*/ 7 w 3874"/>
                <a:gd name="T107" fmla="*/ 0 h 573"/>
                <a:gd name="T108" fmla="*/ 7 w 3874"/>
                <a:gd name="T109" fmla="*/ 4 h 573"/>
                <a:gd name="T110" fmla="*/ 7 w 3874"/>
                <a:gd name="T111" fmla="*/ 0 h 573"/>
                <a:gd name="T112" fmla="*/ 7 w 3874"/>
                <a:gd name="T113" fmla="*/ 4 h 57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874" h="573">
                  <a:moveTo>
                    <a:pt x="3874" y="31"/>
                  </a:moveTo>
                  <a:lnTo>
                    <a:pt x="3874" y="31"/>
                  </a:lnTo>
                  <a:cubicBezTo>
                    <a:pt x="3874" y="16"/>
                    <a:pt x="3861" y="3"/>
                    <a:pt x="3846" y="3"/>
                  </a:cubicBezTo>
                  <a:lnTo>
                    <a:pt x="3527" y="3"/>
                  </a:lnTo>
                  <a:cubicBezTo>
                    <a:pt x="3512" y="3"/>
                    <a:pt x="3499" y="15"/>
                    <a:pt x="3499" y="31"/>
                  </a:cubicBezTo>
                  <a:cubicBezTo>
                    <a:pt x="3499" y="47"/>
                    <a:pt x="3511" y="59"/>
                    <a:pt x="3527" y="59"/>
                  </a:cubicBezTo>
                  <a:lnTo>
                    <a:pt x="3661" y="59"/>
                  </a:lnTo>
                  <a:lnTo>
                    <a:pt x="3661" y="569"/>
                  </a:lnTo>
                  <a:lnTo>
                    <a:pt x="3713" y="569"/>
                  </a:lnTo>
                  <a:lnTo>
                    <a:pt x="3713" y="59"/>
                  </a:lnTo>
                  <a:lnTo>
                    <a:pt x="3846" y="59"/>
                  </a:lnTo>
                  <a:cubicBezTo>
                    <a:pt x="3862" y="60"/>
                    <a:pt x="3874" y="47"/>
                    <a:pt x="3874" y="31"/>
                  </a:cubicBezTo>
                  <a:close/>
                  <a:moveTo>
                    <a:pt x="2759" y="0"/>
                  </a:moveTo>
                  <a:lnTo>
                    <a:pt x="2759" y="0"/>
                  </a:lnTo>
                  <a:cubicBezTo>
                    <a:pt x="2748" y="0"/>
                    <a:pt x="2741" y="7"/>
                    <a:pt x="2735" y="16"/>
                  </a:cubicBezTo>
                  <a:cubicBezTo>
                    <a:pt x="2731" y="26"/>
                    <a:pt x="2523" y="538"/>
                    <a:pt x="2523" y="538"/>
                  </a:cubicBezTo>
                  <a:cubicBezTo>
                    <a:pt x="2522" y="541"/>
                    <a:pt x="2521" y="544"/>
                    <a:pt x="2521" y="547"/>
                  </a:cubicBezTo>
                  <a:cubicBezTo>
                    <a:pt x="2521" y="562"/>
                    <a:pt x="2532" y="573"/>
                    <a:pt x="2547" y="573"/>
                  </a:cubicBezTo>
                  <a:cubicBezTo>
                    <a:pt x="2558" y="573"/>
                    <a:pt x="2567" y="566"/>
                    <a:pt x="2570" y="556"/>
                  </a:cubicBezTo>
                  <a:lnTo>
                    <a:pt x="2651" y="359"/>
                  </a:lnTo>
                  <a:lnTo>
                    <a:pt x="2868" y="359"/>
                  </a:lnTo>
                  <a:lnTo>
                    <a:pt x="2954" y="569"/>
                  </a:lnTo>
                  <a:lnTo>
                    <a:pt x="3009" y="569"/>
                  </a:lnTo>
                  <a:cubicBezTo>
                    <a:pt x="3009" y="569"/>
                    <a:pt x="2788" y="25"/>
                    <a:pt x="2784" y="16"/>
                  </a:cubicBezTo>
                  <a:cubicBezTo>
                    <a:pt x="2779" y="7"/>
                    <a:pt x="2770" y="0"/>
                    <a:pt x="2759" y="0"/>
                  </a:cubicBezTo>
                  <a:close/>
                  <a:moveTo>
                    <a:pt x="2675" y="302"/>
                  </a:moveTo>
                  <a:lnTo>
                    <a:pt x="2675" y="302"/>
                  </a:lnTo>
                  <a:lnTo>
                    <a:pt x="2760" y="93"/>
                  </a:lnTo>
                  <a:lnTo>
                    <a:pt x="2845" y="302"/>
                  </a:lnTo>
                  <a:lnTo>
                    <a:pt x="2675" y="302"/>
                  </a:lnTo>
                  <a:close/>
                  <a:moveTo>
                    <a:pt x="1742" y="0"/>
                  </a:moveTo>
                  <a:lnTo>
                    <a:pt x="1742" y="0"/>
                  </a:lnTo>
                  <a:cubicBezTo>
                    <a:pt x="1731" y="0"/>
                    <a:pt x="1723" y="7"/>
                    <a:pt x="1718" y="16"/>
                  </a:cubicBezTo>
                  <a:cubicBezTo>
                    <a:pt x="1714" y="25"/>
                    <a:pt x="1549" y="430"/>
                    <a:pt x="1549" y="430"/>
                  </a:cubicBezTo>
                  <a:cubicBezTo>
                    <a:pt x="1549" y="430"/>
                    <a:pt x="1385" y="24"/>
                    <a:pt x="1381" y="16"/>
                  </a:cubicBezTo>
                  <a:cubicBezTo>
                    <a:pt x="1376" y="7"/>
                    <a:pt x="1368" y="0"/>
                    <a:pt x="1357" y="0"/>
                  </a:cubicBezTo>
                  <a:cubicBezTo>
                    <a:pt x="1345" y="0"/>
                    <a:pt x="1335" y="9"/>
                    <a:pt x="1332" y="21"/>
                  </a:cubicBezTo>
                  <a:cubicBezTo>
                    <a:pt x="1329" y="33"/>
                    <a:pt x="1237" y="543"/>
                    <a:pt x="1237" y="543"/>
                  </a:cubicBezTo>
                  <a:cubicBezTo>
                    <a:pt x="1237" y="545"/>
                    <a:pt x="1236" y="546"/>
                    <a:pt x="1236" y="548"/>
                  </a:cubicBezTo>
                  <a:cubicBezTo>
                    <a:pt x="1236" y="562"/>
                    <a:pt x="1247" y="573"/>
                    <a:pt x="1261" y="573"/>
                  </a:cubicBezTo>
                  <a:cubicBezTo>
                    <a:pt x="1273" y="573"/>
                    <a:pt x="1284" y="564"/>
                    <a:pt x="1286" y="553"/>
                  </a:cubicBezTo>
                  <a:lnTo>
                    <a:pt x="1366" y="116"/>
                  </a:lnTo>
                  <a:cubicBezTo>
                    <a:pt x="1366" y="116"/>
                    <a:pt x="1521" y="498"/>
                    <a:pt x="1526" y="507"/>
                  </a:cubicBezTo>
                  <a:cubicBezTo>
                    <a:pt x="1530" y="516"/>
                    <a:pt x="1538" y="523"/>
                    <a:pt x="1549" y="523"/>
                  </a:cubicBezTo>
                  <a:cubicBezTo>
                    <a:pt x="1560" y="523"/>
                    <a:pt x="1569" y="516"/>
                    <a:pt x="1573" y="507"/>
                  </a:cubicBezTo>
                  <a:cubicBezTo>
                    <a:pt x="1578" y="498"/>
                    <a:pt x="1732" y="116"/>
                    <a:pt x="1732" y="116"/>
                  </a:cubicBezTo>
                  <a:lnTo>
                    <a:pt x="1816" y="570"/>
                  </a:lnTo>
                  <a:lnTo>
                    <a:pt x="1868" y="570"/>
                  </a:lnTo>
                  <a:cubicBezTo>
                    <a:pt x="1868" y="570"/>
                    <a:pt x="1770" y="33"/>
                    <a:pt x="1767" y="21"/>
                  </a:cubicBezTo>
                  <a:cubicBezTo>
                    <a:pt x="1763" y="9"/>
                    <a:pt x="1754" y="0"/>
                    <a:pt x="1742" y="0"/>
                  </a:cubicBezTo>
                  <a:close/>
                  <a:moveTo>
                    <a:pt x="2226" y="57"/>
                  </a:moveTo>
                  <a:lnTo>
                    <a:pt x="2226" y="57"/>
                  </a:lnTo>
                  <a:cubicBezTo>
                    <a:pt x="2288" y="57"/>
                    <a:pt x="2345" y="80"/>
                    <a:pt x="2389" y="124"/>
                  </a:cubicBezTo>
                  <a:cubicBezTo>
                    <a:pt x="2399" y="134"/>
                    <a:pt x="2419" y="134"/>
                    <a:pt x="2429" y="124"/>
                  </a:cubicBezTo>
                  <a:cubicBezTo>
                    <a:pt x="2434" y="119"/>
                    <a:pt x="2437" y="112"/>
                    <a:pt x="2437" y="104"/>
                  </a:cubicBezTo>
                  <a:cubicBezTo>
                    <a:pt x="2437" y="96"/>
                    <a:pt x="2434" y="89"/>
                    <a:pt x="2429" y="84"/>
                  </a:cubicBezTo>
                  <a:lnTo>
                    <a:pt x="2426" y="80"/>
                  </a:lnTo>
                  <a:cubicBezTo>
                    <a:pt x="2372" y="29"/>
                    <a:pt x="2301" y="0"/>
                    <a:pt x="2226" y="0"/>
                  </a:cubicBezTo>
                  <a:cubicBezTo>
                    <a:pt x="2069" y="0"/>
                    <a:pt x="1940" y="129"/>
                    <a:pt x="1940" y="287"/>
                  </a:cubicBezTo>
                  <a:cubicBezTo>
                    <a:pt x="1940" y="445"/>
                    <a:pt x="2069" y="573"/>
                    <a:pt x="2226" y="573"/>
                  </a:cubicBezTo>
                  <a:cubicBezTo>
                    <a:pt x="2310" y="573"/>
                    <a:pt x="2385" y="538"/>
                    <a:pt x="2437" y="480"/>
                  </a:cubicBezTo>
                  <a:lnTo>
                    <a:pt x="2397" y="440"/>
                  </a:lnTo>
                  <a:cubicBezTo>
                    <a:pt x="2355" y="487"/>
                    <a:pt x="2294" y="516"/>
                    <a:pt x="2226" y="516"/>
                  </a:cubicBezTo>
                  <a:cubicBezTo>
                    <a:pt x="2100" y="516"/>
                    <a:pt x="1996" y="413"/>
                    <a:pt x="1996" y="286"/>
                  </a:cubicBezTo>
                  <a:cubicBezTo>
                    <a:pt x="1996" y="160"/>
                    <a:pt x="2100" y="57"/>
                    <a:pt x="2226" y="57"/>
                  </a:cubicBezTo>
                  <a:close/>
                  <a:moveTo>
                    <a:pt x="285" y="57"/>
                  </a:moveTo>
                  <a:lnTo>
                    <a:pt x="285" y="57"/>
                  </a:lnTo>
                  <a:cubicBezTo>
                    <a:pt x="347" y="57"/>
                    <a:pt x="404" y="80"/>
                    <a:pt x="448" y="124"/>
                  </a:cubicBezTo>
                  <a:cubicBezTo>
                    <a:pt x="459" y="134"/>
                    <a:pt x="478" y="134"/>
                    <a:pt x="488" y="124"/>
                  </a:cubicBezTo>
                  <a:cubicBezTo>
                    <a:pt x="494" y="119"/>
                    <a:pt x="497" y="112"/>
                    <a:pt x="497" y="104"/>
                  </a:cubicBezTo>
                  <a:cubicBezTo>
                    <a:pt x="497" y="96"/>
                    <a:pt x="494" y="89"/>
                    <a:pt x="488" y="84"/>
                  </a:cubicBezTo>
                  <a:lnTo>
                    <a:pt x="485" y="80"/>
                  </a:lnTo>
                  <a:cubicBezTo>
                    <a:pt x="431" y="29"/>
                    <a:pt x="361" y="0"/>
                    <a:pt x="286" y="0"/>
                  </a:cubicBezTo>
                  <a:cubicBezTo>
                    <a:pt x="128" y="0"/>
                    <a:pt x="0" y="129"/>
                    <a:pt x="0" y="287"/>
                  </a:cubicBezTo>
                  <a:cubicBezTo>
                    <a:pt x="0" y="445"/>
                    <a:pt x="128" y="573"/>
                    <a:pt x="286" y="573"/>
                  </a:cubicBezTo>
                  <a:cubicBezTo>
                    <a:pt x="369" y="573"/>
                    <a:pt x="444" y="538"/>
                    <a:pt x="497" y="480"/>
                  </a:cubicBezTo>
                  <a:lnTo>
                    <a:pt x="457" y="440"/>
                  </a:lnTo>
                  <a:cubicBezTo>
                    <a:pt x="415" y="487"/>
                    <a:pt x="353" y="516"/>
                    <a:pt x="286" y="516"/>
                  </a:cubicBezTo>
                  <a:cubicBezTo>
                    <a:pt x="159" y="516"/>
                    <a:pt x="56" y="413"/>
                    <a:pt x="56" y="286"/>
                  </a:cubicBezTo>
                  <a:cubicBezTo>
                    <a:pt x="55" y="160"/>
                    <a:pt x="159" y="57"/>
                    <a:pt x="285" y="57"/>
                  </a:cubicBezTo>
                  <a:close/>
                  <a:moveTo>
                    <a:pt x="3341" y="290"/>
                  </a:moveTo>
                  <a:lnTo>
                    <a:pt x="3341" y="290"/>
                  </a:lnTo>
                  <a:cubicBezTo>
                    <a:pt x="3326" y="282"/>
                    <a:pt x="3233" y="234"/>
                    <a:pt x="3219" y="227"/>
                  </a:cubicBezTo>
                  <a:cubicBezTo>
                    <a:pt x="3170" y="201"/>
                    <a:pt x="3152" y="179"/>
                    <a:pt x="3152" y="142"/>
                  </a:cubicBezTo>
                  <a:cubicBezTo>
                    <a:pt x="3152" y="90"/>
                    <a:pt x="3195" y="56"/>
                    <a:pt x="3262" y="56"/>
                  </a:cubicBezTo>
                  <a:cubicBezTo>
                    <a:pt x="3301" y="56"/>
                    <a:pt x="3339" y="73"/>
                    <a:pt x="3361" y="86"/>
                  </a:cubicBezTo>
                  <a:cubicBezTo>
                    <a:pt x="3365" y="88"/>
                    <a:pt x="3370" y="89"/>
                    <a:pt x="3374" y="89"/>
                  </a:cubicBezTo>
                  <a:cubicBezTo>
                    <a:pt x="3390" y="89"/>
                    <a:pt x="3403" y="77"/>
                    <a:pt x="3403" y="61"/>
                  </a:cubicBezTo>
                  <a:cubicBezTo>
                    <a:pt x="3403" y="51"/>
                    <a:pt x="3397" y="42"/>
                    <a:pt x="3388" y="37"/>
                  </a:cubicBezTo>
                  <a:cubicBezTo>
                    <a:pt x="3361" y="21"/>
                    <a:pt x="3313" y="0"/>
                    <a:pt x="3262" y="0"/>
                  </a:cubicBezTo>
                  <a:cubicBezTo>
                    <a:pt x="3165" y="0"/>
                    <a:pt x="3097" y="58"/>
                    <a:pt x="3097" y="142"/>
                  </a:cubicBezTo>
                  <a:cubicBezTo>
                    <a:pt x="3097" y="217"/>
                    <a:pt x="3146" y="252"/>
                    <a:pt x="3194" y="277"/>
                  </a:cubicBezTo>
                  <a:cubicBezTo>
                    <a:pt x="3208" y="284"/>
                    <a:pt x="3302" y="333"/>
                    <a:pt x="3317" y="340"/>
                  </a:cubicBezTo>
                  <a:cubicBezTo>
                    <a:pt x="3354" y="360"/>
                    <a:pt x="3375" y="390"/>
                    <a:pt x="3375" y="423"/>
                  </a:cubicBezTo>
                  <a:cubicBezTo>
                    <a:pt x="3375" y="468"/>
                    <a:pt x="3337" y="516"/>
                    <a:pt x="3266" y="516"/>
                  </a:cubicBezTo>
                  <a:cubicBezTo>
                    <a:pt x="3196" y="516"/>
                    <a:pt x="3143" y="470"/>
                    <a:pt x="3129" y="456"/>
                  </a:cubicBezTo>
                  <a:lnTo>
                    <a:pt x="3124" y="451"/>
                  </a:lnTo>
                  <a:lnTo>
                    <a:pt x="3082" y="489"/>
                  </a:lnTo>
                  <a:lnTo>
                    <a:pt x="3087" y="494"/>
                  </a:lnTo>
                  <a:cubicBezTo>
                    <a:pt x="3106" y="512"/>
                    <a:pt x="3173" y="572"/>
                    <a:pt x="3266" y="572"/>
                  </a:cubicBezTo>
                  <a:cubicBezTo>
                    <a:pt x="3369" y="572"/>
                    <a:pt x="3431" y="496"/>
                    <a:pt x="3431" y="422"/>
                  </a:cubicBezTo>
                  <a:cubicBezTo>
                    <a:pt x="3431" y="368"/>
                    <a:pt x="3398" y="320"/>
                    <a:pt x="3341" y="290"/>
                  </a:cubicBezTo>
                  <a:close/>
                  <a:moveTo>
                    <a:pt x="872" y="0"/>
                  </a:moveTo>
                  <a:lnTo>
                    <a:pt x="872" y="0"/>
                  </a:lnTo>
                  <a:cubicBezTo>
                    <a:pt x="715" y="0"/>
                    <a:pt x="586" y="129"/>
                    <a:pt x="586" y="287"/>
                  </a:cubicBezTo>
                  <a:cubicBezTo>
                    <a:pt x="586" y="445"/>
                    <a:pt x="715" y="573"/>
                    <a:pt x="872" y="573"/>
                  </a:cubicBezTo>
                  <a:cubicBezTo>
                    <a:pt x="1030" y="573"/>
                    <a:pt x="1159" y="445"/>
                    <a:pt x="1159" y="287"/>
                  </a:cubicBezTo>
                  <a:cubicBezTo>
                    <a:pt x="1159" y="129"/>
                    <a:pt x="1030" y="0"/>
                    <a:pt x="872" y="0"/>
                  </a:cubicBezTo>
                  <a:close/>
                  <a:moveTo>
                    <a:pt x="872" y="516"/>
                  </a:moveTo>
                  <a:lnTo>
                    <a:pt x="872" y="516"/>
                  </a:lnTo>
                  <a:cubicBezTo>
                    <a:pt x="746" y="516"/>
                    <a:pt x="642" y="413"/>
                    <a:pt x="642" y="286"/>
                  </a:cubicBezTo>
                  <a:cubicBezTo>
                    <a:pt x="642" y="159"/>
                    <a:pt x="746" y="56"/>
                    <a:pt x="872" y="56"/>
                  </a:cubicBezTo>
                  <a:cubicBezTo>
                    <a:pt x="999" y="56"/>
                    <a:pt x="1103" y="159"/>
                    <a:pt x="1103" y="286"/>
                  </a:cubicBezTo>
                  <a:cubicBezTo>
                    <a:pt x="1102" y="413"/>
                    <a:pt x="999" y="516"/>
                    <a:pt x="872" y="516"/>
                  </a:cubicBezTo>
                  <a:close/>
                </a:path>
              </a:pathLst>
            </a:custGeom>
            <a:solidFill>
              <a:srgbClr val="112F64"/>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n-US"/>
            </a:p>
          </p:txBody>
        </p:sp>
        <p:sp>
          <p:nvSpPr>
            <p:cNvPr id="1033" name="Freeform 6">
              <a:extLst>
                <a:ext uri="{FF2B5EF4-FFF2-40B4-BE49-F238E27FC236}">
                  <a16:creationId xmlns:a16="http://schemas.microsoft.com/office/drawing/2014/main" id="{0E771B63-114C-4BCC-9117-A7E23615B29B}"/>
                </a:ext>
              </a:extLst>
            </p:cNvPr>
            <p:cNvSpPr>
              <a:spLocks noEditPoints="1"/>
            </p:cNvSpPr>
            <p:nvPr/>
          </p:nvSpPr>
          <p:spPr bwMode="auto">
            <a:xfrm>
              <a:off x="1114" y="4035"/>
              <a:ext cx="763" cy="116"/>
            </a:xfrm>
            <a:custGeom>
              <a:avLst/>
              <a:gdLst>
                <a:gd name="T0" fmla="*/ 29 w 3842"/>
                <a:gd name="T1" fmla="*/ 5 h 576"/>
                <a:gd name="T2" fmla="*/ 28 w 3842"/>
                <a:gd name="T3" fmla="*/ 2 h 576"/>
                <a:gd name="T4" fmla="*/ 29 w 3842"/>
                <a:gd name="T5" fmla="*/ 1 h 576"/>
                <a:gd name="T6" fmla="*/ 30 w 3842"/>
                <a:gd name="T7" fmla="*/ 0 h 576"/>
                <a:gd name="T8" fmla="*/ 28 w 3842"/>
                <a:gd name="T9" fmla="*/ 2 h 576"/>
                <a:gd name="T10" fmla="*/ 29 w 3842"/>
                <a:gd name="T11" fmla="*/ 4 h 576"/>
                <a:gd name="T12" fmla="*/ 23 w 3842"/>
                <a:gd name="T13" fmla="*/ 4 h 576"/>
                <a:gd name="T14" fmla="*/ 26 w 3842"/>
                <a:gd name="T15" fmla="*/ 3 h 576"/>
                <a:gd name="T16" fmla="*/ 24 w 3842"/>
                <a:gd name="T17" fmla="*/ 1 h 576"/>
                <a:gd name="T18" fmla="*/ 26 w 3842"/>
                <a:gd name="T19" fmla="*/ 1 h 576"/>
                <a:gd name="T20" fmla="*/ 25 w 3842"/>
                <a:gd name="T21" fmla="*/ 0 h 576"/>
                <a:gd name="T22" fmla="*/ 25 w 3842"/>
                <a:gd name="T23" fmla="*/ 3 h 576"/>
                <a:gd name="T24" fmla="*/ 24 w 3842"/>
                <a:gd name="T25" fmla="*/ 3 h 576"/>
                <a:gd name="T26" fmla="*/ 9 w 3842"/>
                <a:gd name="T27" fmla="*/ 4 h 576"/>
                <a:gd name="T28" fmla="*/ 11 w 3842"/>
                <a:gd name="T29" fmla="*/ 2 h 576"/>
                <a:gd name="T30" fmla="*/ 10 w 3842"/>
                <a:gd name="T31" fmla="*/ 1 h 576"/>
                <a:gd name="T32" fmla="*/ 12 w 3842"/>
                <a:gd name="T33" fmla="*/ 1 h 576"/>
                <a:gd name="T34" fmla="*/ 9 w 3842"/>
                <a:gd name="T35" fmla="*/ 1 h 576"/>
                <a:gd name="T36" fmla="*/ 11 w 3842"/>
                <a:gd name="T37" fmla="*/ 3 h 576"/>
                <a:gd name="T38" fmla="*/ 9 w 3842"/>
                <a:gd name="T39" fmla="*/ 4 h 576"/>
                <a:gd name="T40" fmla="*/ 15 w 3842"/>
                <a:gd name="T41" fmla="*/ 0 h 576"/>
                <a:gd name="T42" fmla="*/ 16 w 3842"/>
                <a:gd name="T43" fmla="*/ 4 h 576"/>
                <a:gd name="T44" fmla="*/ 18 w 3842"/>
                <a:gd name="T45" fmla="*/ 5 h 576"/>
                <a:gd name="T46" fmla="*/ 18 w 3842"/>
                <a:gd name="T47" fmla="*/ 0 h 576"/>
                <a:gd name="T48" fmla="*/ 15 w 3842"/>
                <a:gd name="T49" fmla="*/ 0 h 576"/>
                <a:gd name="T50" fmla="*/ 3 w 3842"/>
                <a:gd name="T51" fmla="*/ 3 h 576"/>
                <a:gd name="T52" fmla="*/ 0 w 3842"/>
                <a:gd name="T53" fmla="*/ 0 h 576"/>
                <a:gd name="T54" fmla="*/ 3 w 3842"/>
                <a:gd name="T55" fmla="*/ 1 h 576"/>
                <a:gd name="T56" fmla="*/ 1 w 3842"/>
                <a:gd name="T57" fmla="*/ 2 h 576"/>
                <a:gd name="T58" fmla="*/ 2 w 3842"/>
                <a:gd name="T59" fmla="*/ 1 h 576"/>
                <a:gd name="T60" fmla="*/ 2 w 3842"/>
                <a:gd name="T61" fmla="*/ 4 h 576"/>
                <a:gd name="T62" fmla="*/ 2 w 3842"/>
                <a:gd name="T63" fmla="*/ 3 h 576"/>
                <a:gd name="T64" fmla="*/ 2 w 3842"/>
                <a:gd name="T65" fmla="*/ 4 h 576"/>
                <a:gd name="T66" fmla="*/ 23 w 3842"/>
                <a:gd name="T67" fmla="*/ 0 h 576"/>
                <a:gd name="T68" fmla="*/ 20 w 3842"/>
                <a:gd name="T69" fmla="*/ 0 h 576"/>
                <a:gd name="T70" fmla="*/ 23 w 3842"/>
                <a:gd name="T71" fmla="*/ 5 h 576"/>
                <a:gd name="T72" fmla="*/ 20 w 3842"/>
                <a:gd name="T73" fmla="*/ 3 h 576"/>
                <a:gd name="T74" fmla="*/ 22 w 3842"/>
                <a:gd name="T75" fmla="*/ 2 h 576"/>
                <a:gd name="T76" fmla="*/ 22 w 3842"/>
                <a:gd name="T77" fmla="*/ 1 h 576"/>
                <a:gd name="T78" fmla="*/ 5 w 3842"/>
                <a:gd name="T79" fmla="*/ 0 h 576"/>
                <a:gd name="T80" fmla="*/ 4 w 3842"/>
                <a:gd name="T81" fmla="*/ 3 h 576"/>
                <a:gd name="T82" fmla="*/ 8 w 3842"/>
                <a:gd name="T83" fmla="*/ 0 h 576"/>
                <a:gd name="T84" fmla="*/ 6 w 3842"/>
                <a:gd name="T85" fmla="*/ 4 h 576"/>
                <a:gd name="T86" fmla="*/ 13 w 3842"/>
                <a:gd name="T87" fmla="*/ 0 h 576"/>
                <a:gd name="T88" fmla="*/ 13 w 3842"/>
                <a:gd name="T89" fmla="*/ 5 h 57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3842" h="576">
                  <a:moveTo>
                    <a:pt x="3464" y="491"/>
                  </a:moveTo>
                  <a:lnTo>
                    <a:pt x="3464" y="491"/>
                  </a:lnTo>
                  <a:cubicBezTo>
                    <a:pt x="3475" y="506"/>
                    <a:pt x="3529" y="576"/>
                    <a:pt x="3647" y="576"/>
                  </a:cubicBezTo>
                  <a:cubicBezTo>
                    <a:pt x="3763" y="576"/>
                    <a:pt x="3842" y="509"/>
                    <a:pt x="3842" y="415"/>
                  </a:cubicBezTo>
                  <a:cubicBezTo>
                    <a:pt x="3842" y="354"/>
                    <a:pt x="3818" y="305"/>
                    <a:pt x="3727" y="261"/>
                  </a:cubicBezTo>
                  <a:cubicBezTo>
                    <a:pt x="3703" y="249"/>
                    <a:pt x="3634" y="216"/>
                    <a:pt x="3634" y="216"/>
                  </a:cubicBezTo>
                  <a:cubicBezTo>
                    <a:pt x="3599" y="199"/>
                    <a:pt x="3583" y="178"/>
                    <a:pt x="3583" y="149"/>
                  </a:cubicBezTo>
                  <a:cubicBezTo>
                    <a:pt x="3583" y="120"/>
                    <a:pt x="3607" y="87"/>
                    <a:pt x="3667" y="87"/>
                  </a:cubicBezTo>
                  <a:cubicBezTo>
                    <a:pt x="3701" y="87"/>
                    <a:pt x="3727" y="98"/>
                    <a:pt x="3742" y="105"/>
                  </a:cubicBezTo>
                  <a:cubicBezTo>
                    <a:pt x="3748" y="108"/>
                    <a:pt x="3764" y="116"/>
                    <a:pt x="3780" y="116"/>
                  </a:cubicBezTo>
                  <a:cubicBezTo>
                    <a:pt x="3800" y="116"/>
                    <a:pt x="3822" y="102"/>
                    <a:pt x="3822" y="72"/>
                  </a:cubicBezTo>
                  <a:cubicBezTo>
                    <a:pt x="3822" y="48"/>
                    <a:pt x="3804" y="35"/>
                    <a:pt x="3789" y="28"/>
                  </a:cubicBezTo>
                  <a:cubicBezTo>
                    <a:pt x="3764" y="16"/>
                    <a:pt x="3726" y="0"/>
                    <a:pt x="3662" y="0"/>
                  </a:cubicBezTo>
                  <a:cubicBezTo>
                    <a:pt x="3561" y="0"/>
                    <a:pt x="3486" y="63"/>
                    <a:pt x="3486" y="153"/>
                  </a:cubicBezTo>
                  <a:cubicBezTo>
                    <a:pt x="3486" y="234"/>
                    <a:pt x="3540" y="275"/>
                    <a:pt x="3606" y="307"/>
                  </a:cubicBezTo>
                  <a:cubicBezTo>
                    <a:pt x="3619" y="312"/>
                    <a:pt x="3668" y="336"/>
                    <a:pt x="3681" y="343"/>
                  </a:cubicBezTo>
                  <a:cubicBezTo>
                    <a:pt x="3724" y="363"/>
                    <a:pt x="3746" y="382"/>
                    <a:pt x="3746" y="417"/>
                  </a:cubicBezTo>
                  <a:cubicBezTo>
                    <a:pt x="3746" y="455"/>
                    <a:pt x="3710" y="487"/>
                    <a:pt x="3656" y="487"/>
                  </a:cubicBezTo>
                  <a:cubicBezTo>
                    <a:pt x="3579" y="487"/>
                    <a:pt x="3538" y="436"/>
                    <a:pt x="3531" y="428"/>
                  </a:cubicBezTo>
                  <a:lnTo>
                    <a:pt x="3464" y="491"/>
                  </a:lnTo>
                  <a:close/>
                  <a:moveTo>
                    <a:pt x="2997" y="491"/>
                  </a:moveTo>
                  <a:lnTo>
                    <a:pt x="2997" y="491"/>
                  </a:lnTo>
                  <a:cubicBezTo>
                    <a:pt x="3009" y="506"/>
                    <a:pt x="3063" y="576"/>
                    <a:pt x="3182" y="576"/>
                  </a:cubicBezTo>
                  <a:cubicBezTo>
                    <a:pt x="3297" y="576"/>
                    <a:pt x="3376" y="509"/>
                    <a:pt x="3376" y="415"/>
                  </a:cubicBezTo>
                  <a:cubicBezTo>
                    <a:pt x="3376" y="354"/>
                    <a:pt x="3352" y="305"/>
                    <a:pt x="3261" y="261"/>
                  </a:cubicBezTo>
                  <a:cubicBezTo>
                    <a:pt x="3237" y="249"/>
                    <a:pt x="3169" y="216"/>
                    <a:pt x="3169" y="216"/>
                  </a:cubicBezTo>
                  <a:cubicBezTo>
                    <a:pt x="3133" y="199"/>
                    <a:pt x="3116" y="178"/>
                    <a:pt x="3116" y="149"/>
                  </a:cubicBezTo>
                  <a:cubicBezTo>
                    <a:pt x="3116" y="120"/>
                    <a:pt x="3141" y="87"/>
                    <a:pt x="3201" y="87"/>
                  </a:cubicBezTo>
                  <a:cubicBezTo>
                    <a:pt x="3235" y="87"/>
                    <a:pt x="3261" y="98"/>
                    <a:pt x="3275" y="105"/>
                  </a:cubicBezTo>
                  <a:cubicBezTo>
                    <a:pt x="3283" y="108"/>
                    <a:pt x="3299" y="116"/>
                    <a:pt x="3314" y="116"/>
                  </a:cubicBezTo>
                  <a:cubicBezTo>
                    <a:pt x="3334" y="116"/>
                    <a:pt x="3356" y="102"/>
                    <a:pt x="3356" y="72"/>
                  </a:cubicBezTo>
                  <a:cubicBezTo>
                    <a:pt x="3356" y="48"/>
                    <a:pt x="3339" y="35"/>
                    <a:pt x="3323" y="28"/>
                  </a:cubicBezTo>
                  <a:cubicBezTo>
                    <a:pt x="3299" y="16"/>
                    <a:pt x="3260" y="0"/>
                    <a:pt x="3197" y="0"/>
                  </a:cubicBezTo>
                  <a:cubicBezTo>
                    <a:pt x="3095" y="0"/>
                    <a:pt x="3020" y="63"/>
                    <a:pt x="3020" y="153"/>
                  </a:cubicBezTo>
                  <a:cubicBezTo>
                    <a:pt x="3020" y="234"/>
                    <a:pt x="3075" y="275"/>
                    <a:pt x="3141" y="307"/>
                  </a:cubicBezTo>
                  <a:cubicBezTo>
                    <a:pt x="3154" y="312"/>
                    <a:pt x="3203" y="336"/>
                    <a:pt x="3217" y="343"/>
                  </a:cubicBezTo>
                  <a:cubicBezTo>
                    <a:pt x="3258" y="363"/>
                    <a:pt x="3280" y="382"/>
                    <a:pt x="3280" y="417"/>
                  </a:cubicBezTo>
                  <a:cubicBezTo>
                    <a:pt x="3280" y="455"/>
                    <a:pt x="3244" y="487"/>
                    <a:pt x="3191" y="487"/>
                  </a:cubicBezTo>
                  <a:cubicBezTo>
                    <a:pt x="3113" y="487"/>
                    <a:pt x="3072" y="436"/>
                    <a:pt x="3065" y="428"/>
                  </a:cubicBezTo>
                  <a:lnTo>
                    <a:pt x="2997" y="491"/>
                  </a:lnTo>
                  <a:close/>
                  <a:moveTo>
                    <a:pt x="1117" y="491"/>
                  </a:moveTo>
                  <a:lnTo>
                    <a:pt x="1117" y="491"/>
                  </a:lnTo>
                  <a:cubicBezTo>
                    <a:pt x="1129" y="506"/>
                    <a:pt x="1182" y="576"/>
                    <a:pt x="1301" y="576"/>
                  </a:cubicBezTo>
                  <a:cubicBezTo>
                    <a:pt x="1417" y="576"/>
                    <a:pt x="1496" y="509"/>
                    <a:pt x="1496" y="415"/>
                  </a:cubicBezTo>
                  <a:cubicBezTo>
                    <a:pt x="1496" y="354"/>
                    <a:pt x="1472" y="305"/>
                    <a:pt x="1381" y="261"/>
                  </a:cubicBezTo>
                  <a:cubicBezTo>
                    <a:pt x="1356" y="249"/>
                    <a:pt x="1288" y="216"/>
                    <a:pt x="1288" y="216"/>
                  </a:cubicBezTo>
                  <a:cubicBezTo>
                    <a:pt x="1252" y="199"/>
                    <a:pt x="1236" y="178"/>
                    <a:pt x="1236" y="149"/>
                  </a:cubicBezTo>
                  <a:cubicBezTo>
                    <a:pt x="1236" y="120"/>
                    <a:pt x="1261" y="87"/>
                    <a:pt x="1321" y="87"/>
                  </a:cubicBezTo>
                  <a:cubicBezTo>
                    <a:pt x="1355" y="87"/>
                    <a:pt x="1381" y="98"/>
                    <a:pt x="1395" y="105"/>
                  </a:cubicBezTo>
                  <a:cubicBezTo>
                    <a:pt x="1402" y="108"/>
                    <a:pt x="1418" y="116"/>
                    <a:pt x="1434" y="116"/>
                  </a:cubicBezTo>
                  <a:cubicBezTo>
                    <a:pt x="1454" y="116"/>
                    <a:pt x="1476" y="102"/>
                    <a:pt x="1476" y="72"/>
                  </a:cubicBezTo>
                  <a:cubicBezTo>
                    <a:pt x="1476" y="48"/>
                    <a:pt x="1458" y="35"/>
                    <a:pt x="1443" y="28"/>
                  </a:cubicBezTo>
                  <a:cubicBezTo>
                    <a:pt x="1418" y="16"/>
                    <a:pt x="1380" y="0"/>
                    <a:pt x="1316" y="0"/>
                  </a:cubicBezTo>
                  <a:cubicBezTo>
                    <a:pt x="1215" y="0"/>
                    <a:pt x="1140" y="63"/>
                    <a:pt x="1140" y="153"/>
                  </a:cubicBezTo>
                  <a:cubicBezTo>
                    <a:pt x="1140" y="234"/>
                    <a:pt x="1195" y="275"/>
                    <a:pt x="1261" y="307"/>
                  </a:cubicBezTo>
                  <a:cubicBezTo>
                    <a:pt x="1273" y="312"/>
                    <a:pt x="1322" y="336"/>
                    <a:pt x="1336" y="343"/>
                  </a:cubicBezTo>
                  <a:cubicBezTo>
                    <a:pt x="1378" y="363"/>
                    <a:pt x="1400" y="382"/>
                    <a:pt x="1400" y="417"/>
                  </a:cubicBezTo>
                  <a:cubicBezTo>
                    <a:pt x="1400" y="455"/>
                    <a:pt x="1364" y="487"/>
                    <a:pt x="1310" y="487"/>
                  </a:cubicBezTo>
                  <a:cubicBezTo>
                    <a:pt x="1233" y="487"/>
                    <a:pt x="1192" y="436"/>
                    <a:pt x="1185" y="428"/>
                  </a:cubicBezTo>
                  <a:lnTo>
                    <a:pt x="1117" y="491"/>
                  </a:lnTo>
                  <a:close/>
                  <a:moveTo>
                    <a:pt x="1949" y="0"/>
                  </a:moveTo>
                  <a:lnTo>
                    <a:pt x="1949" y="0"/>
                  </a:lnTo>
                  <a:cubicBezTo>
                    <a:pt x="1921" y="0"/>
                    <a:pt x="1903" y="19"/>
                    <a:pt x="1903" y="43"/>
                  </a:cubicBezTo>
                  <a:lnTo>
                    <a:pt x="1903" y="531"/>
                  </a:lnTo>
                  <a:cubicBezTo>
                    <a:pt x="1903" y="555"/>
                    <a:pt x="1924" y="575"/>
                    <a:pt x="1949" y="575"/>
                  </a:cubicBezTo>
                  <a:cubicBezTo>
                    <a:pt x="1972" y="575"/>
                    <a:pt x="1994" y="555"/>
                    <a:pt x="1994" y="531"/>
                  </a:cubicBezTo>
                  <a:lnTo>
                    <a:pt x="1994" y="179"/>
                  </a:lnTo>
                  <a:cubicBezTo>
                    <a:pt x="1994" y="179"/>
                    <a:pt x="2218" y="465"/>
                    <a:pt x="2276" y="541"/>
                  </a:cubicBezTo>
                  <a:cubicBezTo>
                    <a:pt x="2291" y="559"/>
                    <a:pt x="2302" y="576"/>
                    <a:pt x="2328" y="576"/>
                  </a:cubicBezTo>
                  <a:cubicBezTo>
                    <a:pt x="2355" y="576"/>
                    <a:pt x="2373" y="556"/>
                    <a:pt x="2373" y="532"/>
                  </a:cubicBezTo>
                  <a:lnTo>
                    <a:pt x="2373" y="3"/>
                  </a:lnTo>
                  <a:lnTo>
                    <a:pt x="2282" y="3"/>
                  </a:lnTo>
                  <a:lnTo>
                    <a:pt x="2282" y="398"/>
                  </a:lnTo>
                  <a:cubicBezTo>
                    <a:pt x="2282" y="398"/>
                    <a:pt x="2033" y="78"/>
                    <a:pt x="1998" y="34"/>
                  </a:cubicBezTo>
                  <a:cubicBezTo>
                    <a:pt x="1982" y="13"/>
                    <a:pt x="1970" y="0"/>
                    <a:pt x="1949" y="0"/>
                  </a:cubicBezTo>
                  <a:close/>
                  <a:moveTo>
                    <a:pt x="342" y="264"/>
                  </a:moveTo>
                  <a:lnTo>
                    <a:pt x="342" y="264"/>
                  </a:lnTo>
                  <a:cubicBezTo>
                    <a:pt x="358" y="272"/>
                    <a:pt x="426" y="301"/>
                    <a:pt x="426" y="402"/>
                  </a:cubicBezTo>
                  <a:cubicBezTo>
                    <a:pt x="426" y="497"/>
                    <a:pt x="355" y="572"/>
                    <a:pt x="252" y="572"/>
                  </a:cubicBezTo>
                  <a:lnTo>
                    <a:pt x="0" y="572"/>
                  </a:lnTo>
                  <a:lnTo>
                    <a:pt x="0" y="47"/>
                  </a:lnTo>
                  <a:cubicBezTo>
                    <a:pt x="0" y="20"/>
                    <a:pt x="18" y="2"/>
                    <a:pt x="44" y="2"/>
                  </a:cubicBezTo>
                  <a:lnTo>
                    <a:pt x="241" y="2"/>
                  </a:lnTo>
                  <a:cubicBezTo>
                    <a:pt x="336" y="2"/>
                    <a:pt x="399" y="59"/>
                    <a:pt x="399" y="147"/>
                  </a:cubicBezTo>
                  <a:cubicBezTo>
                    <a:pt x="399" y="221"/>
                    <a:pt x="357" y="254"/>
                    <a:pt x="342" y="264"/>
                  </a:cubicBezTo>
                  <a:close/>
                  <a:moveTo>
                    <a:pt x="91" y="230"/>
                  </a:moveTo>
                  <a:lnTo>
                    <a:pt x="91" y="230"/>
                  </a:lnTo>
                  <a:lnTo>
                    <a:pt x="229" y="230"/>
                  </a:lnTo>
                  <a:cubicBezTo>
                    <a:pt x="278" y="230"/>
                    <a:pt x="306" y="199"/>
                    <a:pt x="306" y="161"/>
                  </a:cubicBezTo>
                  <a:cubicBezTo>
                    <a:pt x="306" y="123"/>
                    <a:pt x="281" y="92"/>
                    <a:pt x="229" y="92"/>
                  </a:cubicBezTo>
                  <a:lnTo>
                    <a:pt x="91" y="92"/>
                  </a:lnTo>
                  <a:lnTo>
                    <a:pt x="91" y="230"/>
                  </a:lnTo>
                  <a:close/>
                  <a:moveTo>
                    <a:pt x="235" y="484"/>
                  </a:moveTo>
                  <a:lnTo>
                    <a:pt x="235" y="484"/>
                  </a:lnTo>
                  <a:cubicBezTo>
                    <a:pt x="300" y="484"/>
                    <a:pt x="333" y="446"/>
                    <a:pt x="333" y="400"/>
                  </a:cubicBezTo>
                  <a:cubicBezTo>
                    <a:pt x="333" y="352"/>
                    <a:pt x="301" y="314"/>
                    <a:pt x="235" y="314"/>
                  </a:cubicBezTo>
                  <a:lnTo>
                    <a:pt x="91" y="314"/>
                  </a:lnTo>
                  <a:lnTo>
                    <a:pt x="91" y="484"/>
                  </a:lnTo>
                  <a:lnTo>
                    <a:pt x="235" y="484"/>
                  </a:lnTo>
                  <a:close/>
                  <a:moveTo>
                    <a:pt x="2858" y="92"/>
                  </a:moveTo>
                  <a:lnTo>
                    <a:pt x="2858" y="92"/>
                  </a:lnTo>
                  <a:cubicBezTo>
                    <a:pt x="2888" y="92"/>
                    <a:pt x="2906" y="73"/>
                    <a:pt x="2906" y="48"/>
                  </a:cubicBezTo>
                  <a:cubicBezTo>
                    <a:pt x="2906" y="23"/>
                    <a:pt x="2887" y="3"/>
                    <a:pt x="2858" y="3"/>
                  </a:cubicBezTo>
                  <a:lnTo>
                    <a:pt x="2576" y="3"/>
                  </a:lnTo>
                  <a:cubicBezTo>
                    <a:pt x="2551" y="3"/>
                    <a:pt x="2532" y="22"/>
                    <a:pt x="2532" y="48"/>
                  </a:cubicBezTo>
                  <a:lnTo>
                    <a:pt x="2532" y="529"/>
                  </a:lnTo>
                  <a:cubicBezTo>
                    <a:pt x="2532" y="554"/>
                    <a:pt x="2551" y="573"/>
                    <a:pt x="2576" y="573"/>
                  </a:cubicBezTo>
                  <a:lnTo>
                    <a:pt x="2903" y="573"/>
                  </a:lnTo>
                  <a:lnTo>
                    <a:pt x="2903" y="484"/>
                  </a:lnTo>
                  <a:lnTo>
                    <a:pt x="2624" y="484"/>
                  </a:lnTo>
                  <a:lnTo>
                    <a:pt x="2624" y="318"/>
                  </a:lnTo>
                  <a:lnTo>
                    <a:pt x="2834" y="318"/>
                  </a:lnTo>
                  <a:cubicBezTo>
                    <a:pt x="2866" y="318"/>
                    <a:pt x="2884" y="299"/>
                    <a:pt x="2884" y="274"/>
                  </a:cubicBezTo>
                  <a:cubicBezTo>
                    <a:pt x="2884" y="248"/>
                    <a:pt x="2867" y="229"/>
                    <a:pt x="2834" y="229"/>
                  </a:cubicBezTo>
                  <a:lnTo>
                    <a:pt x="2624" y="229"/>
                  </a:lnTo>
                  <a:lnTo>
                    <a:pt x="2624" y="92"/>
                  </a:lnTo>
                  <a:lnTo>
                    <a:pt x="2858" y="92"/>
                  </a:lnTo>
                  <a:close/>
                  <a:moveTo>
                    <a:pt x="634" y="346"/>
                  </a:moveTo>
                  <a:lnTo>
                    <a:pt x="634" y="346"/>
                  </a:lnTo>
                  <a:lnTo>
                    <a:pt x="634" y="44"/>
                  </a:lnTo>
                  <a:cubicBezTo>
                    <a:pt x="634" y="19"/>
                    <a:pt x="616" y="0"/>
                    <a:pt x="588" y="0"/>
                  </a:cubicBezTo>
                  <a:cubicBezTo>
                    <a:pt x="560" y="0"/>
                    <a:pt x="542" y="19"/>
                    <a:pt x="542" y="44"/>
                  </a:cubicBezTo>
                  <a:lnTo>
                    <a:pt x="542" y="343"/>
                  </a:lnTo>
                  <a:cubicBezTo>
                    <a:pt x="542" y="471"/>
                    <a:pt x="632" y="575"/>
                    <a:pt x="776" y="575"/>
                  </a:cubicBezTo>
                  <a:cubicBezTo>
                    <a:pt x="920" y="575"/>
                    <a:pt x="1010" y="471"/>
                    <a:pt x="1010" y="343"/>
                  </a:cubicBezTo>
                  <a:lnTo>
                    <a:pt x="1010" y="2"/>
                  </a:lnTo>
                  <a:lnTo>
                    <a:pt x="918" y="2"/>
                  </a:lnTo>
                  <a:lnTo>
                    <a:pt x="918" y="345"/>
                  </a:lnTo>
                  <a:cubicBezTo>
                    <a:pt x="918" y="421"/>
                    <a:pt x="867" y="488"/>
                    <a:pt x="776" y="488"/>
                  </a:cubicBezTo>
                  <a:cubicBezTo>
                    <a:pt x="684" y="489"/>
                    <a:pt x="634" y="422"/>
                    <a:pt x="634" y="346"/>
                  </a:cubicBezTo>
                  <a:close/>
                  <a:moveTo>
                    <a:pt x="1676" y="0"/>
                  </a:moveTo>
                  <a:lnTo>
                    <a:pt x="1676" y="0"/>
                  </a:lnTo>
                  <a:cubicBezTo>
                    <a:pt x="1704" y="0"/>
                    <a:pt x="1722" y="19"/>
                    <a:pt x="1722" y="44"/>
                  </a:cubicBezTo>
                  <a:lnTo>
                    <a:pt x="1722" y="572"/>
                  </a:lnTo>
                  <a:lnTo>
                    <a:pt x="1630" y="572"/>
                  </a:lnTo>
                  <a:lnTo>
                    <a:pt x="1630" y="44"/>
                  </a:lnTo>
                  <a:cubicBezTo>
                    <a:pt x="1630" y="19"/>
                    <a:pt x="1647" y="0"/>
                    <a:pt x="1676" y="0"/>
                  </a:cubicBezTo>
                  <a:close/>
                </a:path>
              </a:pathLst>
            </a:custGeom>
            <a:solidFill>
              <a:srgbClr val="0D62F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n-US"/>
            </a:p>
          </p:txBody>
        </p:sp>
      </p:grpSp>
    </p:spTree>
    <p:extLst>
      <p:ext uri="{BB962C8B-B14F-4D97-AF65-F5344CB8AC3E}">
        <p14:creationId xmlns:p14="http://schemas.microsoft.com/office/powerpoint/2010/main" val="4092758513"/>
      </p:ext>
    </p:extLst>
  </p:cSld>
  <p:clrMap bg1="lt1" tx1="dk1" bg2="lt2" tx2="dk2" accent1="accent1" accent2="accent2" accent3="accent3" accent4="accent4" accent5="accent5" accent6="accent6" hlink="hlink" folHlink="folHlink"/>
  <p:sldLayoutIdLst>
    <p:sldLayoutId id="2147483839" r:id="rId1"/>
    <p:sldLayoutId id="2147483840" r:id="rId2"/>
    <p:sldLayoutId id="2147483841" r:id="rId3"/>
    <p:sldLayoutId id="2147483842" r:id="rId4"/>
    <p:sldLayoutId id="2147483843" r:id="rId5"/>
    <p:sldLayoutId id="2147483844" r:id="rId6"/>
    <p:sldLayoutId id="2147483845" r:id="rId7"/>
    <p:sldLayoutId id="2147483846" r:id="rId8"/>
    <p:sldLayoutId id="2147483847" r:id="rId9"/>
    <p:sldLayoutId id="2147483848" r:id="rId10"/>
    <p:sldLayoutId id="2147483849" r:id="rId11"/>
    <p:sldLayoutId id="2147483850" r:id="rId12"/>
  </p:sldLayoutIdLst>
  <p:hf hdr="0" dt="0"/>
  <p:txStyles>
    <p:titleStyle>
      <a:lvl1pPr algn="l" rtl="0" eaLnBrk="1" fontAlgn="base" hangingPunct="1">
        <a:lnSpc>
          <a:spcPct val="95000"/>
        </a:lnSpc>
        <a:spcBef>
          <a:spcPct val="0"/>
        </a:spcBef>
        <a:spcAft>
          <a:spcPct val="0"/>
        </a:spcAft>
        <a:defRPr sz="3200" kern="1200">
          <a:solidFill>
            <a:schemeClr val="accent1"/>
          </a:solidFill>
          <a:latin typeface="+mj-lt"/>
          <a:ea typeface="+mj-ea"/>
          <a:cs typeface="+mj-cs"/>
        </a:defRPr>
      </a:lvl1pPr>
      <a:lvl2pPr algn="l" rtl="0" eaLnBrk="1" fontAlgn="base" hangingPunct="1">
        <a:lnSpc>
          <a:spcPct val="95000"/>
        </a:lnSpc>
        <a:spcBef>
          <a:spcPct val="0"/>
        </a:spcBef>
        <a:spcAft>
          <a:spcPct val="0"/>
        </a:spcAft>
        <a:defRPr sz="3200">
          <a:solidFill>
            <a:schemeClr val="accent1"/>
          </a:solidFill>
          <a:latin typeface="Montserrat Light" panose="00000400000000000000" pitchFamily="2" charset="0"/>
        </a:defRPr>
      </a:lvl2pPr>
      <a:lvl3pPr algn="l" rtl="0" eaLnBrk="1" fontAlgn="base" hangingPunct="1">
        <a:lnSpc>
          <a:spcPct val="95000"/>
        </a:lnSpc>
        <a:spcBef>
          <a:spcPct val="0"/>
        </a:spcBef>
        <a:spcAft>
          <a:spcPct val="0"/>
        </a:spcAft>
        <a:defRPr sz="3200">
          <a:solidFill>
            <a:schemeClr val="accent1"/>
          </a:solidFill>
          <a:latin typeface="Montserrat Light" panose="00000400000000000000" pitchFamily="2" charset="0"/>
        </a:defRPr>
      </a:lvl3pPr>
      <a:lvl4pPr algn="l" rtl="0" eaLnBrk="1" fontAlgn="base" hangingPunct="1">
        <a:lnSpc>
          <a:spcPct val="95000"/>
        </a:lnSpc>
        <a:spcBef>
          <a:spcPct val="0"/>
        </a:spcBef>
        <a:spcAft>
          <a:spcPct val="0"/>
        </a:spcAft>
        <a:defRPr sz="3200">
          <a:solidFill>
            <a:schemeClr val="accent1"/>
          </a:solidFill>
          <a:latin typeface="Montserrat Light" panose="00000400000000000000" pitchFamily="2" charset="0"/>
        </a:defRPr>
      </a:lvl4pPr>
      <a:lvl5pPr algn="l" rtl="0" eaLnBrk="1" fontAlgn="base" hangingPunct="1">
        <a:lnSpc>
          <a:spcPct val="95000"/>
        </a:lnSpc>
        <a:spcBef>
          <a:spcPct val="0"/>
        </a:spcBef>
        <a:spcAft>
          <a:spcPct val="0"/>
        </a:spcAft>
        <a:defRPr sz="3200">
          <a:solidFill>
            <a:schemeClr val="accent1"/>
          </a:solidFill>
          <a:latin typeface="Montserrat Light" panose="00000400000000000000" pitchFamily="2" charset="0"/>
        </a:defRPr>
      </a:lvl5pPr>
      <a:lvl6pPr marL="457200" algn="l" rtl="0" eaLnBrk="1" fontAlgn="base" hangingPunct="1">
        <a:lnSpc>
          <a:spcPct val="95000"/>
        </a:lnSpc>
        <a:spcBef>
          <a:spcPct val="0"/>
        </a:spcBef>
        <a:spcAft>
          <a:spcPct val="0"/>
        </a:spcAft>
        <a:defRPr sz="3200">
          <a:solidFill>
            <a:schemeClr val="accent1"/>
          </a:solidFill>
          <a:latin typeface="Montserrat Light" panose="00000400000000000000" pitchFamily="2" charset="0"/>
        </a:defRPr>
      </a:lvl6pPr>
      <a:lvl7pPr marL="914400" algn="l" rtl="0" eaLnBrk="1" fontAlgn="base" hangingPunct="1">
        <a:lnSpc>
          <a:spcPct val="95000"/>
        </a:lnSpc>
        <a:spcBef>
          <a:spcPct val="0"/>
        </a:spcBef>
        <a:spcAft>
          <a:spcPct val="0"/>
        </a:spcAft>
        <a:defRPr sz="3200">
          <a:solidFill>
            <a:schemeClr val="accent1"/>
          </a:solidFill>
          <a:latin typeface="Montserrat Light" panose="00000400000000000000" pitchFamily="2" charset="0"/>
        </a:defRPr>
      </a:lvl7pPr>
      <a:lvl8pPr marL="1371600" algn="l" rtl="0" eaLnBrk="1" fontAlgn="base" hangingPunct="1">
        <a:lnSpc>
          <a:spcPct val="95000"/>
        </a:lnSpc>
        <a:spcBef>
          <a:spcPct val="0"/>
        </a:spcBef>
        <a:spcAft>
          <a:spcPct val="0"/>
        </a:spcAft>
        <a:defRPr sz="3200">
          <a:solidFill>
            <a:schemeClr val="accent1"/>
          </a:solidFill>
          <a:latin typeface="Montserrat Light" panose="00000400000000000000" pitchFamily="2" charset="0"/>
        </a:defRPr>
      </a:lvl8pPr>
      <a:lvl9pPr marL="1828800" algn="l" rtl="0" eaLnBrk="1" fontAlgn="base" hangingPunct="1">
        <a:lnSpc>
          <a:spcPct val="95000"/>
        </a:lnSpc>
        <a:spcBef>
          <a:spcPct val="0"/>
        </a:spcBef>
        <a:spcAft>
          <a:spcPct val="0"/>
        </a:spcAft>
        <a:defRPr sz="3200">
          <a:solidFill>
            <a:schemeClr val="accent1"/>
          </a:solidFill>
          <a:latin typeface="Montserrat Light" panose="00000400000000000000" pitchFamily="2" charset="0"/>
        </a:defRPr>
      </a:lvl9pPr>
    </p:titleStyle>
    <p:body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400" kern="1200">
          <a:solidFill>
            <a:schemeClr val="tx1"/>
          </a:solidFill>
          <a:latin typeface="+mn-lt"/>
          <a:ea typeface="+mn-ea"/>
          <a:cs typeface="+mn-cs"/>
        </a:defRPr>
      </a:lvl2pPr>
      <a:lvl3pPr marL="914400" algn="l" defTabSz="914400" rtl="0" eaLnBrk="1" latinLnBrk="0" hangingPunct="1">
        <a:defRPr sz="1400" kern="1200">
          <a:solidFill>
            <a:schemeClr val="tx1"/>
          </a:solidFill>
          <a:latin typeface="+mn-lt"/>
          <a:ea typeface="+mn-ea"/>
          <a:cs typeface="+mn-cs"/>
        </a:defRPr>
      </a:lvl3pPr>
      <a:lvl4pPr marL="1371600" algn="l" defTabSz="914400" rtl="0" eaLnBrk="1" latinLnBrk="0" hangingPunct="1">
        <a:defRPr sz="1400" kern="1200">
          <a:solidFill>
            <a:schemeClr val="tx1"/>
          </a:solidFill>
          <a:latin typeface="+mn-lt"/>
          <a:ea typeface="+mn-ea"/>
          <a:cs typeface="+mn-cs"/>
        </a:defRPr>
      </a:lvl4pPr>
      <a:lvl5pPr marL="1828800" algn="l" defTabSz="914400" rtl="0" eaLnBrk="1" latinLnBrk="0" hangingPunct="1">
        <a:defRPr sz="1400" kern="1200">
          <a:solidFill>
            <a:schemeClr val="tx1"/>
          </a:solidFill>
          <a:latin typeface="+mn-lt"/>
          <a:ea typeface="+mn-ea"/>
          <a:cs typeface="+mn-cs"/>
        </a:defRPr>
      </a:lvl5pPr>
      <a:lvl6pPr marL="2286000" algn="l" defTabSz="914400" rtl="0" eaLnBrk="1" latinLnBrk="0" hangingPunct="1">
        <a:defRPr sz="1400" kern="1200">
          <a:solidFill>
            <a:schemeClr val="tx1"/>
          </a:solidFill>
          <a:latin typeface="+mn-lt"/>
          <a:ea typeface="+mn-ea"/>
          <a:cs typeface="+mn-cs"/>
        </a:defRPr>
      </a:lvl6pPr>
      <a:lvl7pPr marL="2743200" algn="l" defTabSz="914400" rtl="0" eaLnBrk="1" latinLnBrk="0" hangingPunct="1">
        <a:defRPr sz="1400" kern="1200">
          <a:solidFill>
            <a:schemeClr val="tx1"/>
          </a:solidFill>
          <a:latin typeface="+mn-lt"/>
          <a:ea typeface="+mn-ea"/>
          <a:cs typeface="+mn-cs"/>
        </a:defRPr>
      </a:lvl7pPr>
      <a:lvl8pPr marL="3200400" algn="l" defTabSz="914400" rtl="0" eaLnBrk="1" latinLnBrk="0" hangingPunct="1">
        <a:defRPr sz="1400" kern="1200">
          <a:solidFill>
            <a:schemeClr val="tx1"/>
          </a:solidFill>
          <a:latin typeface="+mn-lt"/>
          <a:ea typeface="+mn-ea"/>
          <a:cs typeface="+mn-cs"/>
        </a:defRPr>
      </a:lvl8pPr>
      <a:lvl9pPr marL="3657600" algn="l" defTabSz="914400" rtl="0" eaLnBrk="1" latinLnBrk="0" hangingPunct="1">
        <a:defRPr sz="1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2A3E8B7A-57D4-7FCF-C14B-EB832997C6F2}"/>
              </a:ext>
            </a:extLst>
          </p:cNvPr>
          <p:cNvGraphicFramePr>
            <a:graphicFrameLocks noChangeAspect="1"/>
          </p:cNvGraphicFramePr>
          <p:nvPr userDrawn="1">
            <p:custDataLst>
              <p:tags r:id="rId34"/>
            </p:custDataLst>
            <p:extLst>
              <p:ext uri="{D42A27DB-BD31-4B8C-83A1-F6EECF244321}">
                <p14:modId xmlns:p14="http://schemas.microsoft.com/office/powerpoint/2010/main" val="3200327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5" imgW="395" imgH="394" progId="TCLayout.ActiveDocument.1">
                  <p:embed/>
                </p:oleObj>
              </mc:Choice>
              <mc:Fallback>
                <p:oleObj name="think-cell Slide" r:id="rId35" imgW="395" imgH="394" progId="TCLayout.ActiveDocument.1">
                  <p:embed/>
                  <p:pic>
                    <p:nvPicPr>
                      <p:cNvPr id="10" name="think-cell data - do not delete" hidden="1">
                        <a:extLst>
                          <a:ext uri="{FF2B5EF4-FFF2-40B4-BE49-F238E27FC236}">
                            <a16:creationId xmlns:a16="http://schemas.microsoft.com/office/drawing/2014/main" id="{2A3E8B7A-57D4-7FCF-C14B-EB832997C6F2}"/>
                          </a:ext>
                        </a:extLst>
                      </p:cNvPr>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1026" name="Title Placeholder 1">
            <a:extLst>
              <a:ext uri="{FF2B5EF4-FFF2-40B4-BE49-F238E27FC236}">
                <a16:creationId xmlns:a16="http://schemas.microsoft.com/office/drawing/2014/main" id="{1EA1CC28-8191-3044-A563-9B296CF2A604}"/>
              </a:ext>
            </a:extLst>
          </p:cNvPr>
          <p:cNvSpPr>
            <a:spLocks noGrp="1" noChangeArrowheads="1"/>
          </p:cNvSpPr>
          <p:nvPr>
            <p:ph type="title"/>
          </p:nvPr>
        </p:nvSpPr>
        <p:spPr bwMode="auto">
          <a:xfrm>
            <a:off x="430213" y="685800"/>
            <a:ext cx="11304587" cy="822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Master title style</a:t>
            </a:r>
          </a:p>
        </p:txBody>
      </p:sp>
      <p:sp>
        <p:nvSpPr>
          <p:cNvPr id="1027" name="Text Placeholder 2">
            <a:extLst>
              <a:ext uri="{FF2B5EF4-FFF2-40B4-BE49-F238E27FC236}">
                <a16:creationId xmlns:a16="http://schemas.microsoft.com/office/drawing/2014/main" id="{6B198C8E-5423-5D4B-84B9-81F83E8F9308}"/>
              </a:ext>
            </a:extLst>
          </p:cNvPr>
          <p:cNvSpPr>
            <a:spLocks noGrp="1" noChangeArrowheads="1"/>
          </p:cNvSpPr>
          <p:nvPr>
            <p:ph type="body" idx="1"/>
          </p:nvPr>
        </p:nvSpPr>
        <p:spPr bwMode="auto">
          <a:xfrm>
            <a:off x="444500" y="1646238"/>
            <a:ext cx="11276013" cy="4662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First level, 20pt Regular</a:t>
            </a:r>
          </a:p>
          <a:p>
            <a:pPr lvl="1"/>
            <a:r>
              <a:rPr lang="en-US" altLang="en-US"/>
              <a:t>Second level, 18pt</a:t>
            </a:r>
          </a:p>
          <a:p>
            <a:pPr lvl="2"/>
            <a:r>
              <a:rPr lang="en-US" altLang="en-US"/>
              <a:t>Third level, 16pt</a:t>
            </a:r>
          </a:p>
          <a:p>
            <a:pPr lvl="3"/>
            <a:r>
              <a:rPr lang="en-US" altLang="en-US"/>
              <a:t>Fourth level, 14pt</a:t>
            </a:r>
          </a:p>
          <a:p>
            <a:pPr lvl="4"/>
            <a:r>
              <a:rPr lang="en-US" altLang="en-US"/>
              <a:t>Fifth level, 12pt Bold, use for captions</a:t>
            </a:r>
          </a:p>
        </p:txBody>
      </p:sp>
      <p:sp>
        <p:nvSpPr>
          <p:cNvPr id="4" name="Date Placeholder 3">
            <a:extLst>
              <a:ext uri="{FF2B5EF4-FFF2-40B4-BE49-F238E27FC236}">
                <a16:creationId xmlns:a16="http://schemas.microsoft.com/office/drawing/2014/main" id="{6AB660CD-F4FF-5E41-B6DE-645B03969A7D}"/>
              </a:ext>
            </a:extLst>
          </p:cNvPr>
          <p:cNvSpPr>
            <a:spLocks noGrp="1"/>
          </p:cNvSpPr>
          <p:nvPr>
            <p:ph type="dt" sz="half" idx="2"/>
          </p:nvPr>
        </p:nvSpPr>
        <p:spPr>
          <a:xfrm>
            <a:off x="5405438" y="6407150"/>
            <a:ext cx="2579687" cy="201613"/>
          </a:xfrm>
          <a:prstGeom prst="rect">
            <a:avLst/>
          </a:prstGeom>
        </p:spPr>
        <p:txBody>
          <a:bodyPr vert="horz" lIns="0" tIns="0" rIns="0" bIns="0" rtlCol="0" anchor="ctr">
            <a:noAutofit/>
          </a:bodyPr>
          <a:lstStyle>
            <a:lvl1pPr algn="l" eaLnBrk="1" fontAlgn="auto" hangingPunct="1">
              <a:spcBef>
                <a:spcPts val="0"/>
              </a:spcBef>
              <a:spcAft>
                <a:spcPts val="0"/>
              </a:spcAft>
              <a:defRPr sz="1200" dirty="0">
                <a:solidFill>
                  <a:schemeClr val="tx1"/>
                </a:solidFill>
                <a:latin typeface="+mn-lt"/>
              </a:defRPr>
            </a:lvl1pPr>
          </a:lstStyle>
          <a:p>
            <a:pPr>
              <a:defRPr/>
            </a:pPr>
            <a:endParaRPr lang="en-US"/>
          </a:p>
        </p:txBody>
      </p:sp>
      <p:sp>
        <p:nvSpPr>
          <p:cNvPr id="5" name="Footer Placeholder 4">
            <a:extLst>
              <a:ext uri="{FF2B5EF4-FFF2-40B4-BE49-F238E27FC236}">
                <a16:creationId xmlns:a16="http://schemas.microsoft.com/office/drawing/2014/main" id="{48D3C442-469E-584E-B766-1369BF9B2BCA}"/>
              </a:ext>
            </a:extLst>
          </p:cNvPr>
          <p:cNvSpPr>
            <a:spLocks noGrp="1"/>
          </p:cNvSpPr>
          <p:nvPr>
            <p:ph type="ftr" sz="quarter" idx="3"/>
          </p:nvPr>
        </p:nvSpPr>
        <p:spPr>
          <a:xfrm>
            <a:off x="463550" y="6427788"/>
            <a:ext cx="4114800" cy="198437"/>
          </a:xfrm>
          <a:prstGeom prst="rect">
            <a:avLst/>
          </a:prstGeom>
        </p:spPr>
        <p:txBody>
          <a:bodyPr vert="horz" lIns="0" tIns="0" rIns="0" bIns="0" rtlCol="0" anchor="ctr">
            <a:noAutofit/>
          </a:bodyPr>
          <a:lstStyle>
            <a:lvl1pPr algn="l" eaLnBrk="1" fontAlgn="auto" hangingPunct="1">
              <a:spcBef>
                <a:spcPts val="0"/>
              </a:spcBef>
              <a:spcAft>
                <a:spcPts val="0"/>
              </a:spcAft>
              <a:defRPr sz="800">
                <a:solidFill>
                  <a:schemeClr val="tx1"/>
                </a:solidFill>
                <a:latin typeface="+mn-lt"/>
              </a:defRPr>
            </a:lvl1pPr>
          </a:lstStyle>
          <a:p>
            <a:pPr>
              <a:defRPr/>
            </a:pPr>
            <a:r>
              <a:rPr lang="en-US"/>
              <a:t>Copyright © 2023 Comcast Business. All rights reserved.</a:t>
            </a:r>
          </a:p>
        </p:txBody>
      </p:sp>
      <p:sp>
        <p:nvSpPr>
          <p:cNvPr id="6" name="Slide Number Placeholder 5">
            <a:extLst>
              <a:ext uri="{FF2B5EF4-FFF2-40B4-BE49-F238E27FC236}">
                <a16:creationId xmlns:a16="http://schemas.microsoft.com/office/drawing/2014/main" id="{6CEB20CB-5EEA-5346-A8AA-16DD2F47197F}"/>
              </a:ext>
            </a:extLst>
          </p:cNvPr>
          <p:cNvSpPr>
            <a:spLocks noGrp="1"/>
          </p:cNvSpPr>
          <p:nvPr>
            <p:ph type="sldNum" sz="quarter" idx="4"/>
          </p:nvPr>
        </p:nvSpPr>
        <p:spPr>
          <a:xfrm>
            <a:off x="11341100" y="6424613"/>
            <a:ext cx="393700" cy="200025"/>
          </a:xfrm>
          <a:prstGeom prst="rect">
            <a:avLst/>
          </a:prstGeom>
        </p:spPr>
        <p:txBody>
          <a:bodyPr vert="horz" lIns="0" tIns="0" rIns="0" bIns="0" rtlCol="0" anchor="ctr">
            <a:noAutofit/>
          </a:bodyPr>
          <a:lstStyle>
            <a:lvl1pPr algn="r" eaLnBrk="1" fontAlgn="auto" hangingPunct="1">
              <a:spcBef>
                <a:spcPts val="0"/>
              </a:spcBef>
              <a:spcAft>
                <a:spcPts val="0"/>
              </a:spcAft>
              <a:defRPr sz="800" smtClean="0">
                <a:solidFill>
                  <a:schemeClr val="tx2"/>
                </a:solidFill>
                <a:latin typeface="+mn-lt"/>
              </a:defRPr>
            </a:lvl1pPr>
          </a:lstStyle>
          <a:p>
            <a:pPr>
              <a:defRPr/>
            </a:pPr>
            <a:fld id="{2817750B-45C6-9541-8682-616E8C273001}" type="slidenum">
              <a:rPr lang="en-US"/>
              <a:pPr>
                <a:defRPr/>
              </a:pPr>
              <a:t>‹#›</a:t>
            </a:fld>
            <a:endParaRPr lang="en-US"/>
          </a:p>
        </p:txBody>
      </p:sp>
      <p:sp>
        <p:nvSpPr>
          <p:cNvPr id="7" name="TextBox 6">
            <a:extLst>
              <a:ext uri="{FF2B5EF4-FFF2-40B4-BE49-F238E27FC236}">
                <a16:creationId xmlns:a16="http://schemas.microsoft.com/office/drawing/2014/main" id="{5C4195B1-E0C0-3D45-9FC6-462D1A40D7ED}"/>
              </a:ext>
            </a:extLst>
          </p:cNvPr>
          <p:cNvSpPr txBox="1"/>
          <p:nvPr userDrawn="1"/>
        </p:nvSpPr>
        <p:spPr>
          <a:xfrm>
            <a:off x="10020693" y="6485641"/>
            <a:ext cx="0" cy="0"/>
          </a:xfrm>
          <a:prstGeom prst="rect">
            <a:avLst/>
          </a:prstGeom>
          <a:noFill/>
        </p:spPr>
        <p:txBody>
          <a:bodyPr wrap="none" lIns="0" tIns="0" rIns="0" bIns="0" rtlCol="0">
            <a:noAutofit/>
          </a:bodyPr>
          <a:lstStyle/>
          <a:p>
            <a:pPr algn="l"/>
            <a:endParaRPr lang="en-US"/>
          </a:p>
        </p:txBody>
      </p:sp>
      <p:sp>
        <p:nvSpPr>
          <p:cNvPr id="2" name="TextBox 1">
            <a:extLst>
              <a:ext uri="{FF2B5EF4-FFF2-40B4-BE49-F238E27FC236}">
                <a16:creationId xmlns:a16="http://schemas.microsoft.com/office/drawing/2014/main" id="{CBDB5EB3-CE08-684A-B701-AB1467E04731}"/>
              </a:ext>
            </a:extLst>
          </p:cNvPr>
          <p:cNvSpPr txBox="1"/>
          <p:nvPr userDrawn="1"/>
        </p:nvSpPr>
        <p:spPr>
          <a:xfrm>
            <a:off x="10783765" y="6075485"/>
            <a:ext cx="0" cy="0"/>
          </a:xfrm>
          <a:prstGeom prst="rect">
            <a:avLst/>
          </a:prstGeom>
          <a:noFill/>
        </p:spPr>
        <p:txBody>
          <a:bodyPr wrap="none" lIns="0" tIns="0" rIns="0" bIns="0" rtlCol="0">
            <a:noAutofit/>
          </a:bodyPr>
          <a:lstStyle/>
          <a:p>
            <a:pPr algn="l"/>
            <a:endParaRPr lang="en-US"/>
          </a:p>
        </p:txBody>
      </p:sp>
      <p:pic>
        <p:nvPicPr>
          <p:cNvPr id="12" name="Picture 11">
            <a:extLst>
              <a:ext uri="{FF2B5EF4-FFF2-40B4-BE49-F238E27FC236}">
                <a16:creationId xmlns:a16="http://schemas.microsoft.com/office/drawing/2014/main" id="{1B4B9162-19EF-B54A-9D14-FE5CA74AFAAB}"/>
              </a:ext>
            </a:extLst>
          </p:cNvPr>
          <p:cNvPicPr>
            <a:picLocks noChangeAspect="1"/>
          </p:cNvPicPr>
          <p:nvPr userDrawn="1"/>
        </p:nvPicPr>
        <p:blipFill>
          <a:blip r:embed="rId37">
            <a:extLst>
              <a:ext uri="{28A0092B-C50C-407E-A947-70E740481C1C}">
                <a14:useLocalDpi xmlns:a14="http://schemas.microsoft.com/office/drawing/2010/main" val="0"/>
              </a:ext>
            </a:extLst>
          </a:blip>
          <a:stretch>
            <a:fillRect/>
          </a:stretch>
        </p:blipFill>
        <p:spPr>
          <a:xfrm>
            <a:off x="8248454" y="6436967"/>
            <a:ext cx="3001668" cy="189380"/>
          </a:xfrm>
          <a:prstGeom prst="rect">
            <a:avLst/>
          </a:prstGeom>
        </p:spPr>
      </p:pic>
    </p:spTree>
    <p:extLst>
      <p:ext uri="{BB962C8B-B14F-4D97-AF65-F5344CB8AC3E}">
        <p14:creationId xmlns:p14="http://schemas.microsoft.com/office/powerpoint/2010/main" val="1770495998"/>
      </p:ext>
    </p:extLst>
  </p:cSld>
  <p:clrMap bg1="lt1" tx1="dk1" bg2="lt2" tx2="dk2" accent1="accent1" accent2="accent2" accent3="accent3" accent4="accent4" accent5="accent5" accent6="accent6" hlink="hlink" folHlink="folHlink"/>
  <p:sldLayoutIdLst>
    <p:sldLayoutId id="2147483855" r:id="rId1"/>
    <p:sldLayoutId id="2147483856" r:id="rId2"/>
    <p:sldLayoutId id="2147483857" r:id="rId3"/>
    <p:sldLayoutId id="2147483858" r:id="rId4"/>
    <p:sldLayoutId id="2147483859" r:id="rId5"/>
    <p:sldLayoutId id="2147483860" r:id="rId6"/>
    <p:sldLayoutId id="2147483861" r:id="rId7"/>
    <p:sldLayoutId id="2147483862" r:id="rId8"/>
    <p:sldLayoutId id="2147483863" r:id="rId9"/>
    <p:sldLayoutId id="2147483864" r:id="rId10"/>
    <p:sldLayoutId id="2147483865" r:id="rId11"/>
    <p:sldLayoutId id="2147483866" r:id="rId12"/>
    <p:sldLayoutId id="2147483867" r:id="rId13"/>
    <p:sldLayoutId id="2147483868" r:id="rId14"/>
    <p:sldLayoutId id="2147483869" r:id="rId15"/>
    <p:sldLayoutId id="2147483870" r:id="rId16"/>
    <p:sldLayoutId id="2147483871" r:id="rId17"/>
    <p:sldLayoutId id="2147483872" r:id="rId18"/>
    <p:sldLayoutId id="2147483873" r:id="rId19"/>
    <p:sldLayoutId id="2147483874" r:id="rId20"/>
    <p:sldLayoutId id="2147483875" r:id="rId21"/>
    <p:sldLayoutId id="2147483876" r:id="rId22"/>
    <p:sldLayoutId id="2147483877" r:id="rId23"/>
    <p:sldLayoutId id="2147483878" r:id="rId24"/>
    <p:sldLayoutId id="2147483879" r:id="rId25"/>
    <p:sldLayoutId id="2147483880" r:id="rId26"/>
    <p:sldLayoutId id="2147483881" r:id="rId27"/>
    <p:sldLayoutId id="2147483882" r:id="rId28"/>
    <p:sldLayoutId id="2147483883" r:id="rId29"/>
    <p:sldLayoutId id="2147483884" r:id="rId30"/>
    <p:sldLayoutId id="2147483885" r:id="rId31"/>
    <p:sldLayoutId id="2147483886" r:id="rId32"/>
  </p:sldLayoutIdLst>
  <p:hf hdr="0" dt="0"/>
  <p:txStyles>
    <p:titleStyle>
      <a:lvl1pPr algn="l" rtl="0" eaLnBrk="1" fontAlgn="base" hangingPunct="1">
        <a:lnSpc>
          <a:spcPct val="95000"/>
        </a:lnSpc>
        <a:spcBef>
          <a:spcPct val="0"/>
        </a:spcBef>
        <a:spcAft>
          <a:spcPct val="0"/>
        </a:spcAft>
        <a:defRPr sz="3200" kern="1200">
          <a:solidFill>
            <a:schemeClr val="accent1"/>
          </a:solidFill>
          <a:latin typeface="+mj-lt"/>
          <a:ea typeface="+mj-ea"/>
          <a:cs typeface="+mj-cs"/>
        </a:defRPr>
      </a:lvl1pPr>
      <a:lvl2pPr algn="l" rtl="0" eaLnBrk="1" fontAlgn="base" hangingPunct="1">
        <a:lnSpc>
          <a:spcPct val="95000"/>
        </a:lnSpc>
        <a:spcBef>
          <a:spcPct val="0"/>
        </a:spcBef>
        <a:spcAft>
          <a:spcPct val="0"/>
        </a:spcAft>
        <a:defRPr sz="3200">
          <a:solidFill>
            <a:schemeClr val="accent1"/>
          </a:solidFill>
          <a:latin typeface="Montserrat Light" pitchFamily="2" charset="77"/>
        </a:defRPr>
      </a:lvl2pPr>
      <a:lvl3pPr algn="l" rtl="0" eaLnBrk="1" fontAlgn="base" hangingPunct="1">
        <a:lnSpc>
          <a:spcPct val="95000"/>
        </a:lnSpc>
        <a:spcBef>
          <a:spcPct val="0"/>
        </a:spcBef>
        <a:spcAft>
          <a:spcPct val="0"/>
        </a:spcAft>
        <a:defRPr sz="3200">
          <a:solidFill>
            <a:schemeClr val="accent1"/>
          </a:solidFill>
          <a:latin typeface="Montserrat Light" pitchFamily="2" charset="77"/>
        </a:defRPr>
      </a:lvl3pPr>
      <a:lvl4pPr algn="l" rtl="0" eaLnBrk="1" fontAlgn="base" hangingPunct="1">
        <a:lnSpc>
          <a:spcPct val="95000"/>
        </a:lnSpc>
        <a:spcBef>
          <a:spcPct val="0"/>
        </a:spcBef>
        <a:spcAft>
          <a:spcPct val="0"/>
        </a:spcAft>
        <a:defRPr sz="3200">
          <a:solidFill>
            <a:schemeClr val="accent1"/>
          </a:solidFill>
          <a:latin typeface="Montserrat Light" pitchFamily="2" charset="77"/>
        </a:defRPr>
      </a:lvl4pPr>
      <a:lvl5pPr algn="l" rtl="0" eaLnBrk="1" fontAlgn="base" hangingPunct="1">
        <a:lnSpc>
          <a:spcPct val="95000"/>
        </a:lnSpc>
        <a:spcBef>
          <a:spcPct val="0"/>
        </a:spcBef>
        <a:spcAft>
          <a:spcPct val="0"/>
        </a:spcAft>
        <a:defRPr sz="3200">
          <a:solidFill>
            <a:schemeClr val="accent1"/>
          </a:solidFill>
          <a:latin typeface="Montserrat Light" pitchFamily="2" charset="77"/>
        </a:defRPr>
      </a:lvl5pPr>
      <a:lvl6pPr marL="457200" algn="l" rtl="0" eaLnBrk="1" fontAlgn="base" hangingPunct="1">
        <a:lnSpc>
          <a:spcPct val="95000"/>
        </a:lnSpc>
        <a:spcBef>
          <a:spcPct val="0"/>
        </a:spcBef>
        <a:spcAft>
          <a:spcPct val="0"/>
        </a:spcAft>
        <a:defRPr sz="3200">
          <a:solidFill>
            <a:schemeClr val="accent1"/>
          </a:solidFill>
          <a:latin typeface="Montserrat Light" pitchFamily="2" charset="77"/>
        </a:defRPr>
      </a:lvl6pPr>
      <a:lvl7pPr marL="914400" algn="l" rtl="0" eaLnBrk="1" fontAlgn="base" hangingPunct="1">
        <a:lnSpc>
          <a:spcPct val="95000"/>
        </a:lnSpc>
        <a:spcBef>
          <a:spcPct val="0"/>
        </a:spcBef>
        <a:spcAft>
          <a:spcPct val="0"/>
        </a:spcAft>
        <a:defRPr sz="3200">
          <a:solidFill>
            <a:schemeClr val="accent1"/>
          </a:solidFill>
          <a:latin typeface="Montserrat Light" pitchFamily="2" charset="77"/>
        </a:defRPr>
      </a:lvl7pPr>
      <a:lvl8pPr marL="1371600" algn="l" rtl="0" eaLnBrk="1" fontAlgn="base" hangingPunct="1">
        <a:lnSpc>
          <a:spcPct val="95000"/>
        </a:lnSpc>
        <a:spcBef>
          <a:spcPct val="0"/>
        </a:spcBef>
        <a:spcAft>
          <a:spcPct val="0"/>
        </a:spcAft>
        <a:defRPr sz="3200">
          <a:solidFill>
            <a:schemeClr val="accent1"/>
          </a:solidFill>
          <a:latin typeface="Montserrat Light" pitchFamily="2" charset="77"/>
        </a:defRPr>
      </a:lvl8pPr>
      <a:lvl9pPr marL="1828800" algn="l" rtl="0" eaLnBrk="1" fontAlgn="base" hangingPunct="1">
        <a:lnSpc>
          <a:spcPct val="95000"/>
        </a:lnSpc>
        <a:spcBef>
          <a:spcPct val="0"/>
        </a:spcBef>
        <a:spcAft>
          <a:spcPct val="0"/>
        </a:spcAft>
        <a:defRPr sz="3200">
          <a:solidFill>
            <a:schemeClr val="accent1"/>
          </a:solidFill>
          <a:latin typeface="Montserrat Light" pitchFamily="2" charset="77"/>
        </a:defRPr>
      </a:lvl9pPr>
    </p:titleStyle>
    <p:body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itchFamily="2" charset="77"/>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itchFamily="2" charset="77"/>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400" kern="1200">
          <a:solidFill>
            <a:schemeClr val="tx1"/>
          </a:solidFill>
          <a:latin typeface="+mn-lt"/>
          <a:ea typeface="+mn-ea"/>
          <a:cs typeface="+mn-cs"/>
        </a:defRPr>
      </a:lvl2pPr>
      <a:lvl3pPr marL="914400" algn="l" defTabSz="914400" rtl="0" eaLnBrk="1" latinLnBrk="0" hangingPunct="1">
        <a:defRPr sz="1400" kern="1200">
          <a:solidFill>
            <a:schemeClr val="tx1"/>
          </a:solidFill>
          <a:latin typeface="+mn-lt"/>
          <a:ea typeface="+mn-ea"/>
          <a:cs typeface="+mn-cs"/>
        </a:defRPr>
      </a:lvl3pPr>
      <a:lvl4pPr marL="1371600" algn="l" defTabSz="914400" rtl="0" eaLnBrk="1" latinLnBrk="0" hangingPunct="1">
        <a:defRPr sz="1400" kern="1200">
          <a:solidFill>
            <a:schemeClr val="tx1"/>
          </a:solidFill>
          <a:latin typeface="+mn-lt"/>
          <a:ea typeface="+mn-ea"/>
          <a:cs typeface="+mn-cs"/>
        </a:defRPr>
      </a:lvl4pPr>
      <a:lvl5pPr marL="1828800" algn="l" defTabSz="914400" rtl="0" eaLnBrk="1" latinLnBrk="0" hangingPunct="1">
        <a:defRPr sz="1400" kern="1200">
          <a:solidFill>
            <a:schemeClr val="tx1"/>
          </a:solidFill>
          <a:latin typeface="+mn-lt"/>
          <a:ea typeface="+mn-ea"/>
          <a:cs typeface="+mn-cs"/>
        </a:defRPr>
      </a:lvl5pPr>
      <a:lvl6pPr marL="2286000" algn="l" defTabSz="914400" rtl="0" eaLnBrk="1" latinLnBrk="0" hangingPunct="1">
        <a:defRPr sz="1400" kern="1200">
          <a:solidFill>
            <a:schemeClr val="tx1"/>
          </a:solidFill>
          <a:latin typeface="+mn-lt"/>
          <a:ea typeface="+mn-ea"/>
          <a:cs typeface="+mn-cs"/>
        </a:defRPr>
      </a:lvl6pPr>
      <a:lvl7pPr marL="2743200" algn="l" defTabSz="914400" rtl="0" eaLnBrk="1" latinLnBrk="0" hangingPunct="1">
        <a:defRPr sz="1400" kern="1200">
          <a:solidFill>
            <a:schemeClr val="tx1"/>
          </a:solidFill>
          <a:latin typeface="+mn-lt"/>
          <a:ea typeface="+mn-ea"/>
          <a:cs typeface="+mn-cs"/>
        </a:defRPr>
      </a:lvl7pPr>
      <a:lvl8pPr marL="3200400" algn="l" defTabSz="914400" rtl="0" eaLnBrk="1" latinLnBrk="0" hangingPunct="1">
        <a:defRPr sz="1400" kern="1200">
          <a:solidFill>
            <a:schemeClr val="tx1"/>
          </a:solidFill>
          <a:latin typeface="+mn-lt"/>
          <a:ea typeface="+mn-ea"/>
          <a:cs typeface="+mn-cs"/>
        </a:defRPr>
      </a:lvl8pPr>
      <a:lvl9pPr marL="3657600" algn="l" defTabSz="914400" rtl="0" eaLnBrk="1" latinLnBrk="0" hangingPunct="1">
        <a:defRPr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7.xml"/><Relationship Id="rId5" Type="http://schemas.openxmlformats.org/officeDocument/2006/relationships/image" Target="../media/image17.emf"/><Relationship Id="rId4" Type="http://schemas.openxmlformats.org/officeDocument/2006/relationships/oleObject" Target="../embeddings/oleObject6.bin"/></Relationships>
</file>

<file path=ppt/slides/_rels/slide10.xml.rels><?xml version="1.0" encoding="UTF-8" standalone="yes"?>
<Relationships xmlns="http://schemas.openxmlformats.org/package/2006/relationships"><Relationship Id="rId13" Type="http://schemas.openxmlformats.org/officeDocument/2006/relationships/tags" Target="../tags/tag160.xml"/><Relationship Id="rId18" Type="http://schemas.openxmlformats.org/officeDocument/2006/relationships/tags" Target="../tags/tag165.xml"/><Relationship Id="rId26" Type="http://schemas.openxmlformats.org/officeDocument/2006/relationships/tags" Target="../tags/tag173.xml"/><Relationship Id="rId39" Type="http://schemas.openxmlformats.org/officeDocument/2006/relationships/tags" Target="../tags/tag186.xml"/><Relationship Id="rId21" Type="http://schemas.openxmlformats.org/officeDocument/2006/relationships/tags" Target="../tags/tag168.xml"/><Relationship Id="rId34" Type="http://schemas.openxmlformats.org/officeDocument/2006/relationships/tags" Target="../tags/tag181.xml"/><Relationship Id="rId42" Type="http://schemas.openxmlformats.org/officeDocument/2006/relationships/tags" Target="../tags/tag189.xml"/><Relationship Id="rId47" Type="http://schemas.openxmlformats.org/officeDocument/2006/relationships/oleObject" Target="../embeddings/oleObject15.bin"/><Relationship Id="rId7" Type="http://schemas.openxmlformats.org/officeDocument/2006/relationships/tags" Target="../tags/tag154.xml"/><Relationship Id="rId2" Type="http://schemas.openxmlformats.org/officeDocument/2006/relationships/tags" Target="../tags/tag149.xml"/><Relationship Id="rId16" Type="http://schemas.openxmlformats.org/officeDocument/2006/relationships/tags" Target="../tags/tag163.xml"/><Relationship Id="rId29" Type="http://schemas.openxmlformats.org/officeDocument/2006/relationships/tags" Target="../tags/tag176.xml"/><Relationship Id="rId11" Type="http://schemas.openxmlformats.org/officeDocument/2006/relationships/tags" Target="../tags/tag158.xml"/><Relationship Id="rId24" Type="http://schemas.openxmlformats.org/officeDocument/2006/relationships/tags" Target="../tags/tag171.xml"/><Relationship Id="rId32" Type="http://schemas.openxmlformats.org/officeDocument/2006/relationships/tags" Target="../tags/tag179.xml"/><Relationship Id="rId37" Type="http://schemas.openxmlformats.org/officeDocument/2006/relationships/tags" Target="../tags/tag184.xml"/><Relationship Id="rId40" Type="http://schemas.openxmlformats.org/officeDocument/2006/relationships/tags" Target="../tags/tag187.xml"/><Relationship Id="rId45" Type="http://schemas.openxmlformats.org/officeDocument/2006/relationships/slideLayout" Target="../slideLayouts/slideLayout5.xml"/><Relationship Id="rId5" Type="http://schemas.openxmlformats.org/officeDocument/2006/relationships/tags" Target="../tags/tag152.xml"/><Relationship Id="rId15" Type="http://schemas.openxmlformats.org/officeDocument/2006/relationships/tags" Target="../tags/tag162.xml"/><Relationship Id="rId23" Type="http://schemas.openxmlformats.org/officeDocument/2006/relationships/tags" Target="../tags/tag170.xml"/><Relationship Id="rId28" Type="http://schemas.openxmlformats.org/officeDocument/2006/relationships/tags" Target="../tags/tag175.xml"/><Relationship Id="rId36" Type="http://schemas.openxmlformats.org/officeDocument/2006/relationships/tags" Target="../tags/tag183.xml"/><Relationship Id="rId49" Type="http://schemas.openxmlformats.org/officeDocument/2006/relationships/chart" Target="../charts/chart6.xml"/><Relationship Id="rId10" Type="http://schemas.openxmlformats.org/officeDocument/2006/relationships/tags" Target="../tags/tag157.xml"/><Relationship Id="rId19" Type="http://schemas.openxmlformats.org/officeDocument/2006/relationships/tags" Target="../tags/tag166.xml"/><Relationship Id="rId31" Type="http://schemas.openxmlformats.org/officeDocument/2006/relationships/tags" Target="../tags/tag178.xml"/><Relationship Id="rId44" Type="http://schemas.openxmlformats.org/officeDocument/2006/relationships/tags" Target="../tags/tag191.xml"/><Relationship Id="rId4" Type="http://schemas.openxmlformats.org/officeDocument/2006/relationships/tags" Target="../tags/tag151.xml"/><Relationship Id="rId9" Type="http://schemas.openxmlformats.org/officeDocument/2006/relationships/tags" Target="../tags/tag156.xml"/><Relationship Id="rId14" Type="http://schemas.openxmlformats.org/officeDocument/2006/relationships/tags" Target="../tags/tag161.xml"/><Relationship Id="rId22" Type="http://schemas.openxmlformats.org/officeDocument/2006/relationships/tags" Target="../tags/tag169.xml"/><Relationship Id="rId27" Type="http://schemas.openxmlformats.org/officeDocument/2006/relationships/tags" Target="../tags/tag174.xml"/><Relationship Id="rId30" Type="http://schemas.openxmlformats.org/officeDocument/2006/relationships/tags" Target="../tags/tag177.xml"/><Relationship Id="rId35" Type="http://schemas.openxmlformats.org/officeDocument/2006/relationships/tags" Target="../tags/tag182.xml"/><Relationship Id="rId43" Type="http://schemas.openxmlformats.org/officeDocument/2006/relationships/tags" Target="../tags/tag190.xml"/><Relationship Id="rId48" Type="http://schemas.openxmlformats.org/officeDocument/2006/relationships/image" Target="../media/image17.emf"/><Relationship Id="rId8" Type="http://schemas.openxmlformats.org/officeDocument/2006/relationships/tags" Target="../tags/tag155.xml"/><Relationship Id="rId3" Type="http://schemas.openxmlformats.org/officeDocument/2006/relationships/tags" Target="../tags/tag150.xml"/><Relationship Id="rId12" Type="http://schemas.openxmlformats.org/officeDocument/2006/relationships/tags" Target="../tags/tag159.xml"/><Relationship Id="rId17" Type="http://schemas.openxmlformats.org/officeDocument/2006/relationships/tags" Target="../tags/tag164.xml"/><Relationship Id="rId25" Type="http://schemas.openxmlformats.org/officeDocument/2006/relationships/tags" Target="../tags/tag172.xml"/><Relationship Id="rId33" Type="http://schemas.openxmlformats.org/officeDocument/2006/relationships/tags" Target="../tags/tag180.xml"/><Relationship Id="rId38" Type="http://schemas.openxmlformats.org/officeDocument/2006/relationships/tags" Target="../tags/tag185.xml"/><Relationship Id="rId46" Type="http://schemas.openxmlformats.org/officeDocument/2006/relationships/notesSlide" Target="../notesSlides/notesSlide10.xml"/><Relationship Id="rId20" Type="http://schemas.openxmlformats.org/officeDocument/2006/relationships/tags" Target="../tags/tag167.xml"/><Relationship Id="rId41" Type="http://schemas.openxmlformats.org/officeDocument/2006/relationships/tags" Target="../tags/tag188.xml"/><Relationship Id="rId1" Type="http://schemas.openxmlformats.org/officeDocument/2006/relationships/tags" Target="../tags/tag148.xml"/><Relationship Id="rId6" Type="http://schemas.openxmlformats.org/officeDocument/2006/relationships/tags" Target="../tags/tag153.xml"/></Relationships>
</file>

<file path=ppt/slides/_rels/slide11.xml.rels><?xml version="1.0" encoding="UTF-8" standalone="yes"?>
<Relationships xmlns="http://schemas.openxmlformats.org/package/2006/relationships"><Relationship Id="rId13" Type="http://schemas.openxmlformats.org/officeDocument/2006/relationships/tags" Target="../tags/tag204.xml"/><Relationship Id="rId18" Type="http://schemas.openxmlformats.org/officeDocument/2006/relationships/tags" Target="../tags/tag209.xml"/><Relationship Id="rId26" Type="http://schemas.openxmlformats.org/officeDocument/2006/relationships/tags" Target="../tags/tag217.xml"/><Relationship Id="rId39" Type="http://schemas.openxmlformats.org/officeDocument/2006/relationships/image" Target="../media/image10000.png"/><Relationship Id="rId21" Type="http://schemas.openxmlformats.org/officeDocument/2006/relationships/tags" Target="../tags/tag212.xml"/><Relationship Id="rId34" Type="http://schemas.openxmlformats.org/officeDocument/2006/relationships/oleObject" Target="../embeddings/oleObject16.bin"/><Relationship Id="rId7" Type="http://schemas.openxmlformats.org/officeDocument/2006/relationships/tags" Target="../tags/tag198.xml"/><Relationship Id="rId12" Type="http://schemas.openxmlformats.org/officeDocument/2006/relationships/tags" Target="../tags/tag203.xml"/><Relationship Id="rId17" Type="http://schemas.openxmlformats.org/officeDocument/2006/relationships/tags" Target="../tags/tag208.xml"/><Relationship Id="rId25" Type="http://schemas.openxmlformats.org/officeDocument/2006/relationships/tags" Target="../tags/tag216.xml"/><Relationship Id="rId33" Type="http://schemas.openxmlformats.org/officeDocument/2006/relationships/notesSlide" Target="../notesSlides/notesSlide11.xml"/><Relationship Id="rId38" Type="http://schemas.openxmlformats.org/officeDocument/2006/relationships/customXml" Target="../ink/ink2.xml"/><Relationship Id="rId2" Type="http://schemas.openxmlformats.org/officeDocument/2006/relationships/tags" Target="../tags/tag193.xml"/><Relationship Id="rId16" Type="http://schemas.openxmlformats.org/officeDocument/2006/relationships/tags" Target="../tags/tag207.xml"/><Relationship Id="rId20" Type="http://schemas.openxmlformats.org/officeDocument/2006/relationships/tags" Target="../tags/tag211.xml"/><Relationship Id="rId29" Type="http://schemas.openxmlformats.org/officeDocument/2006/relationships/tags" Target="../tags/tag220.xml"/><Relationship Id="rId1" Type="http://schemas.openxmlformats.org/officeDocument/2006/relationships/tags" Target="../tags/tag192.xml"/><Relationship Id="rId6" Type="http://schemas.openxmlformats.org/officeDocument/2006/relationships/tags" Target="../tags/tag197.xml"/><Relationship Id="rId11" Type="http://schemas.openxmlformats.org/officeDocument/2006/relationships/tags" Target="../tags/tag202.xml"/><Relationship Id="rId24" Type="http://schemas.openxmlformats.org/officeDocument/2006/relationships/tags" Target="../tags/tag215.xml"/><Relationship Id="rId32" Type="http://schemas.openxmlformats.org/officeDocument/2006/relationships/slideLayout" Target="../slideLayouts/slideLayout5.xml"/><Relationship Id="rId37" Type="http://schemas.openxmlformats.org/officeDocument/2006/relationships/hyperlink" Target="https://etwiki.sys.comcast.net/pages/viewpage.action?spaceKey=B2B&amp;title=New+Customer+%2724+-+CB+Merchandising+Calendar" TargetMode="External"/><Relationship Id="rId5" Type="http://schemas.openxmlformats.org/officeDocument/2006/relationships/tags" Target="../tags/tag196.xml"/><Relationship Id="rId15" Type="http://schemas.openxmlformats.org/officeDocument/2006/relationships/tags" Target="../tags/tag206.xml"/><Relationship Id="rId23" Type="http://schemas.openxmlformats.org/officeDocument/2006/relationships/tags" Target="../tags/tag214.xml"/><Relationship Id="rId28" Type="http://schemas.openxmlformats.org/officeDocument/2006/relationships/tags" Target="../tags/tag219.xml"/><Relationship Id="rId36" Type="http://schemas.openxmlformats.org/officeDocument/2006/relationships/chart" Target="../charts/chart7.xml"/><Relationship Id="rId10" Type="http://schemas.openxmlformats.org/officeDocument/2006/relationships/tags" Target="../tags/tag201.xml"/><Relationship Id="rId19" Type="http://schemas.openxmlformats.org/officeDocument/2006/relationships/tags" Target="../tags/tag210.xml"/><Relationship Id="rId31" Type="http://schemas.openxmlformats.org/officeDocument/2006/relationships/tags" Target="../tags/tag222.xml"/><Relationship Id="rId4" Type="http://schemas.openxmlformats.org/officeDocument/2006/relationships/tags" Target="../tags/tag195.xml"/><Relationship Id="rId9" Type="http://schemas.openxmlformats.org/officeDocument/2006/relationships/tags" Target="../tags/tag200.xml"/><Relationship Id="rId14" Type="http://schemas.openxmlformats.org/officeDocument/2006/relationships/tags" Target="../tags/tag205.xml"/><Relationship Id="rId22" Type="http://schemas.openxmlformats.org/officeDocument/2006/relationships/tags" Target="../tags/tag213.xml"/><Relationship Id="rId27" Type="http://schemas.openxmlformats.org/officeDocument/2006/relationships/tags" Target="../tags/tag218.xml"/><Relationship Id="rId30" Type="http://schemas.openxmlformats.org/officeDocument/2006/relationships/tags" Target="../tags/tag221.xml"/><Relationship Id="rId35" Type="http://schemas.openxmlformats.org/officeDocument/2006/relationships/image" Target="../media/image17.emf"/><Relationship Id="rId8" Type="http://schemas.openxmlformats.org/officeDocument/2006/relationships/tags" Target="../tags/tag199.xml"/><Relationship Id="rId3" Type="http://schemas.openxmlformats.org/officeDocument/2006/relationships/tags" Target="../tags/tag194.xml"/></Relationships>
</file>

<file path=ppt/slides/_rels/slide12.xml.rels><?xml version="1.0" encoding="UTF-8" standalone="yes"?>
<Relationships xmlns="http://schemas.openxmlformats.org/package/2006/relationships"><Relationship Id="rId26" Type="http://schemas.openxmlformats.org/officeDocument/2006/relationships/tags" Target="../tags/tag248.xml"/><Relationship Id="rId21" Type="http://schemas.openxmlformats.org/officeDocument/2006/relationships/tags" Target="../tags/tag243.xml"/><Relationship Id="rId34" Type="http://schemas.openxmlformats.org/officeDocument/2006/relationships/tags" Target="../tags/tag256.xml"/><Relationship Id="rId42" Type="http://schemas.openxmlformats.org/officeDocument/2006/relationships/tags" Target="../tags/tag264.xml"/><Relationship Id="rId47" Type="http://schemas.openxmlformats.org/officeDocument/2006/relationships/tags" Target="../tags/tag269.xml"/><Relationship Id="rId50" Type="http://schemas.openxmlformats.org/officeDocument/2006/relationships/tags" Target="../tags/tag272.xml"/><Relationship Id="rId55" Type="http://schemas.openxmlformats.org/officeDocument/2006/relationships/tags" Target="../tags/tag277.xml"/><Relationship Id="rId63" Type="http://schemas.openxmlformats.org/officeDocument/2006/relationships/notesSlide" Target="../notesSlides/notesSlide12.xml"/><Relationship Id="rId7" Type="http://schemas.openxmlformats.org/officeDocument/2006/relationships/tags" Target="../tags/tag229.xml"/><Relationship Id="rId2" Type="http://schemas.openxmlformats.org/officeDocument/2006/relationships/tags" Target="../tags/tag224.xml"/><Relationship Id="rId16" Type="http://schemas.openxmlformats.org/officeDocument/2006/relationships/tags" Target="../tags/tag238.xml"/><Relationship Id="rId29" Type="http://schemas.openxmlformats.org/officeDocument/2006/relationships/tags" Target="../tags/tag251.xml"/><Relationship Id="rId11" Type="http://schemas.openxmlformats.org/officeDocument/2006/relationships/tags" Target="../tags/tag233.xml"/><Relationship Id="rId24" Type="http://schemas.openxmlformats.org/officeDocument/2006/relationships/tags" Target="../tags/tag246.xml"/><Relationship Id="rId32" Type="http://schemas.openxmlformats.org/officeDocument/2006/relationships/tags" Target="../tags/tag254.xml"/><Relationship Id="rId37" Type="http://schemas.openxmlformats.org/officeDocument/2006/relationships/tags" Target="../tags/tag259.xml"/><Relationship Id="rId40" Type="http://schemas.openxmlformats.org/officeDocument/2006/relationships/tags" Target="../tags/tag262.xml"/><Relationship Id="rId45" Type="http://schemas.openxmlformats.org/officeDocument/2006/relationships/tags" Target="../tags/tag267.xml"/><Relationship Id="rId53" Type="http://schemas.openxmlformats.org/officeDocument/2006/relationships/tags" Target="../tags/tag275.xml"/><Relationship Id="rId58" Type="http://schemas.openxmlformats.org/officeDocument/2006/relationships/tags" Target="../tags/tag280.xml"/><Relationship Id="rId66" Type="http://schemas.openxmlformats.org/officeDocument/2006/relationships/chart" Target="../charts/chart8.xml"/><Relationship Id="rId5" Type="http://schemas.openxmlformats.org/officeDocument/2006/relationships/tags" Target="../tags/tag227.xml"/><Relationship Id="rId61" Type="http://schemas.openxmlformats.org/officeDocument/2006/relationships/tags" Target="../tags/tag283.xml"/><Relationship Id="rId19" Type="http://schemas.openxmlformats.org/officeDocument/2006/relationships/tags" Target="../tags/tag241.xml"/><Relationship Id="rId14" Type="http://schemas.openxmlformats.org/officeDocument/2006/relationships/tags" Target="../tags/tag236.xml"/><Relationship Id="rId22" Type="http://schemas.openxmlformats.org/officeDocument/2006/relationships/tags" Target="../tags/tag244.xml"/><Relationship Id="rId27" Type="http://schemas.openxmlformats.org/officeDocument/2006/relationships/tags" Target="../tags/tag249.xml"/><Relationship Id="rId30" Type="http://schemas.openxmlformats.org/officeDocument/2006/relationships/tags" Target="../tags/tag252.xml"/><Relationship Id="rId35" Type="http://schemas.openxmlformats.org/officeDocument/2006/relationships/tags" Target="../tags/tag257.xml"/><Relationship Id="rId43" Type="http://schemas.openxmlformats.org/officeDocument/2006/relationships/tags" Target="../tags/tag265.xml"/><Relationship Id="rId48" Type="http://schemas.openxmlformats.org/officeDocument/2006/relationships/tags" Target="../tags/tag270.xml"/><Relationship Id="rId56" Type="http://schemas.openxmlformats.org/officeDocument/2006/relationships/tags" Target="../tags/tag278.xml"/><Relationship Id="rId64" Type="http://schemas.openxmlformats.org/officeDocument/2006/relationships/oleObject" Target="../embeddings/oleObject17.bin"/><Relationship Id="rId8" Type="http://schemas.openxmlformats.org/officeDocument/2006/relationships/tags" Target="../tags/tag230.xml"/><Relationship Id="rId51" Type="http://schemas.openxmlformats.org/officeDocument/2006/relationships/tags" Target="../tags/tag273.xml"/><Relationship Id="rId98" Type="http://schemas.openxmlformats.org/officeDocument/2006/relationships/image" Target="../media/image100.png"/><Relationship Id="rId3" Type="http://schemas.openxmlformats.org/officeDocument/2006/relationships/tags" Target="../tags/tag225.xml"/><Relationship Id="rId12" Type="http://schemas.openxmlformats.org/officeDocument/2006/relationships/tags" Target="../tags/tag234.xml"/><Relationship Id="rId17" Type="http://schemas.openxmlformats.org/officeDocument/2006/relationships/tags" Target="../tags/tag239.xml"/><Relationship Id="rId25" Type="http://schemas.openxmlformats.org/officeDocument/2006/relationships/tags" Target="../tags/tag247.xml"/><Relationship Id="rId33" Type="http://schemas.openxmlformats.org/officeDocument/2006/relationships/tags" Target="../tags/tag255.xml"/><Relationship Id="rId38" Type="http://schemas.openxmlformats.org/officeDocument/2006/relationships/tags" Target="../tags/tag260.xml"/><Relationship Id="rId46" Type="http://schemas.openxmlformats.org/officeDocument/2006/relationships/tags" Target="../tags/tag268.xml"/><Relationship Id="rId59" Type="http://schemas.openxmlformats.org/officeDocument/2006/relationships/tags" Target="../tags/tag281.xml"/><Relationship Id="rId67" Type="http://schemas.openxmlformats.org/officeDocument/2006/relationships/customXml" Target="../ink/ink3.xml"/><Relationship Id="rId20" Type="http://schemas.openxmlformats.org/officeDocument/2006/relationships/tags" Target="../tags/tag242.xml"/><Relationship Id="rId41" Type="http://schemas.openxmlformats.org/officeDocument/2006/relationships/tags" Target="../tags/tag263.xml"/><Relationship Id="rId54" Type="http://schemas.openxmlformats.org/officeDocument/2006/relationships/tags" Target="../tags/tag276.xml"/><Relationship Id="rId62" Type="http://schemas.openxmlformats.org/officeDocument/2006/relationships/slideLayout" Target="../slideLayouts/slideLayout5.xml"/><Relationship Id="rId1" Type="http://schemas.openxmlformats.org/officeDocument/2006/relationships/tags" Target="../tags/tag223.xml"/><Relationship Id="rId6" Type="http://schemas.openxmlformats.org/officeDocument/2006/relationships/tags" Target="../tags/tag228.xml"/><Relationship Id="rId15" Type="http://schemas.openxmlformats.org/officeDocument/2006/relationships/tags" Target="../tags/tag237.xml"/><Relationship Id="rId23" Type="http://schemas.openxmlformats.org/officeDocument/2006/relationships/tags" Target="../tags/tag245.xml"/><Relationship Id="rId28" Type="http://schemas.openxmlformats.org/officeDocument/2006/relationships/tags" Target="../tags/tag250.xml"/><Relationship Id="rId36" Type="http://schemas.openxmlformats.org/officeDocument/2006/relationships/tags" Target="../tags/tag258.xml"/><Relationship Id="rId49" Type="http://schemas.openxmlformats.org/officeDocument/2006/relationships/tags" Target="../tags/tag271.xml"/><Relationship Id="rId57" Type="http://schemas.openxmlformats.org/officeDocument/2006/relationships/tags" Target="../tags/tag279.xml"/><Relationship Id="rId10" Type="http://schemas.openxmlformats.org/officeDocument/2006/relationships/tags" Target="../tags/tag232.xml"/><Relationship Id="rId31" Type="http://schemas.openxmlformats.org/officeDocument/2006/relationships/tags" Target="../tags/tag253.xml"/><Relationship Id="rId44" Type="http://schemas.openxmlformats.org/officeDocument/2006/relationships/tags" Target="../tags/tag266.xml"/><Relationship Id="rId52" Type="http://schemas.openxmlformats.org/officeDocument/2006/relationships/tags" Target="../tags/tag274.xml"/><Relationship Id="rId60" Type="http://schemas.openxmlformats.org/officeDocument/2006/relationships/tags" Target="../tags/tag282.xml"/><Relationship Id="rId65" Type="http://schemas.openxmlformats.org/officeDocument/2006/relationships/image" Target="../media/image17.emf"/><Relationship Id="rId4" Type="http://schemas.openxmlformats.org/officeDocument/2006/relationships/tags" Target="../tags/tag226.xml"/><Relationship Id="rId9" Type="http://schemas.openxmlformats.org/officeDocument/2006/relationships/tags" Target="../tags/tag231.xml"/><Relationship Id="rId13" Type="http://schemas.openxmlformats.org/officeDocument/2006/relationships/tags" Target="../tags/tag235.xml"/><Relationship Id="rId18" Type="http://schemas.openxmlformats.org/officeDocument/2006/relationships/tags" Target="../tags/tag240.xml"/><Relationship Id="rId39" Type="http://schemas.openxmlformats.org/officeDocument/2006/relationships/tags" Target="../tags/tag261.xml"/></Relationships>
</file>

<file path=ppt/slides/_rels/slide13.xml.rels><?xml version="1.0" encoding="UTF-8" standalone="yes"?>
<Relationships xmlns="http://schemas.openxmlformats.org/package/2006/relationships"><Relationship Id="rId26" Type="http://schemas.openxmlformats.org/officeDocument/2006/relationships/tags" Target="../tags/tag309.xml"/><Relationship Id="rId21" Type="http://schemas.openxmlformats.org/officeDocument/2006/relationships/tags" Target="../tags/tag304.xml"/><Relationship Id="rId42" Type="http://schemas.openxmlformats.org/officeDocument/2006/relationships/tags" Target="../tags/tag325.xml"/><Relationship Id="rId47" Type="http://schemas.openxmlformats.org/officeDocument/2006/relationships/tags" Target="../tags/tag330.xml"/><Relationship Id="rId63" Type="http://schemas.openxmlformats.org/officeDocument/2006/relationships/tags" Target="../tags/tag346.xml"/><Relationship Id="rId68" Type="http://schemas.openxmlformats.org/officeDocument/2006/relationships/image" Target="../media/image17.emf"/><Relationship Id="rId7" Type="http://schemas.openxmlformats.org/officeDocument/2006/relationships/tags" Target="../tags/tag290.xml"/><Relationship Id="rId2" Type="http://schemas.openxmlformats.org/officeDocument/2006/relationships/tags" Target="../tags/tag285.xml"/><Relationship Id="rId16" Type="http://schemas.openxmlformats.org/officeDocument/2006/relationships/tags" Target="../tags/tag299.xml"/><Relationship Id="rId29" Type="http://schemas.openxmlformats.org/officeDocument/2006/relationships/tags" Target="../tags/tag312.xml"/><Relationship Id="rId11" Type="http://schemas.openxmlformats.org/officeDocument/2006/relationships/tags" Target="../tags/tag294.xml"/><Relationship Id="rId24" Type="http://schemas.openxmlformats.org/officeDocument/2006/relationships/tags" Target="../tags/tag307.xml"/><Relationship Id="rId32" Type="http://schemas.openxmlformats.org/officeDocument/2006/relationships/tags" Target="../tags/tag315.xml"/><Relationship Id="rId37" Type="http://schemas.openxmlformats.org/officeDocument/2006/relationships/tags" Target="../tags/tag320.xml"/><Relationship Id="rId40" Type="http://schemas.openxmlformats.org/officeDocument/2006/relationships/tags" Target="../tags/tag323.xml"/><Relationship Id="rId45" Type="http://schemas.openxmlformats.org/officeDocument/2006/relationships/tags" Target="../tags/tag328.xml"/><Relationship Id="rId53" Type="http://schemas.openxmlformats.org/officeDocument/2006/relationships/tags" Target="../tags/tag336.xml"/><Relationship Id="rId58" Type="http://schemas.openxmlformats.org/officeDocument/2006/relationships/tags" Target="../tags/tag341.xml"/><Relationship Id="rId66" Type="http://schemas.openxmlformats.org/officeDocument/2006/relationships/notesSlide" Target="../notesSlides/notesSlide13.xml"/><Relationship Id="rId5" Type="http://schemas.openxmlformats.org/officeDocument/2006/relationships/tags" Target="../tags/tag288.xml"/><Relationship Id="rId61" Type="http://schemas.openxmlformats.org/officeDocument/2006/relationships/tags" Target="../tags/tag344.xml"/><Relationship Id="rId19" Type="http://schemas.openxmlformats.org/officeDocument/2006/relationships/tags" Target="../tags/tag302.xml"/><Relationship Id="rId14" Type="http://schemas.openxmlformats.org/officeDocument/2006/relationships/tags" Target="../tags/tag297.xml"/><Relationship Id="rId22" Type="http://schemas.openxmlformats.org/officeDocument/2006/relationships/tags" Target="../tags/tag305.xml"/><Relationship Id="rId27" Type="http://schemas.openxmlformats.org/officeDocument/2006/relationships/tags" Target="../tags/tag310.xml"/><Relationship Id="rId30" Type="http://schemas.openxmlformats.org/officeDocument/2006/relationships/tags" Target="../tags/tag313.xml"/><Relationship Id="rId35" Type="http://schemas.openxmlformats.org/officeDocument/2006/relationships/tags" Target="../tags/tag318.xml"/><Relationship Id="rId43" Type="http://schemas.openxmlformats.org/officeDocument/2006/relationships/tags" Target="../tags/tag326.xml"/><Relationship Id="rId48" Type="http://schemas.openxmlformats.org/officeDocument/2006/relationships/tags" Target="../tags/tag331.xml"/><Relationship Id="rId56" Type="http://schemas.openxmlformats.org/officeDocument/2006/relationships/tags" Target="../tags/tag339.xml"/><Relationship Id="rId64" Type="http://schemas.openxmlformats.org/officeDocument/2006/relationships/tags" Target="../tags/tag347.xml"/><Relationship Id="rId69" Type="http://schemas.openxmlformats.org/officeDocument/2006/relationships/chart" Target="../charts/chart9.xml"/><Relationship Id="rId8" Type="http://schemas.openxmlformats.org/officeDocument/2006/relationships/tags" Target="../tags/tag291.xml"/><Relationship Id="rId51" Type="http://schemas.openxmlformats.org/officeDocument/2006/relationships/tags" Target="../tags/tag334.xml"/><Relationship Id="rId3" Type="http://schemas.openxmlformats.org/officeDocument/2006/relationships/tags" Target="../tags/tag286.xml"/><Relationship Id="rId12" Type="http://schemas.openxmlformats.org/officeDocument/2006/relationships/tags" Target="../tags/tag295.xml"/><Relationship Id="rId17" Type="http://schemas.openxmlformats.org/officeDocument/2006/relationships/tags" Target="../tags/tag300.xml"/><Relationship Id="rId25" Type="http://schemas.openxmlformats.org/officeDocument/2006/relationships/tags" Target="../tags/tag308.xml"/><Relationship Id="rId33" Type="http://schemas.openxmlformats.org/officeDocument/2006/relationships/tags" Target="../tags/tag316.xml"/><Relationship Id="rId38" Type="http://schemas.openxmlformats.org/officeDocument/2006/relationships/tags" Target="../tags/tag321.xml"/><Relationship Id="rId46" Type="http://schemas.openxmlformats.org/officeDocument/2006/relationships/tags" Target="../tags/tag329.xml"/><Relationship Id="rId59" Type="http://schemas.openxmlformats.org/officeDocument/2006/relationships/tags" Target="../tags/tag342.xml"/><Relationship Id="rId67" Type="http://schemas.openxmlformats.org/officeDocument/2006/relationships/oleObject" Target="../embeddings/oleObject18.bin"/><Relationship Id="rId20" Type="http://schemas.openxmlformats.org/officeDocument/2006/relationships/tags" Target="../tags/tag303.xml"/><Relationship Id="rId41" Type="http://schemas.openxmlformats.org/officeDocument/2006/relationships/tags" Target="../tags/tag324.xml"/><Relationship Id="rId54" Type="http://schemas.openxmlformats.org/officeDocument/2006/relationships/tags" Target="../tags/tag337.xml"/><Relationship Id="rId62" Type="http://schemas.openxmlformats.org/officeDocument/2006/relationships/tags" Target="../tags/tag345.xml"/><Relationship Id="rId1" Type="http://schemas.openxmlformats.org/officeDocument/2006/relationships/tags" Target="../tags/tag284.xml"/><Relationship Id="rId6" Type="http://schemas.openxmlformats.org/officeDocument/2006/relationships/tags" Target="../tags/tag289.xml"/><Relationship Id="rId15" Type="http://schemas.openxmlformats.org/officeDocument/2006/relationships/tags" Target="../tags/tag298.xml"/><Relationship Id="rId23" Type="http://schemas.openxmlformats.org/officeDocument/2006/relationships/tags" Target="../tags/tag306.xml"/><Relationship Id="rId28" Type="http://schemas.openxmlformats.org/officeDocument/2006/relationships/tags" Target="../tags/tag311.xml"/><Relationship Id="rId36" Type="http://schemas.openxmlformats.org/officeDocument/2006/relationships/tags" Target="../tags/tag319.xml"/><Relationship Id="rId49" Type="http://schemas.openxmlformats.org/officeDocument/2006/relationships/tags" Target="../tags/tag332.xml"/><Relationship Id="rId57" Type="http://schemas.openxmlformats.org/officeDocument/2006/relationships/tags" Target="../tags/tag340.xml"/><Relationship Id="rId10" Type="http://schemas.openxmlformats.org/officeDocument/2006/relationships/tags" Target="../tags/tag293.xml"/><Relationship Id="rId31" Type="http://schemas.openxmlformats.org/officeDocument/2006/relationships/tags" Target="../tags/tag314.xml"/><Relationship Id="rId44" Type="http://schemas.openxmlformats.org/officeDocument/2006/relationships/tags" Target="../tags/tag327.xml"/><Relationship Id="rId52" Type="http://schemas.openxmlformats.org/officeDocument/2006/relationships/tags" Target="../tags/tag335.xml"/><Relationship Id="rId60" Type="http://schemas.openxmlformats.org/officeDocument/2006/relationships/tags" Target="../tags/tag343.xml"/><Relationship Id="rId65" Type="http://schemas.openxmlformats.org/officeDocument/2006/relationships/slideLayout" Target="../slideLayouts/slideLayout5.xml"/><Relationship Id="rId4" Type="http://schemas.openxmlformats.org/officeDocument/2006/relationships/tags" Target="../tags/tag287.xml"/><Relationship Id="rId9" Type="http://schemas.openxmlformats.org/officeDocument/2006/relationships/tags" Target="../tags/tag292.xml"/><Relationship Id="rId13" Type="http://schemas.openxmlformats.org/officeDocument/2006/relationships/tags" Target="../tags/tag296.xml"/><Relationship Id="rId18" Type="http://schemas.openxmlformats.org/officeDocument/2006/relationships/tags" Target="../tags/tag301.xml"/><Relationship Id="rId39" Type="http://schemas.openxmlformats.org/officeDocument/2006/relationships/tags" Target="../tags/tag322.xml"/><Relationship Id="rId34" Type="http://schemas.openxmlformats.org/officeDocument/2006/relationships/tags" Target="../tags/tag317.xml"/><Relationship Id="rId50" Type="http://schemas.openxmlformats.org/officeDocument/2006/relationships/tags" Target="../tags/tag333.xml"/><Relationship Id="rId55" Type="http://schemas.openxmlformats.org/officeDocument/2006/relationships/tags" Target="../tags/tag338.xml"/></Relationships>
</file>

<file path=ppt/slides/_rels/slide14.xml.rels><?xml version="1.0" encoding="UTF-8" standalone="yes"?>
<Relationships xmlns="http://schemas.openxmlformats.org/package/2006/relationships"><Relationship Id="rId26" Type="http://schemas.openxmlformats.org/officeDocument/2006/relationships/tags" Target="../tags/tag373.xml"/><Relationship Id="rId21" Type="http://schemas.openxmlformats.org/officeDocument/2006/relationships/tags" Target="../tags/tag368.xml"/><Relationship Id="rId42" Type="http://schemas.openxmlformats.org/officeDocument/2006/relationships/tags" Target="../tags/tag389.xml"/><Relationship Id="rId47" Type="http://schemas.openxmlformats.org/officeDocument/2006/relationships/tags" Target="../tags/tag394.xml"/><Relationship Id="rId63" Type="http://schemas.openxmlformats.org/officeDocument/2006/relationships/tags" Target="../tags/tag410.xml"/><Relationship Id="rId68" Type="http://schemas.openxmlformats.org/officeDocument/2006/relationships/notesSlide" Target="../notesSlides/notesSlide14.xml"/><Relationship Id="rId7" Type="http://schemas.openxmlformats.org/officeDocument/2006/relationships/tags" Target="../tags/tag354.xml"/><Relationship Id="rId71" Type="http://schemas.openxmlformats.org/officeDocument/2006/relationships/chart" Target="../charts/chart10.xml"/><Relationship Id="rId2" Type="http://schemas.openxmlformats.org/officeDocument/2006/relationships/tags" Target="../tags/tag349.xml"/><Relationship Id="rId16" Type="http://schemas.openxmlformats.org/officeDocument/2006/relationships/tags" Target="../tags/tag363.xml"/><Relationship Id="rId29" Type="http://schemas.openxmlformats.org/officeDocument/2006/relationships/tags" Target="../tags/tag376.xml"/><Relationship Id="rId11" Type="http://schemas.openxmlformats.org/officeDocument/2006/relationships/tags" Target="../tags/tag358.xml"/><Relationship Id="rId24" Type="http://schemas.openxmlformats.org/officeDocument/2006/relationships/tags" Target="../tags/tag371.xml"/><Relationship Id="rId32" Type="http://schemas.openxmlformats.org/officeDocument/2006/relationships/tags" Target="../tags/tag379.xml"/><Relationship Id="rId37" Type="http://schemas.openxmlformats.org/officeDocument/2006/relationships/tags" Target="../tags/tag384.xml"/><Relationship Id="rId40" Type="http://schemas.openxmlformats.org/officeDocument/2006/relationships/tags" Target="../tags/tag387.xml"/><Relationship Id="rId45" Type="http://schemas.openxmlformats.org/officeDocument/2006/relationships/tags" Target="../tags/tag392.xml"/><Relationship Id="rId53" Type="http://schemas.openxmlformats.org/officeDocument/2006/relationships/tags" Target="../tags/tag400.xml"/><Relationship Id="rId58" Type="http://schemas.openxmlformats.org/officeDocument/2006/relationships/tags" Target="../tags/tag405.xml"/><Relationship Id="rId66" Type="http://schemas.openxmlformats.org/officeDocument/2006/relationships/tags" Target="../tags/tag413.xml"/><Relationship Id="rId5" Type="http://schemas.openxmlformats.org/officeDocument/2006/relationships/tags" Target="../tags/tag352.xml"/><Relationship Id="rId61" Type="http://schemas.openxmlformats.org/officeDocument/2006/relationships/tags" Target="../tags/tag408.xml"/><Relationship Id="rId19" Type="http://schemas.openxmlformats.org/officeDocument/2006/relationships/tags" Target="../tags/tag366.xml"/><Relationship Id="rId14" Type="http://schemas.openxmlformats.org/officeDocument/2006/relationships/tags" Target="../tags/tag361.xml"/><Relationship Id="rId22" Type="http://schemas.openxmlformats.org/officeDocument/2006/relationships/tags" Target="../tags/tag369.xml"/><Relationship Id="rId27" Type="http://schemas.openxmlformats.org/officeDocument/2006/relationships/tags" Target="../tags/tag374.xml"/><Relationship Id="rId30" Type="http://schemas.openxmlformats.org/officeDocument/2006/relationships/tags" Target="../tags/tag377.xml"/><Relationship Id="rId35" Type="http://schemas.openxmlformats.org/officeDocument/2006/relationships/tags" Target="../tags/tag382.xml"/><Relationship Id="rId43" Type="http://schemas.openxmlformats.org/officeDocument/2006/relationships/tags" Target="../tags/tag390.xml"/><Relationship Id="rId48" Type="http://schemas.openxmlformats.org/officeDocument/2006/relationships/tags" Target="../tags/tag395.xml"/><Relationship Id="rId56" Type="http://schemas.openxmlformats.org/officeDocument/2006/relationships/tags" Target="../tags/tag403.xml"/><Relationship Id="rId64" Type="http://schemas.openxmlformats.org/officeDocument/2006/relationships/tags" Target="../tags/tag411.xml"/><Relationship Id="rId69" Type="http://schemas.openxmlformats.org/officeDocument/2006/relationships/oleObject" Target="../embeddings/oleObject19.bin"/><Relationship Id="rId8" Type="http://schemas.openxmlformats.org/officeDocument/2006/relationships/tags" Target="../tags/tag355.xml"/><Relationship Id="rId51" Type="http://schemas.openxmlformats.org/officeDocument/2006/relationships/tags" Target="../tags/tag398.xml"/><Relationship Id="rId3" Type="http://schemas.openxmlformats.org/officeDocument/2006/relationships/tags" Target="../tags/tag350.xml"/><Relationship Id="rId12" Type="http://schemas.openxmlformats.org/officeDocument/2006/relationships/tags" Target="../tags/tag359.xml"/><Relationship Id="rId17" Type="http://schemas.openxmlformats.org/officeDocument/2006/relationships/tags" Target="../tags/tag364.xml"/><Relationship Id="rId25" Type="http://schemas.openxmlformats.org/officeDocument/2006/relationships/tags" Target="../tags/tag372.xml"/><Relationship Id="rId33" Type="http://schemas.openxmlformats.org/officeDocument/2006/relationships/tags" Target="../tags/tag380.xml"/><Relationship Id="rId38" Type="http://schemas.openxmlformats.org/officeDocument/2006/relationships/tags" Target="../tags/tag385.xml"/><Relationship Id="rId46" Type="http://schemas.openxmlformats.org/officeDocument/2006/relationships/tags" Target="../tags/tag393.xml"/><Relationship Id="rId59" Type="http://schemas.openxmlformats.org/officeDocument/2006/relationships/tags" Target="../tags/tag406.xml"/><Relationship Id="rId67" Type="http://schemas.openxmlformats.org/officeDocument/2006/relationships/slideLayout" Target="../slideLayouts/slideLayout5.xml"/><Relationship Id="rId20" Type="http://schemas.openxmlformats.org/officeDocument/2006/relationships/tags" Target="../tags/tag367.xml"/><Relationship Id="rId41" Type="http://schemas.openxmlformats.org/officeDocument/2006/relationships/tags" Target="../tags/tag388.xml"/><Relationship Id="rId54" Type="http://schemas.openxmlformats.org/officeDocument/2006/relationships/tags" Target="../tags/tag401.xml"/><Relationship Id="rId62" Type="http://schemas.openxmlformats.org/officeDocument/2006/relationships/tags" Target="../tags/tag409.xml"/><Relationship Id="rId70" Type="http://schemas.openxmlformats.org/officeDocument/2006/relationships/image" Target="../media/image17.emf"/><Relationship Id="rId1" Type="http://schemas.openxmlformats.org/officeDocument/2006/relationships/tags" Target="../tags/tag348.xml"/><Relationship Id="rId6" Type="http://schemas.openxmlformats.org/officeDocument/2006/relationships/tags" Target="../tags/tag353.xml"/><Relationship Id="rId15" Type="http://schemas.openxmlformats.org/officeDocument/2006/relationships/tags" Target="../tags/tag362.xml"/><Relationship Id="rId23" Type="http://schemas.openxmlformats.org/officeDocument/2006/relationships/tags" Target="../tags/tag370.xml"/><Relationship Id="rId28" Type="http://schemas.openxmlformats.org/officeDocument/2006/relationships/tags" Target="../tags/tag375.xml"/><Relationship Id="rId36" Type="http://schemas.openxmlformats.org/officeDocument/2006/relationships/tags" Target="../tags/tag383.xml"/><Relationship Id="rId49" Type="http://schemas.openxmlformats.org/officeDocument/2006/relationships/tags" Target="../tags/tag396.xml"/><Relationship Id="rId57" Type="http://schemas.openxmlformats.org/officeDocument/2006/relationships/tags" Target="../tags/tag404.xml"/><Relationship Id="rId10" Type="http://schemas.openxmlformats.org/officeDocument/2006/relationships/tags" Target="../tags/tag357.xml"/><Relationship Id="rId31" Type="http://schemas.openxmlformats.org/officeDocument/2006/relationships/tags" Target="../tags/tag378.xml"/><Relationship Id="rId44" Type="http://schemas.openxmlformats.org/officeDocument/2006/relationships/tags" Target="../tags/tag391.xml"/><Relationship Id="rId52" Type="http://schemas.openxmlformats.org/officeDocument/2006/relationships/tags" Target="../tags/tag399.xml"/><Relationship Id="rId60" Type="http://schemas.openxmlformats.org/officeDocument/2006/relationships/tags" Target="../tags/tag407.xml"/><Relationship Id="rId65" Type="http://schemas.openxmlformats.org/officeDocument/2006/relationships/tags" Target="../tags/tag412.xml"/><Relationship Id="rId4" Type="http://schemas.openxmlformats.org/officeDocument/2006/relationships/tags" Target="../tags/tag351.xml"/><Relationship Id="rId9" Type="http://schemas.openxmlformats.org/officeDocument/2006/relationships/tags" Target="../tags/tag356.xml"/><Relationship Id="rId13" Type="http://schemas.openxmlformats.org/officeDocument/2006/relationships/tags" Target="../tags/tag360.xml"/><Relationship Id="rId18" Type="http://schemas.openxmlformats.org/officeDocument/2006/relationships/tags" Target="../tags/tag365.xml"/><Relationship Id="rId39" Type="http://schemas.openxmlformats.org/officeDocument/2006/relationships/tags" Target="../tags/tag386.xml"/><Relationship Id="rId34" Type="http://schemas.openxmlformats.org/officeDocument/2006/relationships/tags" Target="../tags/tag381.xml"/><Relationship Id="rId50" Type="http://schemas.openxmlformats.org/officeDocument/2006/relationships/tags" Target="../tags/tag397.xml"/><Relationship Id="rId55" Type="http://schemas.openxmlformats.org/officeDocument/2006/relationships/tags" Target="../tags/tag402.xml"/></Relationships>
</file>

<file path=ppt/slides/_rels/slide15.xml.rels><?xml version="1.0" encoding="UTF-8" standalone="yes"?>
<Relationships xmlns="http://schemas.openxmlformats.org/package/2006/relationships"><Relationship Id="rId13" Type="http://schemas.openxmlformats.org/officeDocument/2006/relationships/tags" Target="../tags/tag426.xml"/><Relationship Id="rId18" Type="http://schemas.openxmlformats.org/officeDocument/2006/relationships/tags" Target="../tags/tag431.xml"/><Relationship Id="rId26" Type="http://schemas.openxmlformats.org/officeDocument/2006/relationships/tags" Target="../tags/tag439.xml"/><Relationship Id="rId39" Type="http://schemas.openxmlformats.org/officeDocument/2006/relationships/hyperlink" Target="https://etwiki.sys.comcast.net/pages/viewpage.action?spaceKey=B2B&amp;title=New+Customer+%2724+-+CB+Merchandising+Calendar" TargetMode="External"/><Relationship Id="rId21" Type="http://schemas.openxmlformats.org/officeDocument/2006/relationships/tags" Target="../tags/tag434.xml"/><Relationship Id="rId34" Type="http://schemas.openxmlformats.org/officeDocument/2006/relationships/tags" Target="../tags/tag447.xml"/><Relationship Id="rId7" Type="http://schemas.openxmlformats.org/officeDocument/2006/relationships/tags" Target="../tags/tag420.xml"/><Relationship Id="rId2" Type="http://schemas.openxmlformats.org/officeDocument/2006/relationships/tags" Target="../tags/tag415.xml"/><Relationship Id="rId16" Type="http://schemas.openxmlformats.org/officeDocument/2006/relationships/tags" Target="../tags/tag429.xml"/><Relationship Id="rId20" Type="http://schemas.openxmlformats.org/officeDocument/2006/relationships/tags" Target="../tags/tag433.xml"/><Relationship Id="rId29" Type="http://schemas.openxmlformats.org/officeDocument/2006/relationships/tags" Target="../tags/tag442.xml"/><Relationship Id="rId1" Type="http://schemas.openxmlformats.org/officeDocument/2006/relationships/tags" Target="../tags/tag414.xml"/><Relationship Id="rId6" Type="http://schemas.openxmlformats.org/officeDocument/2006/relationships/tags" Target="../tags/tag419.xml"/><Relationship Id="rId11" Type="http://schemas.openxmlformats.org/officeDocument/2006/relationships/tags" Target="../tags/tag424.xml"/><Relationship Id="rId24" Type="http://schemas.openxmlformats.org/officeDocument/2006/relationships/tags" Target="../tags/tag437.xml"/><Relationship Id="rId32" Type="http://schemas.openxmlformats.org/officeDocument/2006/relationships/tags" Target="../tags/tag445.xml"/><Relationship Id="rId37" Type="http://schemas.openxmlformats.org/officeDocument/2006/relationships/oleObject" Target="../embeddings/oleObject20.bin"/><Relationship Id="rId40" Type="http://schemas.openxmlformats.org/officeDocument/2006/relationships/customXml" Target="../ink/ink4.xml"/><Relationship Id="rId5" Type="http://schemas.openxmlformats.org/officeDocument/2006/relationships/tags" Target="../tags/tag418.xml"/><Relationship Id="rId15" Type="http://schemas.openxmlformats.org/officeDocument/2006/relationships/tags" Target="../tags/tag428.xml"/><Relationship Id="rId23" Type="http://schemas.openxmlformats.org/officeDocument/2006/relationships/tags" Target="../tags/tag436.xml"/><Relationship Id="rId28" Type="http://schemas.openxmlformats.org/officeDocument/2006/relationships/tags" Target="../tags/tag441.xml"/><Relationship Id="rId36" Type="http://schemas.openxmlformats.org/officeDocument/2006/relationships/notesSlide" Target="../notesSlides/notesSlide15.xml"/><Relationship Id="rId10" Type="http://schemas.openxmlformats.org/officeDocument/2006/relationships/tags" Target="../tags/tag423.xml"/><Relationship Id="rId19" Type="http://schemas.openxmlformats.org/officeDocument/2006/relationships/tags" Target="../tags/tag432.xml"/><Relationship Id="rId31" Type="http://schemas.openxmlformats.org/officeDocument/2006/relationships/tags" Target="../tags/tag444.xml"/><Relationship Id="rId44" Type="http://schemas.openxmlformats.org/officeDocument/2006/relationships/chart" Target="../charts/chart11.xml"/><Relationship Id="rId4" Type="http://schemas.openxmlformats.org/officeDocument/2006/relationships/tags" Target="../tags/tag417.xml"/><Relationship Id="rId9" Type="http://schemas.openxmlformats.org/officeDocument/2006/relationships/tags" Target="../tags/tag422.xml"/><Relationship Id="rId14" Type="http://schemas.openxmlformats.org/officeDocument/2006/relationships/tags" Target="../tags/tag427.xml"/><Relationship Id="rId22" Type="http://schemas.openxmlformats.org/officeDocument/2006/relationships/tags" Target="../tags/tag435.xml"/><Relationship Id="rId27" Type="http://schemas.openxmlformats.org/officeDocument/2006/relationships/tags" Target="../tags/tag440.xml"/><Relationship Id="rId30" Type="http://schemas.openxmlformats.org/officeDocument/2006/relationships/tags" Target="../tags/tag443.xml"/><Relationship Id="rId35" Type="http://schemas.openxmlformats.org/officeDocument/2006/relationships/slideLayout" Target="../slideLayouts/slideLayout5.xml"/><Relationship Id="rId43" Type="http://schemas.openxmlformats.org/officeDocument/2006/relationships/image" Target="../media/image10000.png"/><Relationship Id="rId8" Type="http://schemas.openxmlformats.org/officeDocument/2006/relationships/tags" Target="../tags/tag421.xml"/><Relationship Id="rId3" Type="http://schemas.openxmlformats.org/officeDocument/2006/relationships/tags" Target="../tags/tag416.xml"/><Relationship Id="rId12" Type="http://schemas.openxmlformats.org/officeDocument/2006/relationships/tags" Target="../tags/tag425.xml"/><Relationship Id="rId17" Type="http://schemas.openxmlformats.org/officeDocument/2006/relationships/tags" Target="../tags/tag430.xml"/><Relationship Id="rId25" Type="http://schemas.openxmlformats.org/officeDocument/2006/relationships/tags" Target="../tags/tag438.xml"/><Relationship Id="rId33" Type="http://schemas.openxmlformats.org/officeDocument/2006/relationships/tags" Target="../tags/tag446.xml"/><Relationship Id="rId38" Type="http://schemas.openxmlformats.org/officeDocument/2006/relationships/image" Target="../media/image17.emf"/></Relationships>
</file>

<file path=ppt/slides/_rels/slide16.xml.rels><?xml version="1.0" encoding="UTF-8" standalone="yes"?>
<Relationships xmlns="http://schemas.openxmlformats.org/package/2006/relationships"><Relationship Id="rId26" Type="http://schemas.openxmlformats.org/officeDocument/2006/relationships/tags" Target="../tags/tag473.xml"/><Relationship Id="rId21" Type="http://schemas.openxmlformats.org/officeDocument/2006/relationships/tags" Target="../tags/tag468.xml"/><Relationship Id="rId42" Type="http://schemas.openxmlformats.org/officeDocument/2006/relationships/tags" Target="../tags/tag489.xml"/><Relationship Id="rId47" Type="http://schemas.openxmlformats.org/officeDocument/2006/relationships/tags" Target="../tags/tag494.xml"/><Relationship Id="rId63" Type="http://schemas.openxmlformats.org/officeDocument/2006/relationships/tags" Target="../tags/tag510.xml"/><Relationship Id="rId68" Type="http://schemas.openxmlformats.org/officeDocument/2006/relationships/tags" Target="../tags/tag515.xml"/><Relationship Id="rId84" Type="http://schemas.openxmlformats.org/officeDocument/2006/relationships/tags" Target="../tags/tag531.xml"/><Relationship Id="rId89" Type="http://schemas.openxmlformats.org/officeDocument/2006/relationships/tags" Target="../tags/tag536.xml"/><Relationship Id="rId16" Type="http://schemas.openxmlformats.org/officeDocument/2006/relationships/tags" Target="../tags/tag463.xml"/><Relationship Id="rId11" Type="http://schemas.openxmlformats.org/officeDocument/2006/relationships/tags" Target="../tags/tag458.xml"/><Relationship Id="rId32" Type="http://schemas.openxmlformats.org/officeDocument/2006/relationships/tags" Target="../tags/tag479.xml"/><Relationship Id="rId37" Type="http://schemas.openxmlformats.org/officeDocument/2006/relationships/tags" Target="../tags/tag484.xml"/><Relationship Id="rId53" Type="http://schemas.openxmlformats.org/officeDocument/2006/relationships/tags" Target="../tags/tag500.xml"/><Relationship Id="rId58" Type="http://schemas.openxmlformats.org/officeDocument/2006/relationships/tags" Target="../tags/tag505.xml"/><Relationship Id="rId74" Type="http://schemas.openxmlformats.org/officeDocument/2006/relationships/tags" Target="../tags/tag521.xml"/><Relationship Id="rId79" Type="http://schemas.openxmlformats.org/officeDocument/2006/relationships/tags" Target="../tags/tag526.xml"/><Relationship Id="rId5" Type="http://schemas.openxmlformats.org/officeDocument/2006/relationships/tags" Target="../tags/tag452.xml"/><Relationship Id="rId90" Type="http://schemas.openxmlformats.org/officeDocument/2006/relationships/slideLayout" Target="../slideLayouts/slideLayout5.xml"/><Relationship Id="rId95" Type="http://schemas.openxmlformats.org/officeDocument/2006/relationships/chart" Target="../charts/chart13.xml"/><Relationship Id="rId22" Type="http://schemas.openxmlformats.org/officeDocument/2006/relationships/tags" Target="../tags/tag469.xml"/><Relationship Id="rId27" Type="http://schemas.openxmlformats.org/officeDocument/2006/relationships/tags" Target="../tags/tag474.xml"/><Relationship Id="rId43" Type="http://schemas.openxmlformats.org/officeDocument/2006/relationships/tags" Target="../tags/tag490.xml"/><Relationship Id="rId48" Type="http://schemas.openxmlformats.org/officeDocument/2006/relationships/tags" Target="../tags/tag495.xml"/><Relationship Id="rId64" Type="http://schemas.openxmlformats.org/officeDocument/2006/relationships/tags" Target="../tags/tag511.xml"/><Relationship Id="rId69" Type="http://schemas.openxmlformats.org/officeDocument/2006/relationships/tags" Target="../tags/tag516.xml"/><Relationship Id="rId8" Type="http://schemas.openxmlformats.org/officeDocument/2006/relationships/tags" Target="../tags/tag455.xml"/><Relationship Id="rId51" Type="http://schemas.openxmlformats.org/officeDocument/2006/relationships/tags" Target="../tags/tag498.xml"/><Relationship Id="rId72" Type="http://schemas.openxmlformats.org/officeDocument/2006/relationships/tags" Target="../tags/tag519.xml"/><Relationship Id="rId80" Type="http://schemas.openxmlformats.org/officeDocument/2006/relationships/tags" Target="../tags/tag527.xml"/><Relationship Id="rId85" Type="http://schemas.openxmlformats.org/officeDocument/2006/relationships/tags" Target="../tags/tag532.xml"/><Relationship Id="rId93" Type="http://schemas.openxmlformats.org/officeDocument/2006/relationships/image" Target="../media/image5.emf"/><Relationship Id="rId3" Type="http://schemas.openxmlformats.org/officeDocument/2006/relationships/tags" Target="../tags/tag450.xml"/><Relationship Id="rId12" Type="http://schemas.openxmlformats.org/officeDocument/2006/relationships/tags" Target="../tags/tag459.xml"/><Relationship Id="rId17" Type="http://schemas.openxmlformats.org/officeDocument/2006/relationships/tags" Target="../tags/tag464.xml"/><Relationship Id="rId25" Type="http://schemas.openxmlformats.org/officeDocument/2006/relationships/tags" Target="../tags/tag472.xml"/><Relationship Id="rId33" Type="http://schemas.openxmlformats.org/officeDocument/2006/relationships/tags" Target="../tags/tag480.xml"/><Relationship Id="rId38" Type="http://schemas.openxmlformats.org/officeDocument/2006/relationships/tags" Target="../tags/tag485.xml"/><Relationship Id="rId46" Type="http://schemas.openxmlformats.org/officeDocument/2006/relationships/tags" Target="../tags/tag493.xml"/><Relationship Id="rId59" Type="http://schemas.openxmlformats.org/officeDocument/2006/relationships/tags" Target="../tags/tag506.xml"/><Relationship Id="rId67" Type="http://schemas.openxmlformats.org/officeDocument/2006/relationships/tags" Target="../tags/tag514.xml"/><Relationship Id="rId20" Type="http://schemas.openxmlformats.org/officeDocument/2006/relationships/tags" Target="../tags/tag467.xml"/><Relationship Id="rId41" Type="http://schemas.openxmlformats.org/officeDocument/2006/relationships/tags" Target="../tags/tag488.xml"/><Relationship Id="rId54" Type="http://schemas.openxmlformats.org/officeDocument/2006/relationships/tags" Target="../tags/tag501.xml"/><Relationship Id="rId62" Type="http://schemas.openxmlformats.org/officeDocument/2006/relationships/tags" Target="../tags/tag509.xml"/><Relationship Id="rId70" Type="http://schemas.openxmlformats.org/officeDocument/2006/relationships/tags" Target="../tags/tag517.xml"/><Relationship Id="rId75" Type="http://schemas.openxmlformats.org/officeDocument/2006/relationships/tags" Target="../tags/tag522.xml"/><Relationship Id="rId83" Type="http://schemas.openxmlformats.org/officeDocument/2006/relationships/tags" Target="../tags/tag530.xml"/><Relationship Id="rId88" Type="http://schemas.openxmlformats.org/officeDocument/2006/relationships/tags" Target="../tags/tag535.xml"/><Relationship Id="rId91" Type="http://schemas.openxmlformats.org/officeDocument/2006/relationships/notesSlide" Target="../notesSlides/notesSlide16.xml"/><Relationship Id="rId1" Type="http://schemas.openxmlformats.org/officeDocument/2006/relationships/tags" Target="../tags/tag448.xml"/><Relationship Id="rId6" Type="http://schemas.openxmlformats.org/officeDocument/2006/relationships/tags" Target="../tags/tag453.xml"/><Relationship Id="rId15" Type="http://schemas.openxmlformats.org/officeDocument/2006/relationships/tags" Target="../tags/tag462.xml"/><Relationship Id="rId23" Type="http://schemas.openxmlformats.org/officeDocument/2006/relationships/tags" Target="../tags/tag470.xml"/><Relationship Id="rId28" Type="http://schemas.openxmlformats.org/officeDocument/2006/relationships/tags" Target="../tags/tag475.xml"/><Relationship Id="rId36" Type="http://schemas.openxmlformats.org/officeDocument/2006/relationships/tags" Target="../tags/tag483.xml"/><Relationship Id="rId49" Type="http://schemas.openxmlformats.org/officeDocument/2006/relationships/tags" Target="../tags/tag496.xml"/><Relationship Id="rId57" Type="http://schemas.openxmlformats.org/officeDocument/2006/relationships/tags" Target="../tags/tag504.xml"/><Relationship Id="rId10" Type="http://schemas.openxmlformats.org/officeDocument/2006/relationships/tags" Target="../tags/tag457.xml"/><Relationship Id="rId31" Type="http://schemas.openxmlformats.org/officeDocument/2006/relationships/tags" Target="../tags/tag478.xml"/><Relationship Id="rId44" Type="http://schemas.openxmlformats.org/officeDocument/2006/relationships/tags" Target="../tags/tag491.xml"/><Relationship Id="rId52" Type="http://schemas.openxmlformats.org/officeDocument/2006/relationships/tags" Target="../tags/tag499.xml"/><Relationship Id="rId60" Type="http://schemas.openxmlformats.org/officeDocument/2006/relationships/tags" Target="../tags/tag507.xml"/><Relationship Id="rId65" Type="http://schemas.openxmlformats.org/officeDocument/2006/relationships/tags" Target="../tags/tag512.xml"/><Relationship Id="rId73" Type="http://schemas.openxmlformats.org/officeDocument/2006/relationships/tags" Target="../tags/tag520.xml"/><Relationship Id="rId78" Type="http://schemas.openxmlformats.org/officeDocument/2006/relationships/tags" Target="../tags/tag525.xml"/><Relationship Id="rId81" Type="http://schemas.openxmlformats.org/officeDocument/2006/relationships/tags" Target="../tags/tag528.xml"/><Relationship Id="rId86" Type="http://schemas.openxmlformats.org/officeDocument/2006/relationships/tags" Target="../tags/tag533.xml"/><Relationship Id="rId94" Type="http://schemas.openxmlformats.org/officeDocument/2006/relationships/chart" Target="../charts/chart12.xml"/><Relationship Id="rId4" Type="http://schemas.openxmlformats.org/officeDocument/2006/relationships/tags" Target="../tags/tag451.xml"/><Relationship Id="rId9" Type="http://schemas.openxmlformats.org/officeDocument/2006/relationships/tags" Target="../tags/tag456.xml"/><Relationship Id="rId13" Type="http://schemas.openxmlformats.org/officeDocument/2006/relationships/tags" Target="../tags/tag460.xml"/><Relationship Id="rId18" Type="http://schemas.openxmlformats.org/officeDocument/2006/relationships/tags" Target="../tags/tag465.xml"/><Relationship Id="rId39" Type="http://schemas.openxmlformats.org/officeDocument/2006/relationships/tags" Target="../tags/tag486.xml"/><Relationship Id="rId34" Type="http://schemas.openxmlformats.org/officeDocument/2006/relationships/tags" Target="../tags/tag481.xml"/><Relationship Id="rId50" Type="http://schemas.openxmlformats.org/officeDocument/2006/relationships/tags" Target="../tags/tag497.xml"/><Relationship Id="rId55" Type="http://schemas.openxmlformats.org/officeDocument/2006/relationships/tags" Target="../tags/tag502.xml"/><Relationship Id="rId76" Type="http://schemas.openxmlformats.org/officeDocument/2006/relationships/tags" Target="../tags/tag523.xml"/><Relationship Id="rId7" Type="http://schemas.openxmlformats.org/officeDocument/2006/relationships/tags" Target="../tags/tag454.xml"/><Relationship Id="rId71" Type="http://schemas.openxmlformats.org/officeDocument/2006/relationships/tags" Target="../tags/tag518.xml"/><Relationship Id="rId92" Type="http://schemas.openxmlformats.org/officeDocument/2006/relationships/oleObject" Target="../embeddings/oleObject21.bin"/><Relationship Id="rId2" Type="http://schemas.openxmlformats.org/officeDocument/2006/relationships/tags" Target="../tags/tag449.xml"/><Relationship Id="rId29" Type="http://schemas.openxmlformats.org/officeDocument/2006/relationships/tags" Target="../tags/tag476.xml"/><Relationship Id="rId24" Type="http://schemas.openxmlformats.org/officeDocument/2006/relationships/tags" Target="../tags/tag471.xml"/><Relationship Id="rId40" Type="http://schemas.openxmlformats.org/officeDocument/2006/relationships/tags" Target="../tags/tag487.xml"/><Relationship Id="rId45" Type="http://schemas.openxmlformats.org/officeDocument/2006/relationships/tags" Target="../tags/tag492.xml"/><Relationship Id="rId66" Type="http://schemas.openxmlformats.org/officeDocument/2006/relationships/tags" Target="../tags/tag513.xml"/><Relationship Id="rId87" Type="http://schemas.openxmlformats.org/officeDocument/2006/relationships/tags" Target="../tags/tag534.xml"/><Relationship Id="rId61" Type="http://schemas.openxmlformats.org/officeDocument/2006/relationships/tags" Target="../tags/tag508.xml"/><Relationship Id="rId82" Type="http://schemas.openxmlformats.org/officeDocument/2006/relationships/tags" Target="../tags/tag529.xml"/><Relationship Id="rId19" Type="http://schemas.openxmlformats.org/officeDocument/2006/relationships/tags" Target="../tags/tag466.xml"/><Relationship Id="rId14" Type="http://schemas.openxmlformats.org/officeDocument/2006/relationships/tags" Target="../tags/tag461.xml"/><Relationship Id="rId30" Type="http://schemas.openxmlformats.org/officeDocument/2006/relationships/tags" Target="../tags/tag477.xml"/><Relationship Id="rId35" Type="http://schemas.openxmlformats.org/officeDocument/2006/relationships/tags" Target="../tags/tag482.xml"/><Relationship Id="rId56" Type="http://schemas.openxmlformats.org/officeDocument/2006/relationships/tags" Target="../tags/tag503.xml"/><Relationship Id="rId77" Type="http://schemas.openxmlformats.org/officeDocument/2006/relationships/tags" Target="../tags/tag524.xml"/></Relationships>
</file>

<file path=ppt/slides/_rels/slide17.xml.rels><?xml version="1.0" encoding="UTF-8" standalone="yes"?>
<Relationships xmlns="http://schemas.openxmlformats.org/package/2006/relationships"><Relationship Id="rId26" Type="http://schemas.openxmlformats.org/officeDocument/2006/relationships/tags" Target="../tags/tag562.xml"/><Relationship Id="rId21" Type="http://schemas.openxmlformats.org/officeDocument/2006/relationships/tags" Target="../tags/tag557.xml"/><Relationship Id="rId42" Type="http://schemas.openxmlformats.org/officeDocument/2006/relationships/tags" Target="../tags/tag578.xml"/><Relationship Id="rId47" Type="http://schemas.openxmlformats.org/officeDocument/2006/relationships/tags" Target="../tags/tag583.xml"/><Relationship Id="rId63" Type="http://schemas.openxmlformats.org/officeDocument/2006/relationships/tags" Target="../tags/tag599.xml"/><Relationship Id="rId68" Type="http://schemas.openxmlformats.org/officeDocument/2006/relationships/tags" Target="../tags/tag604.xml"/><Relationship Id="rId84" Type="http://schemas.openxmlformats.org/officeDocument/2006/relationships/tags" Target="../tags/tag620.xml"/><Relationship Id="rId89" Type="http://schemas.openxmlformats.org/officeDocument/2006/relationships/notesSlide" Target="../notesSlides/notesSlide17.xml"/><Relationship Id="rId16" Type="http://schemas.openxmlformats.org/officeDocument/2006/relationships/tags" Target="../tags/tag552.xml"/><Relationship Id="rId11" Type="http://schemas.openxmlformats.org/officeDocument/2006/relationships/tags" Target="../tags/tag547.xml"/><Relationship Id="rId32" Type="http://schemas.openxmlformats.org/officeDocument/2006/relationships/tags" Target="../tags/tag568.xml"/><Relationship Id="rId37" Type="http://schemas.openxmlformats.org/officeDocument/2006/relationships/tags" Target="../tags/tag573.xml"/><Relationship Id="rId53" Type="http://schemas.openxmlformats.org/officeDocument/2006/relationships/tags" Target="../tags/tag589.xml"/><Relationship Id="rId58" Type="http://schemas.openxmlformats.org/officeDocument/2006/relationships/tags" Target="../tags/tag594.xml"/><Relationship Id="rId74" Type="http://schemas.openxmlformats.org/officeDocument/2006/relationships/tags" Target="../tags/tag610.xml"/><Relationship Id="rId79" Type="http://schemas.openxmlformats.org/officeDocument/2006/relationships/tags" Target="../tags/tag615.xml"/><Relationship Id="rId5" Type="http://schemas.openxmlformats.org/officeDocument/2006/relationships/tags" Target="../tags/tag541.xml"/><Relationship Id="rId90" Type="http://schemas.openxmlformats.org/officeDocument/2006/relationships/oleObject" Target="../embeddings/oleObject22.bin"/><Relationship Id="rId22" Type="http://schemas.openxmlformats.org/officeDocument/2006/relationships/tags" Target="../tags/tag558.xml"/><Relationship Id="rId27" Type="http://schemas.openxmlformats.org/officeDocument/2006/relationships/tags" Target="../tags/tag563.xml"/><Relationship Id="rId43" Type="http://schemas.openxmlformats.org/officeDocument/2006/relationships/tags" Target="../tags/tag579.xml"/><Relationship Id="rId48" Type="http://schemas.openxmlformats.org/officeDocument/2006/relationships/tags" Target="../tags/tag584.xml"/><Relationship Id="rId64" Type="http://schemas.openxmlformats.org/officeDocument/2006/relationships/tags" Target="../tags/tag600.xml"/><Relationship Id="rId69" Type="http://schemas.openxmlformats.org/officeDocument/2006/relationships/tags" Target="../tags/tag605.xml"/><Relationship Id="rId8" Type="http://schemas.openxmlformats.org/officeDocument/2006/relationships/tags" Target="../tags/tag544.xml"/><Relationship Id="rId51" Type="http://schemas.openxmlformats.org/officeDocument/2006/relationships/tags" Target="../tags/tag587.xml"/><Relationship Id="rId72" Type="http://schemas.openxmlformats.org/officeDocument/2006/relationships/tags" Target="../tags/tag608.xml"/><Relationship Id="rId80" Type="http://schemas.openxmlformats.org/officeDocument/2006/relationships/tags" Target="../tags/tag616.xml"/><Relationship Id="rId85" Type="http://schemas.openxmlformats.org/officeDocument/2006/relationships/tags" Target="../tags/tag621.xml"/><Relationship Id="rId93" Type="http://schemas.openxmlformats.org/officeDocument/2006/relationships/chart" Target="../charts/chart15.xml"/><Relationship Id="rId3" Type="http://schemas.openxmlformats.org/officeDocument/2006/relationships/tags" Target="../tags/tag539.xml"/><Relationship Id="rId12" Type="http://schemas.openxmlformats.org/officeDocument/2006/relationships/tags" Target="../tags/tag548.xml"/><Relationship Id="rId17" Type="http://schemas.openxmlformats.org/officeDocument/2006/relationships/tags" Target="../tags/tag553.xml"/><Relationship Id="rId25" Type="http://schemas.openxmlformats.org/officeDocument/2006/relationships/tags" Target="../tags/tag561.xml"/><Relationship Id="rId33" Type="http://schemas.openxmlformats.org/officeDocument/2006/relationships/tags" Target="../tags/tag569.xml"/><Relationship Id="rId38" Type="http://schemas.openxmlformats.org/officeDocument/2006/relationships/tags" Target="../tags/tag574.xml"/><Relationship Id="rId46" Type="http://schemas.openxmlformats.org/officeDocument/2006/relationships/tags" Target="../tags/tag582.xml"/><Relationship Id="rId59" Type="http://schemas.openxmlformats.org/officeDocument/2006/relationships/tags" Target="../tags/tag595.xml"/><Relationship Id="rId67" Type="http://schemas.openxmlformats.org/officeDocument/2006/relationships/tags" Target="../tags/tag603.xml"/><Relationship Id="rId20" Type="http://schemas.openxmlformats.org/officeDocument/2006/relationships/tags" Target="../tags/tag556.xml"/><Relationship Id="rId41" Type="http://schemas.openxmlformats.org/officeDocument/2006/relationships/tags" Target="../tags/tag577.xml"/><Relationship Id="rId54" Type="http://schemas.openxmlformats.org/officeDocument/2006/relationships/tags" Target="../tags/tag590.xml"/><Relationship Id="rId62" Type="http://schemas.openxmlformats.org/officeDocument/2006/relationships/tags" Target="../tags/tag598.xml"/><Relationship Id="rId70" Type="http://schemas.openxmlformats.org/officeDocument/2006/relationships/tags" Target="../tags/tag606.xml"/><Relationship Id="rId75" Type="http://schemas.openxmlformats.org/officeDocument/2006/relationships/tags" Target="../tags/tag611.xml"/><Relationship Id="rId83" Type="http://schemas.openxmlformats.org/officeDocument/2006/relationships/tags" Target="../tags/tag619.xml"/><Relationship Id="rId88" Type="http://schemas.openxmlformats.org/officeDocument/2006/relationships/slideLayout" Target="../slideLayouts/slideLayout5.xml"/><Relationship Id="rId91" Type="http://schemas.openxmlformats.org/officeDocument/2006/relationships/image" Target="../media/image5.emf"/><Relationship Id="rId1" Type="http://schemas.openxmlformats.org/officeDocument/2006/relationships/tags" Target="../tags/tag537.xml"/><Relationship Id="rId6" Type="http://schemas.openxmlformats.org/officeDocument/2006/relationships/tags" Target="../tags/tag542.xml"/><Relationship Id="rId15" Type="http://schemas.openxmlformats.org/officeDocument/2006/relationships/tags" Target="../tags/tag551.xml"/><Relationship Id="rId23" Type="http://schemas.openxmlformats.org/officeDocument/2006/relationships/tags" Target="../tags/tag559.xml"/><Relationship Id="rId28" Type="http://schemas.openxmlformats.org/officeDocument/2006/relationships/tags" Target="../tags/tag564.xml"/><Relationship Id="rId36" Type="http://schemas.openxmlformats.org/officeDocument/2006/relationships/tags" Target="../tags/tag572.xml"/><Relationship Id="rId49" Type="http://schemas.openxmlformats.org/officeDocument/2006/relationships/tags" Target="../tags/tag585.xml"/><Relationship Id="rId57" Type="http://schemas.openxmlformats.org/officeDocument/2006/relationships/tags" Target="../tags/tag593.xml"/><Relationship Id="rId10" Type="http://schemas.openxmlformats.org/officeDocument/2006/relationships/tags" Target="../tags/tag546.xml"/><Relationship Id="rId31" Type="http://schemas.openxmlformats.org/officeDocument/2006/relationships/tags" Target="../tags/tag567.xml"/><Relationship Id="rId44" Type="http://schemas.openxmlformats.org/officeDocument/2006/relationships/tags" Target="../tags/tag580.xml"/><Relationship Id="rId52" Type="http://schemas.openxmlformats.org/officeDocument/2006/relationships/tags" Target="../tags/tag588.xml"/><Relationship Id="rId60" Type="http://schemas.openxmlformats.org/officeDocument/2006/relationships/tags" Target="../tags/tag596.xml"/><Relationship Id="rId65" Type="http://schemas.openxmlformats.org/officeDocument/2006/relationships/tags" Target="../tags/tag601.xml"/><Relationship Id="rId73" Type="http://schemas.openxmlformats.org/officeDocument/2006/relationships/tags" Target="../tags/tag609.xml"/><Relationship Id="rId78" Type="http://schemas.openxmlformats.org/officeDocument/2006/relationships/tags" Target="../tags/tag614.xml"/><Relationship Id="rId81" Type="http://schemas.openxmlformats.org/officeDocument/2006/relationships/tags" Target="../tags/tag617.xml"/><Relationship Id="rId86" Type="http://schemas.openxmlformats.org/officeDocument/2006/relationships/tags" Target="../tags/tag622.xml"/><Relationship Id="rId4" Type="http://schemas.openxmlformats.org/officeDocument/2006/relationships/tags" Target="../tags/tag540.xml"/><Relationship Id="rId9" Type="http://schemas.openxmlformats.org/officeDocument/2006/relationships/tags" Target="../tags/tag545.xml"/><Relationship Id="rId13" Type="http://schemas.openxmlformats.org/officeDocument/2006/relationships/tags" Target="../tags/tag549.xml"/><Relationship Id="rId18" Type="http://schemas.openxmlformats.org/officeDocument/2006/relationships/tags" Target="../tags/tag554.xml"/><Relationship Id="rId39" Type="http://schemas.openxmlformats.org/officeDocument/2006/relationships/tags" Target="../tags/tag575.xml"/><Relationship Id="rId34" Type="http://schemas.openxmlformats.org/officeDocument/2006/relationships/tags" Target="../tags/tag570.xml"/><Relationship Id="rId50" Type="http://schemas.openxmlformats.org/officeDocument/2006/relationships/tags" Target="../tags/tag586.xml"/><Relationship Id="rId55" Type="http://schemas.openxmlformats.org/officeDocument/2006/relationships/tags" Target="../tags/tag591.xml"/><Relationship Id="rId76" Type="http://schemas.openxmlformats.org/officeDocument/2006/relationships/tags" Target="../tags/tag612.xml"/><Relationship Id="rId7" Type="http://schemas.openxmlformats.org/officeDocument/2006/relationships/tags" Target="../tags/tag543.xml"/><Relationship Id="rId71" Type="http://schemas.openxmlformats.org/officeDocument/2006/relationships/tags" Target="../tags/tag607.xml"/><Relationship Id="rId92" Type="http://schemas.openxmlformats.org/officeDocument/2006/relationships/chart" Target="../charts/chart14.xml"/><Relationship Id="rId2" Type="http://schemas.openxmlformats.org/officeDocument/2006/relationships/tags" Target="../tags/tag538.xml"/><Relationship Id="rId29" Type="http://schemas.openxmlformats.org/officeDocument/2006/relationships/tags" Target="../tags/tag565.xml"/><Relationship Id="rId24" Type="http://schemas.openxmlformats.org/officeDocument/2006/relationships/tags" Target="../tags/tag560.xml"/><Relationship Id="rId40" Type="http://schemas.openxmlformats.org/officeDocument/2006/relationships/tags" Target="../tags/tag576.xml"/><Relationship Id="rId45" Type="http://schemas.openxmlformats.org/officeDocument/2006/relationships/tags" Target="../tags/tag581.xml"/><Relationship Id="rId66" Type="http://schemas.openxmlformats.org/officeDocument/2006/relationships/tags" Target="../tags/tag602.xml"/><Relationship Id="rId87" Type="http://schemas.openxmlformats.org/officeDocument/2006/relationships/tags" Target="../tags/tag623.xml"/><Relationship Id="rId61" Type="http://schemas.openxmlformats.org/officeDocument/2006/relationships/tags" Target="../tags/tag597.xml"/><Relationship Id="rId82" Type="http://schemas.openxmlformats.org/officeDocument/2006/relationships/tags" Target="../tags/tag618.xml"/><Relationship Id="rId19" Type="http://schemas.openxmlformats.org/officeDocument/2006/relationships/tags" Target="../tags/tag555.xml"/><Relationship Id="rId14" Type="http://schemas.openxmlformats.org/officeDocument/2006/relationships/tags" Target="../tags/tag550.xml"/><Relationship Id="rId30" Type="http://schemas.openxmlformats.org/officeDocument/2006/relationships/tags" Target="../tags/tag566.xml"/><Relationship Id="rId35" Type="http://schemas.openxmlformats.org/officeDocument/2006/relationships/tags" Target="../tags/tag571.xml"/><Relationship Id="rId56" Type="http://schemas.openxmlformats.org/officeDocument/2006/relationships/tags" Target="../tags/tag592.xml"/><Relationship Id="rId77" Type="http://schemas.openxmlformats.org/officeDocument/2006/relationships/tags" Target="../tags/tag613.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3.xml"/><Relationship Id="rId1" Type="http://schemas.openxmlformats.org/officeDocument/2006/relationships/tags" Target="../tags/tag624.xml"/><Relationship Id="rId4" Type="http://schemas.openxmlformats.org/officeDocument/2006/relationships/image" Target="../media/image17.emf"/></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5.xml"/><Relationship Id="rId1" Type="http://schemas.openxmlformats.org/officeDocument/2006/relationships/tags" Target="../tags/tag625.xml"/><Relationship Id="rId6" Type="http://schemas.openxmlformats.org/officeDocument/2006/relationships/image" Target="../media/image1.emf"/><Relationship Id="rId5" Type="http://schemas.openxmlformats.org/officeDocument/2006/relationships/oleObject" Target="../embeddings/oleObject24.bin"/><Relationship Id="rId4" Type="http://schemas.microsoft.com/office/2018/10/relationships/comments" Target="../comments/modernComment_7FFFFB37_35849F2E.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6.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6.xml"/><Relationship Id="rId1" Type="http://schemas.openxmlformats.org/officeDocument/2006/relationships/tags" Target="../tags/tag9.x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6.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9.bin"/></Relationships>
</file>

<file path=ppt/slides/_rels/slide5.xml.rels><?xml version="1.0" encoding="UTF-8" standalone="yes"?>
<Relationships xmlns="http://schemas.openxmlformats.org/package/2006/relationships"><Relationship Id="rId8" Type="http://schemas.openxmlformats.org/officeDocument/2006/relationships/chart" Target="../charts/chart2.xml"/><Relationship Id="rId3" Type="http://schemas.openxmlformats.org/officeDocument/2006/relationships/notesSlide" Target="../notesSlides/notesSlide5.xml"/><Relationship Id="rId7" Type="http://schemas.openxmlformats.org/officeDocument/2006/relationships/chart" Target="../charts/chart1.xml"/><Relationship Id="rId2" Type="http://schemas.openxmlformats.org/officeDocument/2006/relationships/slideLayout" Target="../slideLayouts/slideLayout7.xml"/><Relationship Id="rId1" Type="http://schemas.openxmlformats.org/officeDocument/2006/relationships/tags" Target="../tags/tag11.xml"/><Relationship Id="rId6" Type="http://schemas.openxmlformats.org/officeDocument/2006/relationships/image" Target="../media/image18.png"/><Relationship Id="rId5" Type="http://schemas.openxmlformats.org/officeDocument/2006/relationships/image" Target="../media/image5.emf"/><Relationship Id="rId4" Type="http://schemas.openxmlformats.org/officeDocument/2006/relationships/oleObject" Target="../embeddings/oleObject10.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5.xml"/><Relationship Id="rId1" Type="http://schemas.openxmlformats.org/officeDocument/2006/relationships/tags" Target="../tags/tag12.xml"/><Relationship Id="rId5" Type="http://schemas.openxmlformats.org/officeDocument/2006/relationships/image" Target="../media/image5.emf"/><Relationship Id="rId4" Type="http://schemas.openxmlformats.org/officeDocument/2006/relationships/oleObject" Target="../embeddings/oleObject11.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5.xml"/><Relationship Id="rId1" Type="http://schemas.openxmlformats.org/officeDocument/2006/relationships/tags" Target="../tags/tag13.xml"/><Relationship Id="rId5" Type="http://schemas.openxmlformats.org/officeDocument/2006/relationships/image" Target="../media/image5.emf"/><Relationship Id="rId4" Type="http://schemas.openxmlformats.org/officeDocument/2006/relationships/oleObject" Target="../embeddings/oleObject12.bin"/></Relationships>
</file>

<file path=ppt/slides/_rels/slide8.xml.rels><?xml version="1.0" encoding="UTF-8" standalone="yes"?>
<Relationships xmlns="http://schemas.openxmlformats.org/package/2006/relationships"><Relationship Id="rId13" Type="http://schemas.openxmlformats.org/officeDocument/2006/relationships/tags" Target="../tags/tag26.xml"/><Relationship Id="rId18" Type="http://schemas.openxmlformats.org/officeDocument/2006/relationships/tags" Target="../tags/tag31.xml"/><Relationship Id="rId26" Type="http://schemas.openxmlformats.org/officeDocument/2006/relationships/tags" Target="../tags/tag39.xml"/><Relationship Id="rId39" Type="http://schemas.openxmlformats.org/officeDocument/2006/relationships/tags" Target="../tags/tag52.xml"/><Relationship Id="rId21" Type="http://schemas.openxmlformats.org/officeDocument/2006/relationships/tags" Target="../tags/tag34.xml"/><Relationship Id="rId34" Type="http://schemas.openxmlformats.org/officeDocument/2006/relationships/tags" Target="../tags/tag47.xml"/><Relationship Id="rId42" Type="http://schemas.openxmlformats.org/officeDocument/2006/relationships/tags" Target="../tags/tag55.xml"/><Relationship Id="rId47" Type="http://schemas.openxmlformats.org/officeDocument/2006/relationships/image" Target="../media/image17.emf"/><Relationship Id="rId7" Type="http://schemas.openxmlformats.org/officeDocument/2006/relationships/tags" Target="../tags/tag20.xml"/><Relationship Id="rId2" Type="http://schemas.openxmlformats.org/officeDocument/2006/relationships/tags" Target="../tags/tag15.xml"/><Relationship Id="rId16" Type="http://schemas.openxmlformats.org/officeDocument/2006/relationships/tags" Target="../tags/tag29.xml"/><Relationship Id="rId29" Type="http://schemas.openxmlformats.org/officeDocument/2006/relationships/tags" Target="../tags/tag42.xml"/><Relationship Id="rId11" Type="http://schemas.openxmlformats.org/officeDocument/2006/relationships/tags" Target="../tags/tag24.xml"/><Relationship Id="rId24" Type="http://schemas.openxmlformats.org/officeDocument/2006/relationships/tags" Target="../tags/tag37.xml"/><Relationship Id="rId32" Type="http://schemas.openxmlformats.org/officeDocument/2006/relationships/tags" Target="../tags/tag45.xml"/><Relationship Id="rId37" Type="http://schemas.openxmlformats.org/officeDocument/2006/relationships/tags" Target="../tags/tag50.xml"/><Relationship Id="rId40" Type="http://schemas.openxmlformats.org/officeDocument/2006/relationships/tags" Target="../tags/tag53.xml"/><Relationship Id="rId45" Type="http://schemas.openxmlformats.org/officeDocument/2006/relationships/notesSlide" Target="../notesSlides/notesSlide8.xml"/><Relationship Id="rId5" Type="http://schemas.openxmlformats.org/officeDocument/2006/relationships/tags" Target="../tags/tag18.xml"/><Relationship Id="rId15" Type="http://schemas.openxmlformats.org/officeDocument/2006/relationships/tags" Target="../tags/tag28.xml"/><Relationship Id="rId23" Type="http://schemas.openxmlformats.org/officeDocument/2006/relationships/tags" Target="../tags/tag36.xml"/><Relationship Id="rId28" Type="http://schemas.openxmlformats.org/officeDocument/2006/relationships/tags" Target="../tags/tag41.xml"/><Relationship Id="rId36" Type="http://schemas.openxmlformats.org/officeDocument/2006/relationships/tags" Target="../tags/tag49.xml"/><Relationship Id="rId49" Type="http://schemas.openxmlformats.org/officeDocument/2006/relationships/customXml" Target="../ink/ink1.xml"/><Relationship Id="rId57" Type="http://schemas.openxmlformats.org/officeDocument/2006/relationships/image" Target="../media/image1000.png"/><Relationship Id="rId10" Type="http://schemas.openxmlformats.org/officeDocument/2006/relationships/tags" Target="../tags/tag23.xml"/><Relationship Id="rId19" Type="http://schemas.openxmlformats.org/officeDocument/2006/relationships/tags" Target="../tags/tag32.xml"/><Relationship Id="rId31" Type="http://schemas.openxmlformats.org/officeDocument/2006/relationships/tags" Target="../tags/tag44.xml"/><Relationship Id="rId44" Type="http://schemas.openxmlformats.org/officeDocument/2006/relationships/slideLayout" Target="../slideLayouts/slideLayout5.xml"/><Relationship Id="rId4" Type="http://schemas.openxmlformats.org/officeDocument/2006/relationships/tags" Target="../tags/tag17.xml"/><Relationship Id="rId9" Type="http://schemas.openxmlformats.org/officeDocument/2006/relationships/tags" Target="../tags/tag22.xml"/><Relationship Id="rId14" Type="http://schemas.openxmlformats.org/officeDocument/2006/relationships/tags" Target="../tags/tag27.xml"/><Relationship Id="rId22" Type="http://schemas.openxmlformats.org/officeDocument/2006/relationships/tags" Target="../tags/tag35.xml"/><Relationship Id="rId27" Type="http://schemas.openxmlformats.org/officeDocument/2006/relationships/tags" Target="../tags/tag40.xml"/><Relationship Id="rId30" Type="http://schemas.openxmlformats.org/officeDocument/2006/relationships/tags" Target="../tags/tag43.xml"/><Relationship Id="rId35" Type="http://schemas.openxmlformats.org/officeDocument/2006/relationships/tags" Target="../tags/tag48.xml"/><Relationship Id="rId43" Type="http://schemas.openxmlformats.org/officeDocument/2006/relationships/tags" Target="../tags/tag56.xml"/><Relationship Id="rId48" Type="http://schemas.openxmlformats.org/officeDocument/2006/relationships/chart" Target="../charts/chart3.xml"/><Relationship Id="rId8" Type="http://schemas.openxmlformats.org/officeDocument/2006/relationships/tags" Target="../tags/tag21.xml"/><Relationship Id="rId3" Type="http://schemas.openxmlformats.org/officeDocument/2006/relationships/tags" Target="../tags/tag16.xml"/><Relationship Id="rId12" Type="http://schemas.openxmlformats.org/officeDocument/2006/relationships/tags" Target="../tags/tag25.xml"/><Relationship Id="rId17" Type="http://schemas.openxmlformats.org/officeDocument/2006/relationships/tags" Target="../tags/tag30.xml"/><Relationship Id="rId25" Type="http://schemas.openxmlformats.org/officeDocument/2006/relationships/tags" Target="../tags/tag38.xml"/><Relationship Id="rId33" Type="http://schemas.openxmlformats.org/officeDocument/2006/relationships/tags" Target="../tags/tag46.xml"/><Relationship Id="rId38" Type="http://schemas.openxmlformats.org/officeDocument/2006/relationships/tags" Target="../tags/tag51.xml"/><Relationship Id="rId46" Type="http://schemas.openxmlformats.org/officeDocument/2006/relationships/oleObject" Target="../embeddings/oleObject13.bin"/><Relationship Id="rId20" Type="http://schemas.openxmlformats.org/officeDocument/2006/relationships/tags" Target="../tags/tag33.xml"/><Relationship Id="rId41" Type="http://schemas.openxmlformats.org/officeDocument/2006/relationships/tags" Target="../tags/tag54.xml"/><Relationship Id="rId1" Type="http://schemas.openxmlformats.org/officeDocument/2006/relationships/tags" Target="../tags/tag14.xml"/><Relationship Id="rId6" Type="http://schemas.openxmlformats.org/officeDocument/2006/relationships/tags" Target="../tags/tag19.xml"/></Relationships>
</file>

<file path=ppt/slides/_rels/slide9.xml.rels><?xml version="1.0" encoding="UTF-8" standalone="yes"?>
<Relationships xmlns="http://schemas.openxmlformats.org/package/2006/relationships"><Relationship Id="rId26" Type="http://schemas.openxmlformats.org/officeDocument/2006/relationships/tags" Target="../tags/tag82.xml"/><Relationship Id="rId21" Type="http://schemas.openxmlformats.org/officeDocument/2006/relationships/tags" Target="../tags/tag77.xml"/><Relationship Id="rId42" Type="http://schemas.openxmlformats.org/officeDocument/2006/relationships/tags" Target="../tags/tag98.xml"/><Relationship Id="rId47" Type="http://schemas.openxmlformats.org/officeDocument/2006/relationships/tags" Target="../tags/tag103.xml"/><Relationship Id="rId63" Type="http://schemas.openxmlformats.org/officeDocument/2006/relationships/tags" Target="../tags/tag119.xml"/><Relationship Id="rId68" Type="http://schemas.openxmlformats.org/officeDocument/2006/relationships/tags" Target="../tags/tag124.xml"/><Relationship Id="rId84" Type="http://schemas.openxmlformats.org/officeDocument/2006/relationships/tags" Target="../tags/tag140.xml"/><Relationship Id="rId89" Type="http://schemas.openxmlformats.org/officeDocument/2006/relationships/tags" Target="../tags/tag145.xml"/><Relationship Id="rId16" Type="http://schemas.openxmlformats.org/officeDocument/2006/relationships/tags" Target="../tags/tag72.xml"/><Relationship Id="rId11" Type="http://schemas.openxmlformats.org/officeDocument/2006/relationships/tags" Target="../tags/tag67.xml"/><Relationship Id="rId32" Type="http://schemas.openxmlformats.org/officeDocument/2006/relationships/tags" Target="../tags/tag88.xml"/><Relationship Id="rId37" Type="http://schemas.openxmlformats.org/officeDocument/2006/relationships/tags" Target="../tags/tag93.xml"/><Relationship Id="rId53" Type="http://schemas.openxmlformats.org/officeDocument/2006/relationships/tags" Target="../tags/tag109.xml"/><Relationship Id="rId58" Type="http://schemas.openxmlformats.org/officeDocument/2006/relationships/tags" Target="../tags/tag114.xml"/><Relationship Id="rId74" Type="http://schemas.openxmlformats.org/officeDocument/2006/relationships/tags" Target="../tags/tag130.xml"/><Relationship Id="rId79" Type="http://schemas.openxmlformats.org/officeDocument/2006/relationships/tags" Target="../tags/tag135.xml"/><Relationship Id="rId5" Type="http://schemas.openxmlformats.org/officeDocument/2006/relationships/tags" Target="../tags/tag61.xml"/><Relationship Id="rId90" Type="http://schemas.openxmlformats.org/officeDocument/2006/relationships/tags" Target="../tags/tag146.xml"/><Relationship Id="rId95" Type="http://schemas.openxmlformats.org/officeDocument/2006/relationships/image" Target="../media/image5.emf"/><Relationship Id="rId22" Type="http://schemas.openxmlformats.org/officeDocument/2006/relationships/tags" Target="../tags/tag78.xml"/><Relationship Id="rId27" Type="http://schemas.openxmlformats.org/officeDocument/2006/relationships/tags" Target="../tags/tag83.xml"/><Relationship Id="rId43" Type="http://schemas.openxmlformats.org/officeDocument/2006/relationships/tags" Target="../tags/tag99.xml"/><Relationship Id="rId48" Type="http://schemas.openxmlformats.org/officeDocument/2006/relationships/tags" Target="../tags/tag104.xml"/><Relationship Id="rId64" Type="http://schemas.openxmlformats.org/officeDocument/2006/relationships/tags" Target="../tags/tag120.xml"/><Relationship Id="rId69" Type="http://schemas.openxmlformats.org/officeDocument/2006/relationships/tags" Target="../tags/tag125.xml"/><Relationship Id="rId80" Type="http://schemas.openxmlformats.org/officeDocument/2006/relationships/tags" Target="../tags/tag136.xml"/><Relationship Id="rId85" Type="http://schemas.openxmlformats.org/officeDocument/2006/relationships/tags" Target="../tags/tag141.xml"/><Relationship Id="rId3" Type="http://schemas.openxmlformats.org/officeDocument/2006/relationships/tags" Target="../tags/tag59.xml"/><Relationship Id="rId12" Type="http://schemas.openxmlformats.org/officeDocument/2006/relationships/tags" Target="../tags/tag68.xml"/><Relationship Id="rId17" Type="http://schemas.openxmlformats.org/officeDocument/2006/relationships/tags" Target="../tags/tag73.xml"/><Relationship Id="rId25" Type="http://schemas.openxmlformats.org/officeDocument/2006/relationships/tags" Target="../tags/tag81.xml"/><Relationship Id="rId33" Type="http://schemas.openxmlformats.org/officeDocument/2006/relationships/tags" Target="../tags/tag89.xml"/><Relationship Id="rId38" Type="http://schemas.openxmlformats.org/officeDocument/2006/relationships/tags" Target="../tags/tag94.xml"/><Relationship Id="rId46" Type="http://schemas.openxmlformats.org/officeDocument/2006/relationships/tags" Target="../tags/tag102.xml"/><Relationship Id="rId59" Type="http://schemas.openxmlformats.org/officeDocument/2006/relationships/tags" Target="../tags/tag115.xml"/><Relationship Id="rId67" Type="http://schemas.openxmlformats.org/officeDocument/2006/relationships/tags" Target="../tags/tag123.xml"/><Relationship Id="rId20" Type="http://schemas.openxmlformats.org/officeDocument/2006/relationships/tags" Target="../tags/tag76.xml"/><Relationship Id="rId41" Type="http://schemas.openxmlformats.org/officeDocument/2006/relationships/tags" Target="../tags/tag97.xml"/><Relationship Id="rId54" Type="http://schemas.openxmlformats.org/officeDocument/2006/relationships/tags" Target="../tags/tag110.xml"/><Relationship Id="rId62" Type="http://schemas.openxmlformats.org/officeDocument/2006/relationships/tags" Target="../tags/tag118.xml"/><Relationship Id="rId70" Type="http://schemas.openxmlformats.org/officeDocument/2006/relationships/tags" Target="../tags/tag126.xml"/><Relationship Id="rId75" Type="http://schemas.openxmlformats.org/officeDocument/2006/relationships/tags" Target="../tags/tag131.xml"/><Relationship Id="rId83" Type="http://schemas.openxmlformats.org/officeDocument/2006/relationships/tags" Target="../tags/tag139.xml"/><Relationship Id="rId88" Type="http://schemas.openxmlformats.org/officeDocument/2006/relationships/tags" Target="../tags/tag144.xml"/><Relationship Id="rId91" Type="http://schemas.openxmlformats.org/officeDocument/2006/relationships/tags" Target="../tags/tag147.xml"/><Relationship Id="rId96" Type="http://schemas.openxmlformats.org/officeDocument/2006/relationships/chart" Target="../charts/chart4.xml"/><Relationship Id="rId1" Type="http://schemas.openxmlformats.org/officeDocument/2006/relationships/tags" Target="../tags/tag57.xml"/><Relationship Id="rId6" Type="http://schemas.openxmlformats.org/officeDocument/2006/relationships/tags" Target="../tags/tag62.xml"/><Relationship Id="rId15" Type="http://schemas.openxmlformats.org/officeDocument/2006/relationships/tags" Target="../tags/tag71.xml"/><Relationship Id="rId23" Type="http://schemas.openxmlformats.org/officeDocument/2006/relationships/tags" Target="../tags/tag79.xml"/><Relationship Id="rId28" Type="http://schemas.openxmlformats.org/officeDocument/2006/relationships/tags" Target="../tags/tag84.xml"/><Relationship Id="rId36" Type="http://schemas.openxmlformats.org/officeDocument/2006/relationships/tags" Target="../tags/tag92.xml"/><Relationship Id="rId49" Type="http://schemas.openxmlformats.org/officeDocument/2006/relationships/tags" Target="../tags/tag105.xml"/><Relationship Id="rId57" Type="http://schemas.openxmlformats.org/officeDocument/2006/relationships/tags" Target="../tags/tag113.xml"/><Relationship Id="rId10" Type="http://schemas.openxmlformats.org/officeDocument/2006/relationships/tags" Target="../tags/tag66.xml"/><Relationship Id="rId31" Type="http://schemas.openxmlformats.org/officeDocument/2006/relationships/tags" Target="../tags/tag87.xml"/><Relationship Id="rId44" Type="http://schemas.openxmlformats.org/officeDocument/2006/relationships/tags" Target="../tags/tag100.xml"/><Relationship Id="rId52" Type="http://schemas.openxmlformats.org/officeDocument/2006/relationships/tags" Target="../tags/tag108.xml"/><Relationship Id="rId60" Type="http://schemas.openxmlformats.org/officeDocument/2006/relationships/tags" Target="../tags/tag116.xml"/><Relationship Id="rId65" Type="http://schemas.openxmlformats.org/officeDocument/2006/relationships/tags" Target="../tags/tag121.xml"/><Relationship Id="rId73" Type="http://schemas.openxmlformats.org/officeDocument/2006/relationships/tags" Target="../tags/tag129.xml"/><Relationship Id="rId78" Type="http://schemas.openxmlformats.org/officeDocument/2006/relationships/tags" Target="../tags/tag134.xml"/><Relationship Id="rId81" Type="http://schemas.openxmlformats.org/officeDocument/2006/relationships/tags" Target="../tags/tag137.xml"/><Relationship Id="rId86" Type="http://schemas.openxmlformats.org/officeDocument/2006/relationships/tags" Target="../tags/tag142.xml"/><Relationship Id="rId94" Type="http://schemas.openxmlformats.org/officeDocument/2006/relationships/oleObject" Target="../embeddings/oleObject14.bin"/><Relationship Id="rId4" Type="http://schemas.openxmlformats.org/officeDocument/2006/relationships/tags" Target="../tags/tag60.xml"/><Relationship Id="rId9" Type="http://schemas.openxmlformats.org/officeDocument/2006/relationships/tags" Target="../tags/tag65.xml"/><Relationship Id="rId13" Type="http://schemas.openxmlformats.org/officeDocument/2006/relationships/tags" Target="../tags/tag69.xml"/><Relationship Id="rId18" Type="http://schemas.openxmlformats.org/officeDocument/2006/relationships/tags" Target="../tags/tag74.xml"/><Relationship Id="rId39" Type="http://schemas.openxmlformats.org/officeDocument/2006/relationships/tags" Target="../tags/tag95.xml"/><Relationship Id="rId34" Type="http://schemas.openxmlformats.org/officeDocument/2006/relationships/tags" Target="../tags/tag90.xml"/><Relationship Id="rId50" Type="http://schemas.openxmlformats.org/officeDocument/2006/relationships/tags" Target="../tags/tag106.xml"/><Relationship Id="rId55" Type="http://schemas.openxmlformats.org/officeDocument/2006/relationships/tags" Target="../tags/tag111.xml"/><Relationship Id="rId76" Type="http://schemas.openxmlformats.org/officeDocument/2006/relationships/tags" Target="../tags/tag132.xml"/><Relationship Id="rId97" Type="http://schemas.openxmlformats.org/officeDocument/2006/relationships/chart" Target="../charts/chart5.xml"/><Relationship Id="rId7" Type="http://schemas.openxmlformats.org/officeDocument/2006/relationships/tags" Target="../tags/tag63.xml"/><Relationship Id="rId71" Type="http://schemas.openxmlformats.org/officeDocument/2006/relationships/tags" Target="../tags/tag127.xml"/><Relationship Id="rId92" Type="http://schemas.openxmlformats.org/officeDocument/2006/relationships/slideLayout" Target="../slideLayouts/slideLayout5.xml"/><Relationship Id="rId2" Type="http://schemas.openxmlformats.org/officeDocument/2006/relationships/tags" Target="../tags/tag58.xml"/><Relationship Id="rId29" Type="http://schemas.openxmlformats.org/officeDocument/2006/relationships/tags" Target="../tags/tag85.xml"/><Relationship Id="rId24" Type="http://schemas.openxmlformats.org/officeDocument/2006/relationships/tags" Target="../tags/tag80.xml"/><Relationship Id="rId40" Type="http://schemas.openxmlformats.org/officeDocument/2006/relationships/tags" Target="../tags/tag96.xml"/><Relationship Id="rId45" Type="http://schemas.openxmlformats.org/officeDocument/2006/relationships/tags" Target="../tags/tag101.xml"/><Relationship Id="rId66" Type="http://schemas.openxmlformats.org/officeDocument/2006/relationships/tags" Target="../tags/tag122.xml"/><Relationship Id="rId87" Type="http://schemas.openxmlformats.org/officeDocument/2006/relationships/tags" Target="../tags/tag143.xml"/><Relationship Id="rId61" Type="http://schemas.openxmlformats.org/officeDocument/2006/relationships/tags" Target="../tags/tag117.xml"/><Relationship Id="rId82" Type="http://schemas.openxmlformats.org/officeDocument/2006/relationships/tags" Target="../tags/tag138.xml"/><Relationship Id="rId19" Type="http://schemas.openxmlformats.org/officeDocument/2006/relationships/tags" Target="../tags/tag75.xml"/><Relationship Id="rId14" Type="http://schemas.openxmlformats.org/officeDocument/2006/relationships/tags" Target="../tags/tag70.xml"/><Relationship Id="rId30" Type="http://schemas.openxmlformats.org/officeDocument/2006/relationships/tags" Target="../tags/tag86.xml"/><Relationship Id="rId35" Type="http://schemas.openxmlformats.org/officeDocument/2006/relationships/tags" Target="../tags/tag91.xml"/><Relationship Id="rId56" Type="http://schemas.openxmlformats.org/officeDocument/2006/relationships/tags" Target="../tags/tag112.xml"/><Relationship Id="rId77" Type="http://schemas.openxmlformats.org/officeDocument/2006/relationships/tags" Target="../tags/tag133.xml"/><Relationship Id="rId8" Type="http://schemas.openxmlformats.org/officeDocument/2006/relationships/tags" Target="../tags/tag64.xml"/><Relationship Id="rId51" Type="http://schemas.openxmlformats.org/officeDocument/2006/relationships/tags" Target="../tags/tag107.xml"/><Relationship Id="rId72" Type="http://schemas.openxmlformats.org/officeDocument/2006/relationships/tags" Target="../tags/tag128.xml"/><Relationship Id="rId93"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2F44E81-1CF3-4C09-AA3F-F83D01764D00}"/>
              </a:ext>
            </a:extLst>
          </p:cNvPr>
          <p:cNvGraphicFramePr>
            <a:graphicFrameLocks noChangeAspect="1"/>
          </p:cNvGraphicFramePr>
          <p:nvPr>
            <p:custDataLst>
              <p:tags r:id="rId1"/>
            </p:custDataLst>
            <p:extLst>
              <p:ext uri="{D42A27DB-BD31-4B8C-83A1-F6EECF244321}">
                <p14:modId xmlns:p14="http://schemas.microsoft.com/office/powerpoint/2010/main" val="14352058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17" imgH="318" progId="TCLayout.ActiveDocument.1">
                  <p:embed/>
                </p:oleObj>
              </mc:Choice>
              <mc:Fallback>
                <p:oleObj name="think-cell Slide" r:id="rId4" imgW="317" imgH="318" progId="TCLayout.ActiveDocument.1">
                  <p:embed/>
                  <p:pic>
                    <p:nvPicPr>
                      <p:cNvPr id="7" name="think-cell data - do not delete" hidden="1">
                        <a:extLst>
                          <a:ext uri="{FF2B5EF4-FFF2-40B4-BE49-F238E27FC236}">
                            <a16:creationId xmlns:a16="http://schemas.microsoft.com/office/drawing/2014/main" id="{E2F44E81-1CF3-4C09-AA3F-F83D01764D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81BF796-4FC3-09E4-BFE9-C84B66A84853}"/>
              </a:ext>
            </a:extLst>
          </p:cNvPr>
          <p:cNvSpPr>
            <a:spLocks noGrp="1"/>
          </p:cNvSpPr>
          <p:nvPr>
            <p:ph type="title"/>
          </p:nvPr>
        </p:nvSpPr>
        <p:spPr/>
        <p:txBody>
          <a:bodyPr vert="horz"/>
          <a:lstStyle/>
          <a:p>
            <a:r>
              <a:rPr lang="en-US" dirty="0">
                <a:latin typeface="+mn-lt"/>
              </a:rPr>
              <a:t>May Digital Performance</a:t>
            </a:r>
          </a:p>
        </p:txBody>
      </p:sp>
      <p:sp>
        <p:nvSpPr>
          <p:cNvPr id="3" name="Text Placeholder 2">
            <a:extLst>
              <a:ext uri="{FF2B5EF4-FFF2-40B4-BE49-F238E27FC236}">
                <a16:creationId xmlns:a16="http://schemas.microsoft.com/office/drawing/2014/main" id="{FE692A33-364D-0DA9-547B-B135D52BFFCF}"/>
              </a:ext>
            </a:extLst>
          </p:cNvPr>
          <p:cNvSpPr>
            <a:spLocks noGrp="1"/>
          </p:cNvSpPr>
          <p:nvPr>
            <p:ph type="body" idx="1"/>
          </p:nvPr>
        </p:nvSpPr>
        <p:spPr/>
        <p:txBody>
          <a:bodyPr/>
          <a:lstStyle/>
          <a:p>
            <a:r>
              <a:rPr lang="en-US" dirty="0"/>
              <a:t>[date]</a:t>
            </a:r>
          </a:p>
        </p:txBody>
      </p:sp>
      <p:sp>
        <p:nvSpPr>
          <p:cNvPr id="4" name="Slide Number Placeholder 3">
            <a:extLst>
              <a:ext uri="{FF2B5EF4-FFF2-40B4-BE49-F238E27FC236}">
                <a16:creationId xmlns:a16="http://schemas.microsoft.com/office/drawing/2014/main" id="{ACBF4B35-5302-DFA7-98B9-930ADEB0DC89}"/>
              </a:ext>
            </a:extLst>
          </p:cNvPr>
          <p:cNvSpPr>
            <a:spLocks noGrp="1"/>
          </p:cNvSpPr>
          <p:nvPr>
            <p:ph type="sldNum" sz="quarter" idx="10"/>
          </p:nvPr>
        </p:nvSpPr>
        <p:spPr/>
        <p:txBody>
          <a:bodyPr/>
          <a:lstStyle/>
          <a:p>
            <a:fld id="{E147F4B0-95A8-43DB-BFB5-8B095617379B}" type="slidenum">
              <a:rPr lang="en-US" smtClean="0"/>
              <a:pPr/>
              <a:t>1</a:t>
            </a:fld>
            <a:endParaRPr lang="en-US"/>
          </a:p>
        </p:txBody>
      </p:sp>
      <p:sp>
        <p:nvSpPr>
          <p:cNvPr id="5" name="Footer Placeholder 4">
            <a:extLst>
              <a:ext uri="{FF2B5EF4-FFF2-40B4-BE49-F238E27FC236}">
                <a16:creationId xmlns:a16="http://schemas.microsoft.com/office/drawing/2014/main" id="{18A364F6-C516-A527-1356-0D2271F075A0}"/>
              </a:ext>
            </a:extLst>
          </p:cNvPr>
          <p:cNvSpPr>
            <a:spLocks noGrp="1"/>
          </p:cNvSpPr>
          <p:nvPr>
            <p:ph type="ftr" sz="quarter" idx="11"/>
          </p:nvPr>
        </p:nvSpPr>
        <p:spPr/>
        <p:txBody>
          <a:bodyPr/>
          <a:lstStyle/>
          <a:p>
            <a:r>
              <a:rPr lang="en-US"/>
              <a:t>© 2024 Comcast. All rights reserved.</a:t>
            </a:r>
          </a:p>
        </p:txBody>
      </p:sp>
    </p:spTree>
    <p:extLst>
      <p:ext uri="{BB962C8B-B14F-4D97-AF65-F5344CB8AC3E}">
        <p14:creationId xmlns:p14="http://schemas.microsoft.com/office/powerpoint/2010/main" val="232702349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37480E6-E559-4F76-AF62-08CFD224694D}"/>
              </a:ext>
            </a:extLst>
          </p:cNvPr>
          <p:cNvGraphicFramePr>
            <a:graphicFrameLocks noChangeAspect="1"/>
          </p:cNvGraphicFramePr>
          <p:nvPr>
            <p:custDataLst>
              <p:tags r:id="rId1"/>
            </p:custDataLst>
            <p:extLst>
              <p:ext uri="{D42A27DB-BD31-4B8C-83A1-F6EECF244321}">
                <p14:modId xmlns:p14="http://schemas.microsoft.com/office/powerpoint/2010/main" val="4397954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7" imgW="317" imgH="318" progId="TCLayout.ActiveDocument.1">
                  <p:embed/>
                </p:oleObj>
              </mc:Choice>
              <mc:Fallback>
                <p:oleObj name="think-cell Slide" r:id="rId47" imgW="317" imgH="318" progId="TCLayout.ActiveDocument.1">
                  <p:embed/>
                  <p:pic>
                    <p:nvPicPr>
                      <p:cNvPr id="6" name="think-cell data - do not delete" hidden="1">
                        <a:extLst>
                          <a:ext uri="{FF2B5EF4-FFF2-40B4-BE49-F238E27FC236}">
                            <a16:creationId xmlns:a16="http://schemas.microsoft.com/office/drawing/2014/main" id="{837480E6-E559-4F76-AF62-08CFD224694D}"/>
                          </a:ext>
                        </a:extLst>
                      </p:cNvPr>
                      <p:cNvPicPr/>
                      <p:nvPr/>
                    </p:nvPicPr>
                    <p:blipFill>
                      <a:blip r:embed="rId48"/>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52BC261-C02D-46AB-91BF-A8AB02AC8AAC}"/>
              </a:ext>
            </a:extLst>
          </p:cNvPr>
          <p:cNvSpPr>
            <a:spLocks noGrp="1"/>
          </p:cNvSpPr>
          <p:nvPr>
            <p:ph type="title"/>
          </p:nvPr>
        </p:nvSpPr>
        <p:spPr/>
        <p:txBody>
          <a:bodyPr vert="horz"/>
          <a:lstStyle/>
          <a:p>
            <a:r>
              <a:rPr lang="en-US" dirty="0"/>
              <a:t>SB Mar Digital Leads by Sales Tactic</a:t>
            </a:r>
          </a:p>
        </p:txBody>
      </p:sp>
      <p:cxnSp>
        <p:nvCxnSpPr>
          <p:cNvPr id="82" name="Straight Connector 81">
            <a:extLst>
              <a:ext uri="{FF2B5EF4-FFF2-40B4-BE49-F238E27FC236}">
                <a16:creationId xmlns:a16="http://schemas.microsoft.com/office/drawing/2014/main" id="{AF3048B5-FF7C-BC39-26FE-DD14936B2E88}"/>
              </a:ext>
            </a:extLst>
          </p:cNvPr>
          <p:cNvCxnSpPr/>
          <p:nvPr>
            <p:custDataLst>
              <p:tags r:id="rId2"/>
            </p:custDataLst>
          </p:nvPr>
        </p:nvCxnSpPr>
        <p:spPr bwMode="auto">
          <a:xfrm>
            <a:off x="10675938" y="3597275"/>
            <a:ext cx="384175" cy="225425"/>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4" name="Straight Connector 83">
            <a:extLst>
              <a:ext uri="{FF2B5EF4-FFF2-40B4-BE49-F238E27FC236}">
                <a16:creationId xmlns:a16="http://schemas.microsoft.com/office/drawing/2014/main" id="{1892CA51-2078-F6CF-D8BA-E8FFCBCD4196}"/>
              </a:ext>
            </a:extLst>
          </p:cNvPr>
          <p:cNvCxnSpPr/>
          <p:nvPr>
            <p:custDataLst>
              <p:tags r:id="rId3"/>
            </p:custDataLst>
          </p:nvPr>
        </p:nvCxnSpPr>
        <p:spPr bwMode="auto">
          <a:xfrm>
            <a:off x="10675938" y="4213225"/>
            <a:ext cx="384175" cy="141288"/>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4" name="Chart 3">
            <a:extLst>
              <a:ext uri="{FF2B5EF4-FFF2-40B4-BE49-F238E27FC236}">
                <a16:creationId xmlns:a16="http://schemas.microsoft.com/office/drawing/2014/main" id="{9A9DD33B-4D19-47A3-AB54-48BF19FAE3F2}"/>
              </a:ext>
            </a:extLst>
          </p:cNvPr>
          <p:cNvGraphicFramePr/>
          <p:nvPr>
            <p:custDataLst>
              <p:tags r:id="rId4"/>
            </p:custDataLst>
            <p:extLst>
              <p:ext uri="{D42A27DB-BD31-4B8C-83A1-F6EECF244321}">
                <p14:modId xmlns:p14="http://schemas.microsoft.com/office/powerpoint/2010/main" val="2961579737"/>
              </p:ext>
            </p:extLst>
          </p:nvPr>
        </p:nvGraphicFramePr>
        <p:xfrm>
          <a:off x="381000" y="1404938"/>
          <a:ext cx="11436350" cy="4416425"/>
        </p:xfrm>
        <a:graphic>
          <a:graphicData uri="http://schemas.openxmlformats.org/drawingml/2006/chart">
            <c:chart xmlns:c="http://schemas.openxmlformats.org/drawingml/2006/chart" xmlns:r="http://schemas.openxmlformats.org/officeDocument/2006/relationships" r:id="rId49"/>
          </a:graphicData>
        </a:graphic>
      </p:graphicFrame>
      <p:cxnSp>
        <p:nvCxnSpPr>
          <p:cNvPr id="129" name="Straight Connector 128">
            <a:extLst>
              <a:ext uri="{FF2B5EF4-FFF2-40B4-BE49-F238E27FC236}">
                <a16:creationId xmlns:a16="http://schemas.microsoft.com/office/drawing/2014/main" id="{EB4C9781-8C24-5814-49DF-7C2818A5A238}"/>
              </a:ext>
            </a:extLst>
          </p:cNvPr>
          <p:cNvCxnSpPr/>
          <p:nvPr>
            <p:custDataLst>
              <p:tags r:id="rId5"/>
            </p:custDataLst>
          </p:nvPr>
        </p:nvCxnSpPr>
        <p:spPr bwMode="auto">
          <a:xfrm>
            <a:off x="10434638" y="2727325"/>
            <a:ext cx="866775"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0" name="Straight Connector 129">
            <a:extLst>
              <a:ext uri="{FF2B5EF4-FFF2-40B4-BE49-F238E27FC236}">
                <a16:creationId xmlns:a16="http://schemas.microsoft.com/office/drawing/2014/main" id="{346596DC-D4F2-85D5-E271-57D9874A4A61}"/>
              </a:ext>
            </a:extLst>
          </p:cNvPr>
          <p:cNvCxnSpPr/>
          <p:nvPr>
            <p:custDataLst>
              <p:tags r:id="rId6"/>
            </p:custDataLst>
          </p:nvPr>
        </p:nvCxnSpPr>
        <p:spPr bwMode="auto">
          <a:xfrm>
            <a:off x="11301413" y="2727325"/>
            <a:ext cx="0" cy="30480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28" name="Straight Connector 127">
            <a:extLst>
              <a:ext uri="{FF2B5EF4-FFF2-40B4-BE49-F238E27FC236}">
                <a16:creationId xmlns:a16="http://schemas.microsoft.com/office/drawing/2014/main" id="{16889595-3314-D82E-79A4-3DDD5311C470}"/>
              </a:ext>
            </a:extLst>
          </p:cNvPr>
          <p:cNvCxnSpPr/>
          <p:nvPr>
            <p:custDataLst>
              <p:tags r:id="rId7"/>
            </p:custDataLst>
          </p:nvPr>
        </p:nvCxnSpPr>
        <p:spPr bwMode="auto">
          <a:xfrm flipV="1">
            <a:off x="10434638" y="2727325"/>
            <a:ext cx="0" cy="7620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4" name="Text Placeholder 2">
            <a:extLst>
              <a:ext uri="{FF2B5EF4-FFF2-40B4-BE49-F238E27FC236}">
                <a16:creationId xmlns:a16="http://schemas.microsoft.com/office/drawing/2014/main" id="{B752CB7A-8F0E-4680-841A-2725D44B7EDB}"/>
              </a:ext>
            </a:extLst>
          </p:cNvPr>
          <p:cNvSpPr>
            <a:spLocks noGrp="1" noChangeArrowheads="1"/>
          </p:cNvSpPr>
          <p:nvPr>
            <p:custDataLst>
              <p:tags r:id="rId8"/>
            </p:custDataLst>
          </p:nvPr>
        </p:nvSpPr>
        <p:spPr bwMode="auto">
          <a:xfrm>
            <a:off x="1647825" y="5634038"/>
            <a:ext cx="231775" cy="1301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B6EBCA8A-3BD6-4ABD-B040-E5177EECAFD6}" type="datetime'''''''''''''''''''''''''''J''''''''''''''''''''''un'''''''">
              <a:rPr lang="en-US" altLang="en-US" sz="900" b="1" smtClean="0"/>
              <a:pPr marL="0" lvl="0" indent="0" algn="ctr">
                <a:spcBef>
                  <a:spcPct val="0"/>
                </a:spcBef>
                <a:buNone/>
              </a:pPr>
              <a:t>Jun</a:t>
            </a:fld>
            <a:endParaRPr lang="en-US" altLang="en-US" sz="900" b="1"/>
          </a:p>
        </p:txBody>
      </p:sp>
      <p:sp>
        <p:nvSpPr>
          <p:cNvPr id="95" name="Text Placeholder 2">
            <a:extLst>
              <a:ext uri="{FF2B5EF4-FFF2-40B4-BE49-F238E27FC236}">
                <a16:creationId xmlns:a16="http://schemas.microsoft.com/office/drawing/2014/main" id="{ABF42534-D62A-4538-BB0B-96AB4C5E19FF}"/>
              </a:ext>
            </a:extLst>
          </p:cNvPr>
          <p:cNvSpPr>
            <a:spLocks noGrp="1" noChangeArrowheads="1"/>
          </p:cNvSpPr>
          <p:nvPr>
            <p:custDataLst>
              <p:tags r:id="rId9"/>
            </p:custDataLst>
          </p:nvPr>
        </p:nvSpPr>
        <p:spPr bwMode="auto">
          <a:xfrm>
            <a:off x="2536825" y="5634038"/>
            <a:ext cx="187325" cy="1301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3F5AA174-B546-49F0-BEAF-EBE3B266F84E}" type="datetime'''''''''J''''''''''''''''''''''''''''''u''''''''''l'''''">
              <a:rPr lang="en-US" altLang="en-US" sz="900" b="1" smtClean="0"/>
              <a:pPr marL="0" lvl="0" indent="0" algn="ctr">
                <a:spcBef>
                  <a:spcPct val="0"/>
                </a:spcBef>
                <a:buNone/>
              </a:pPr>
              <a:t>Jul</a:t>
            </a:fld>
            <a:endParaRPr lang="en-US" altLang="en-US" sz="900" b="1"/>
          </a:p>
        </p:txBody>
      </p:sp>
      <p:sp>
        <p:nvSpPr>
          <p:cNvPr id="157" name="Text Placeholder 2">
            <a:extLst>
              <a:ext uri="{FF2B5EF4-FFF2-40B4-BE49-F238E27FC236}">
                <a16:creationId xmlns:a16="http://schemas.microsoft.com/office/drawing/2014/main" id="{558C8C79-C21C-3B57-AB51-B7B4CEA9233A}"/>
              </a:ext>
            </a:extLst>
          </p:cNvPr>
          <p:cNvSpPr>
            <a:spLocks noGrp="1" noChangeArrowheads="1"/>
          </p:cNvSpPr>
          <p:nvPr>
            <p:custDataLst>
              <p:tags r:id="rId10"/>
            </p:custDataLst>
          </p:nvPr>
        </p:nvSpPr>
        <p:spPr bwMode="auto">
          <a:xfrm>
            <a:off x="3368675" y="5634038"/>
            <a:ext cx="257175" cy="1301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37D8B2FD-56BF-4D02-A183-802F3C5EC15F}" type="datetime'''''''''''''A''''''''''''''''''''''u''''''''''''''''''''''g'''">
              <a:rPr lang="en-US" altLang="en-US" sz="900" b="1" smtClean="0"/>
              <a:pPr marL="0" lvl="0" indent="0" algn="ctr">
                <a:spcBef>
                  <a:spcPct val="0"/>
                </a:spcBef>
                <a:buNone/>
              </a:pPr>
              <a:t>Aug</a:t>
            </a:fld>
            <a:endParaRPr lang="en-US" altLang="en-US" sz="900" b="1"/>
          </a:p>
        </p:txBody>
      </p:sp>
      <p:sp>
        <p:nvSpPr>
          <p:cNvPr id="13" name="Text Placeholder 2">
            <a:extLst>
              <a:ext uri="{FF2B5EF4-FFF2-40B4-BE49-F238E27FC236}">
                <a16:creationId xmlns:a16="http://schemas.microsoft.com/office/drawing/2014/main" id="{FDDE2178-A972-9BF8-E6C6-AC3F0699408E}"/>
              </a:ext>
            </a:extLst>
          </p:cNvPr>
          <p:cNvSpPr>
            <a:spLocks noGrp="1" noChangeArrowheads="1"/>
          </p:cNvSpPr>
          <p:nvPr>
            <p:custDataLst>
              <p:tags r:id="rId11"/>
            </p:custDataLst>
          </p:nvPr>
        </p:nvSpPr>
        <p:spPr bwMode="auto">
          <a:xfrm>
            <a:off x="4248150" y="5634038"/>
            <a:ext cx="236538" cy="1301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A8AF01B9-653D-46C0-8C75-83EC7AA14FF3}" type="datetime'''''''''''''''Sep'">
              <a:rPr lang="en-US" altLang="en-US" sz="900" b="1" smtClean="0"/>
              <a:pPr marL="0" lvl="0" indent="0" algn="ctr">
                <a:spcBef>
                  <a:spcPct val="0"/>
                </a:spcBef>
                <a:buNone/>
              </a:pPr>
              <a:t>Sep</a:t>
            </a:fld>
            <a:endParaRPr lang="en-US" altLang="en-US" sz="900" b="1"/>
          </a:p>
        </p:txBody>
      </p:sp>
      <p:sp>
        <p:nvSpPr>
          <p:cNvPr id="49" name="Text Placeholder 2">
            <a:extLst>
              <a:ext uri="{FF2B5EF4-FFF2-40B4-BE49-F238E27FC236}">
                <a16:creationId xmlns:a16="http://schemas.microsoft.com/office/drawing/2014/main" id="{A23B9121-9404-11BC-0764-4BA674A96F60}"/>
              </a:ext>
            </a:extLst>
          </p:cNvPr>
          <p:cNvSpPr>
            <a:spLocks noGrp="1" noChangeArrowheads="1"/>
          </p:cNvSpPr>
          <p:nvPr>
            <p:custDataLst>
              <p:tags r:id="rId12"/>
            </p:custDataLst>
          </p:nvPr>
        </p:nvSpPr>
        <p:spPr bwMode="auto">
          <a:xfrm>
            <a:off x="5119688" y="5634038"/>
            <a:ext cx="227013" cy="1301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5EF6E96B-1C7B-420C-B47D-83C2756B42F0}" type="datetime'''O''''c''''''''''''''''''''''''''t'''''''''''''''''''''''">
              <a:rPr lang="en-US" altLang="en-US" sz="900" b="1" smtClean="0"/>
              <a:pPr marL="0" lvl="0" indent="0" algn="ctr">
                <a:spcBef>
                  <a:spcPct val="0"/>
                </a:spcBef>
                <a:buNone/>
              </a:pPr>
              <a:t>Oct</a:t>
            </a:fld>
            <a:endParaRPr lang="en-US" altLang="en-US" sz="900" b="1"/>
          </a:p>
        </p:txBody>
      </p:sp>
      <p:sp>
        <p:nvSpPr>
          <p:cNvPr id="54" name="Text Placeholder 2">
            <a:extLst>
              <a:ext uri="{FF2B5EF4-FFF2-40B4-BE49-F238E27FC236}">
                <a16:creationId xmlns:a16="http://schemas.microsoft.com/office/drawing/2014/main" id="{FA39E0EF-5449-36B8-C38B-62AF7F6997AB}"/>
              </a:ext>
            </a:extLst>
          </p:cNvPr>
          <p:cNvSpPr>
            <a:spLocks noGrp="1" noChangeArrowheads="1"/>
          </p:cNvSpPr>
          <p:nvPr>
            <p:custDataLst>
              <p:tags r:id="rId13"/>
            </p:custDataLst>
          </p:nvPr>
        </p:nvSpPr>
        <p:spPr bwMode="auto">
          <a:xfrm>
            <a:off x="5975350" y="5634038"/>
            <a:ext cx="247650" cy="1301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222F5470-E6CA-433A-8454-8AA0A508780E}" type="datetime'''''''''''''''''''''''''''''''''''''''''''''''''N''''o''v'''">
              <a:rPr lang="en-US" altLang="en-US" sz="900" b="1" smtClean="0"/>
              <a:pPr marL="0" lvl="0" indent="0" algn="ctr">
                <a:spcBef>
                  <a:spcPct val="0"/>
                </a:spcBef>
                <a:buNone/>
              </a:pPr>
              <a:t>Nov</a:t>
            </a:fld>
            <a:endParaRPr lang="en-US" altLang="en-US" sz="900" b="1"/>
          </a:p>
        </p:txBody>
      </p:sp>
      <p:sp>
        <p:nvSpPr>
          <p:cNvPr id="461" name="Text Placeholder 2">
            <a:extLst>
              <a:ext uri="{FF2B5EF4-FFF2-40B4-BE49-F238E27FC236}">
                <a16:creationId xmlns:a16="http://schemas.microsoft.com/office/drawing/2014/main" id="{5675B246-2093-5DFB-7760-DA75B5D1FB63}"/>
              </a:ext>
            </a:extLst>
          </p:cNvPr>
          <p:cNvSpPr>
            <a:spLocks noGrp="1" noChangeArrowheads="1"/>
          </p:cNvSpPr>
          <p:nvPr>
            <p:custDataLst>
              <p:tags r:id="rId14"/>
            </p:custDataLst>
          </p:nvPr>
        </p:nvSpPr>
        <p:spPr bwMode="auto">
          <a:xfrm>
            <a:off x="6843713" y="5634038"/>
            <a:ext cx="246063" cy="1301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5580E35E-90A8-4490-AA57-723D155F6F26}" type="datetime'''D''''''''''''''''''''''''''''''''e''c'">
              <a:rPr lang="en-US" altLang="en-US" sz="900" b="1" smtClean="0"/>
              <a:pPr marL="0" lvl="0" indent="0" algn="ctr">
                <a:spcBef>
                  <a:spcPct val="0"/>
                </a:spcBef>
                <a:buNone/>
              </a:pPr>
              <a:t>Dec</a:t>
            </a:fld>
            <a:endParaRPr lang="en-US" altLang="en-US" sz="900" b="1"/>
          </a:p>
        </p:txBody>
      </p:sp>
      <p:sp>
        <p:nvSpPr>
          <p:cNvPr id="11" name="Text Placeholder 2">
            <a:extLst>
              <a:ext uri="{FF2B5EF4-FFF2-40B4-BE49-F238E27FC236}">
                <a16:creationId xmlns:a16="http://schemas.microsoft.com/office/drawing/2014/main" id="{3535F3D0-4787-346D-5282-E48199BD8C67}"/>
              </a:ext>
            </a:extLst>
          </p:cNvPr>
          <p:cNvSpPr>
            <a:spLocks noGrp="1" noChangeArrowheads="1"/>
          </p:cNvSpPr>
          <p:nvPr>
            <p:custDataLst>
              <p:tags r:id="rId15"/>
            </p:custDataLst>
          </p:nvPr>
        </p:nvSpPr>
        <p:spPr bwMode="auto">
          <a:xfrm>
            <a:off x="7632700" y="5634038"/>
            <a:ext cx="400050" cy="1301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31E2CF44-0592-485A-A9F6-B986434A4028}" type="datetime'''''''''J''''''a''''''''''''''''''''''n’''''24'">
              <a:rPr lang="en-US" altLang="en-US" sz="900" b="1" smtClean="0"/>
              <a:pPr marL="0" lvl="0" indent="0" algn="ctr">
                <a:spcBef>
                  <a:spcPct val="0"/>
                </a:spcBef>
                <a:buNone/>
              </a:pPr>
              <a:t>Jan’24</a:t>
            </a:fld>
            <a:endParaRPr lang="en-US" altLang="en-US" sz="900" b="1"/>
          </a:p>
        </p:txBody>
      </p:sp>
      <p:sp>
        <p:nvSpPr>
          <p:cNvPr id="45" name="Text Placeholder 2">
            <a:extLst>
              <a:ext uri="{FF2B5EF4-FFF2-40B4-BE49-F238E27FC236}">
                <a16:creationId xmlns:a16="http://schemas.microsoft.com/office/drawing/2014/main" id="{ED856719-F929-AE7F-4014-64B68242BE3B}"/>
              </a:ext>
            </a:extLst>
          </p:cNvPr>
          <p:cNvSpPr>
            <a:spLocks noGrp="1" noChangeArrowheads="1"/>
          </p:cNvSpPr>
          <p:nvPr>
            <p:custDataLst>
              <p:tags r:id="rId16"/>
            </p:custDataLst>
          </p:nvPr>
        </p:nvSpPr>
        <p:spPr bwMode="auto">
          <a:xfrm>
            <a:off x="8477250" y="5634038"/>
            <a:ext cx="444500" cy="1301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5BA0F885-69CB-4306-AB79-CEC7945028E2}" type="datetime'''''''''F''''e''''''b'''' ’''''''''''''24'''''">
              <a:rPr lang="en-US" altLang="en-US" sz="900" b="1" smtClean="0"/>
              <a:pPr marL="0" lvl="0" indent="0" algn="ctr">
                <a:spcBef>
                  <a:spcPct val="0"/>
                </a:spcBef>
                <a:buNone/>
              </a:pPr>
              <a:t>Feb ’24</a:t>
            </a:fld>
            <a:endParaRPr lang="en-US" altLang="en-US" sz="900" b="1"/>
          </a:p>
        </p:txBody>
      </p:sp>
      <p:sp>
        <p:nvSpPr>
          <p:cNvPr id="12" name="Text Placeholder 2">
            <a:extLst>
              <a:ext uri="{FF2B5EF4-FFF2-40B4-BE49-F238E27FC236}">
                <a16:creationId xmlns:a16="http://schemas.microsoft.com/office/drawing/2014/main" id="{0E9F66DE-DB35-2E65-2AEF-17392238789C}"/>
              </a:ext>
            </a:extLst>
          </p:cNvPr>
          <p:cNvSpPr>
            <a:spLocks noGrp="1" noChangeArrowheads="1"/>
          </p:cNvSpPr>
          <p:nvPr>
            <p:custDataLst>
              <p:tags r:id="rId17"/>
            </p:custDataLst>
          </p:nvPr>
        </p:nvSpPr>
        <p:spPr bwMode="auto">
          <a:xfrm>
            <a:off x="9359900" y="5634038"/>
            <a:ext cx="417513" cy="1301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9D1FA5A7-4A96-4F2D-842B-13794C833306}" type="datetime'''''''''M''''''a''''''''''''r''''''''''''''’2''''4'''''''''''">
              <a:rPr lang="en-US" altLang="en-US" sz="900" b="1" smtClean="0"/>
              <a:pPr/>
              <a:t>Mar’24</a:t>
            </a:fld>
            <a:endParaRPr lang="en-US" altLang="en-US" sz="900" b="1"/>
          </a:p>
        </p:txBody>
      </p:sp>
      <p:sp>
        <p:nvSpPr>
          <p:cNvPr id="9" name="Text Placeholder 2">
            <a:extLst>
              <a:ext uri="{FF2B5EF4-FFF2-40B4-BE49-F238E27FC236}">
                <a16:creationId xmlns:a16="http://schemas.microsoft.com/office/drawing/2014/main" id="{D28E27C0-E4FE-9E9B-69AA-8E3021D24836}"/>
              </a:ext>
            </a:extLst>
          </p:cNvPr>
          <p:cNvSpPr>
            <a:spLocks noGrp="1" noChangeArrowheads="1"/>
          </p:cNvSpPr>
          <p:nvPr>
            <p:custDataLst>
              <p:tags r:id="rId18"/>
            </p:custDataLst>
          </p:nvPr>
        </p:nvSpPr>
        <p:spPr bwMode="auto">
          <a:xfrm>
            <a:off x="10233025" y="5634038"/>
            <a:ext cx="404813" cy="1301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F91E78B0-D1FE-4DA3-B3F8-4143E3B24AB2}" type="datetime'Apr''''''''''''''''''''’''''''''''''''''''''''''''''2''''4'''">
              <a:rPr lang="en-US" altLang="en-US" sz="900" b="1" smtClean="0"/>
              <a:pPr/>
              <a:t>Apr’24</a:t>
            </a:fld>
            <a:endParaRPr lang="en-US" altLang="en-US" sz="900" b="1"/>
          </a:p>
        </p:txBody>
      </p:sp>
      <p:sp>
        <p:nvSpPr>
          <p:cNvPr id="80" name="Text Placeholder 2">
            <a:extLst>
              <a:ext uri="{FF2B5EF4-FFF2-40B4-BE49-F238E27FC236}">
                <a16:creationId xmlns:a16="http://schemas.microsoft.com/office/drawing/2014/main" id="{C04D34EA-0203-641D-804E-46D180AB1BD2}"/>
              </a:ext>
            </a:extLst>
          </p:cNvPr>
          <p:cNvSpPr>
            <a:spLocks noGrp="1" noChangeArrowheads="1"/>
          </p:cNvSpPr>
          <p:nvPr>
            <p:custDataLst>
              <p:tags r:id="rId19"/>
            </p:custDataLst>
          </p:nvPr>
        </p:nvSpPr>
        <p:spPr bwMode="auto">
          <a:xfrm>
            <a:off x="11083925" y="5634038"/>
            <a:ext cx="436563" cy="1301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F9182568-FB22-4016-A430-4456A16DF0D2}" type="datetime'''May''''’''''''''''2''''''''''''''''''''''4'''''''''''">
              <a:rPr lang="en-US" altLang="en-US" sz="900" b="1" smtClean="0"/>
              <a:pPr/>
              <a:t>May’24</a:t>
            </a:fld>
            <a:endParaRPr lang="en-US" altLang="en-US" sz="900" b="1"/>
          </a:p>
        </p:txBody>
      </p:sp>
      <p:sp>
        <p:nvSpPr>
          <p:cNvPr id="111" name="Text Placeholder 2">
            <a:extLst>
              <a:ext uri="{FF2B5EF4-FFF2-40B4-BE49-F238E27FC236}">
                <a16:creationId xmlns:a16="http://schemas.microsoft.com/office/drawing/2014/main" id="{18BA8A9D-369E-4996-B6F6-91ADC23BA5CE}"/>
              </a:ext>
            </a:extLst>
          </p:cNvPr>
          <p:cNvSpPr>
            <a:spLocks noGrp="1" noChangeArrowheads="1"/>
          </p:cNvSpPr>
          <p:nvPr>
            <p:custDataLst>
              <p:tags r:id="rId20"/>
            </p:custDataLst>
          </p:nvPr>
        </p:nvSpPr>
        <p:spPr bwMode="gray">
          <a:xfrm>
            <a:off x="736601" y="2414588"/>
            <a:ext cx="322263" cy="1444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anchor="b"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buNone/>
            </a:pPr>
            <a:fld id="{D8214BDC-82E8-495D-A9F6-235BD3297624}" type="datetime'1,''''''''2''''''''''''''''''''''''''9''''''''''''''''''1'">
              <a:rPr lang="en-US" altLang="en-US" sz="1000" b="1" smtClean="0"/>
              <a:pPr/>
              <a:t>1,291</a:t>
            </a:fld>
            <a:endParaRPr lang="en-US" altLang="en-US" sz="1000" b="1"/>
          </a:p>
        </p:txBody>
      </p:sp>
      <p:sp>
        <p:nvSpPr>
          <p:cNvPr id="112" name="Text Placeholder 2">
            <a:extLst>
              <a:ext uri="{FF2B5EF4-FFF2-40B4-BE49-F238E27FC236}">
                <a16:creationId xmlns:a16="http://schemas.microsoft.com/office/drawing/2014/main" id="{45C9289B-052E-4E88-AB62-5C3C31E8CAEF}"/>
              </a:ext>
            </a:extLst>
          </p:cNvPr>
          <p:cNvSpPr>
            <a:spLocks noGrp="1" noChangeArrowheads="1"/>
          </p:cNvSpPr>
          <p:nvPr>
            <p:custDataLst>
              <p:tags r:id="rId21"/>
            </p:custDataLst>
          </p:nvPr>
        </p:nvSpPr>
        <p:spPr bwMode="gray">
          <a:xfrm>
            <a:off x="1581151" y="2290763"/>
            <a:ext cx="366713" cy="1444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anchor="b"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buNone/>
            </a:pPr>
            <a:fld id="{08D68745-2567-43AC-8652-3640BF8AEF4A}" type="datetime'''''''1,''''''''3''''''''''44'''''''''">
              <a:rPr lang="en-US" altLang="en-US" sz="1000" b="1" smtClean="0"/>
              <a:pPr/>
              <a:t>1,344</a:t>
            </a:fld>
            <a:endParaRPr lang="en-US" altLang="en-US" sz="1000" b="1"/>
          </a:p>
        </p:txBody>
      </p:sp>
      <p:sp>
        <p:nvSpPr>
          <p:cNvPr id="119" name="Text Placeholder 2">
            <a:extLst>
              <a:ext uri="{FF2B5EF4-FFF2-40B4-BE49-F238E27FC236}">
                <a16:creationId xmlns:a16="http://schemas.microsoft.com/office/drawing/2014/main" id="{76CCE785-6780-4E65-BC7C-7E5A5C023F33}"/>
              </a:ext>
            </a:extLst>
          </p:cNvPr>
          <p:cNvSpPr>
            <a:spLocks noGrp="1" noChangeArrowheads="1"/>
          </p:cNvSpPr>
          <p:nvPr>
            <p:custDataLst>
              <p:tags r:id="rId22"/>
            </p:custDataLst>
          </p:nvPr>
        </p:nvSpPr>
        <p:spPr bwMode="gray">
          <a:xfrm>
            <a:off x="2452688" y="2522538"/>
            <a:ext cx="355600" cy="1444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anchor="b"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2093B1A5-56E8-4728-AA5F-EE4A8D3CDE16}" type="datetime'''''''''1'',''''''2''''''''''''''''''45'">
              <a:rPr lang="en-US" altLang="en-US" sz="1000" b="1" smtClean="0"/>
              <a:pPr/>
              <a:t>1,245</a:t>
            </a:fld>
            <a:endParaRPr lang="en-US" altLang="en-US" sz="1000" b="1"/>
          </a:p>
        </p:txBody>
      </p:sp>
      <p:sp>
        <p:nvSpPr>
          <p:cNvPr id="161" name="Text Placeholder 2">
            <a:extLst>
              <a:ext uri="{FF2B5EF4-FFF2-40B4-BE49-F238E27FC236}">
                <a16:creationId xmlns:a16="http://schemas.microsoft.com/office/drawing/2014/main" id="{7AB69F41-88DB-E171-C96E-3E349E6F7692}"/>
              </a:ext>
            </a:extLst>
          </p:cNvPr>
          <p:cNvSpPr>
            <a:spLocks noGrp="1" noChangeArrowheads="1"/>
          </p:cNvSpPr>
          <p:nvPr>
            <p:custDataLst>
              <p:tags r:id="rId23"/>
            </p:custDataLst>
          </p:nvPr>
        </p:nvSpPr>
        <p:spPr bwMode="gray">
          <a:xfrm>
            <a:off x="3336925" y="2227263"/>
            <a:ext cx="320675" cy="1444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anchor="b"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42AC7ABA-5E0D-463A-8C66-EF1086C84EB3}" type="datetime'''1'''''''''''''''',3''''''''''''''''''''''''7''1'''''''">
              <a:rPr lang="en-US" altLang="en-US" sz="1000" b="1" smtClean="0"/>
              <a:pPr/>
              <a:t>1,371</a:t>
            </a:fld>
            <a:endParaRPr lang="en-US" altLang="en-US" sz="1000" b="1"/>
          </a:p>
        </p:txBody>
      </p:sp>
      <p:sp>
        <p:nvSpPr>
          <p:cNvPr id="482" name="Rectangle 481">
            <a:extLst>
              <a:ext uri="{FF2B5EF4-FFF2-40B4-BE49-F238E27FC236}">
                <a16:creationId xmlns:a16="http://schemas.microsoft.com/office/drawing/2014/main" id="{F7639791-1178-EED9-6D73-08499E289D38}"/>
              </a:ext>
            </a:extLst>
          </p:cNvPr>
          <p:cNvSpPr/>
          <p:nvPr>
            <p:custDataLst>
              <p:tags r:id="rId24"/>
            </p:custDataLst>
          </p:nvPr>
        </p:nvSpPr>
        <p:spPr bwMode="gray">
          <a:xfrm>
            <a:off x="4191000" y="2214563"/>
            <a:ext cx="350838" cy="1444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numCol="1" spcCol="0" rtlCol="0" anchor="b" anchorCtr="0">
            <a:noAutofit/>
          </a:bodyPr>
          <a:lstStyle/>
          <a:p>
            <a:pPr algn="ctr">
              <a:lnSpc>
                <a:spcPct val="95000"/>
              </a:lnSpc>
              <a:spcBef>
                <a:spcPct val="0"/>
              </a:spcBef>
              <a:spcAft>
                <a:spcPct val="0"/>
              </a:spcAft>
            </a:pPr>
            <a:fld id="{485343D8-CCB4-41B1-8704-8F422898A612}" type="datetime'1'',''37''''''''''''''''''''''''''''''''''''''7'''''''''''''''">
              <a:rPr lang="en-US" altLang="en-US" sz="1000" b="1" smtClean="0">
                <a:solidFill>
                  <a:schemeClr val="tx1"/>
                </a:solidFill>
              </a:rPr>
              <a:pPr/>
              <a:t>1,377</a:t>
            </a:fld>
            <a:endParaRPr lang="en-US" sz="1000" b="1">
              <a:solidFill>
                <a:schemeClr val="tx1"/>
              </a:solidFill>
            </a:endParaRPr>
          </a:p>
        </p:txBody>
      </p:sp>
      <p:sp>
        <p:nvSpPr>
          <p:cNvPr id="477" name="Rectangle 476">
            <a:extLst>
              <a:ext uri="{FF2B5EF4-FFF2-40B4-BE49-F238E27FC236}">
                <a16:creationId xmlns:a16="http://schemas.microsoft.com/office/drawing/2014/main" id="{F4E1DC4C-6F78-93E7-CD0E-A467F8D6A354}"/>
              </a:ext>
            </a:extLst>
          </p:cNvPr>
          <p:cNvSpPr/>
          <p:nvPr>
            <p:custDataLst>
              <p:tags r:id="rId25"/>
            </p:custDataLst>
          </p:nvPr>
        </p:nvSpPr>
        <p:spPr bwMode="gray">
          <a:xfrm>
            <a:off x="5051425" y="2439988"/>
            <a:ext cx="361950" cy="1444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numCol="1" spcCol="0" rtlCol="0" anchor="b" anchorCtr="0">
            <a:noAutofit/>
          </a:bodyPr>
          <a:lstStyle/>
          <a:p>
            <a:pPr algn="ctr">
              <a:lnSpc>
                <a:spcPct val="95000"/>
              </a:lnSpc>
              <a:spcBef>
                <a:spcPct val="0"/>
              </a:spcBef>
              <a:spcAft>
                <a:spcPct val="0"/>
              </a:spcAft>
            </a:pPr>
            <a:fld id="{42844171-3BF6-458B-B872-A1E914360564}" type="datetime'''''''''''''1'''''',''''2''''''''''''''''''8''0'''''''''''''''">
              <a:rPr lang="en-US" altLang="en-US" sz="1000" b="1" smtClean="0">
                <a:solidFill>
                  <a:schemeClr val="tx1"/>
                </a:solidFill>
              </a:rPr>
              <a:pPr/>
              <a:t>1,280</a:t>
            </a:fld>
            <a:endParaRPr lang="en-US" sz="1000" b="1">
              <a:solidFill>
                <a:schemeClr val="tx1"/>
              </a:solidFill>
            </a:endParaRPr>
          </a:p>
        </p:txBody>
      </p:sp>
      <p:sp>
        <p:nvSpPr>
          <p:cNvPr id="7" name="Rectangle 6">
            <a:extLst>
              <a:ext uri="{FF2B5EF4-FFF2-40B4-BE49-F238E27FC236}">
                <a16:creationId xmlns:a16="http://schemas.microsoft.com/office/drawing/2014/main" id="{D0EC6C42-57E7-5746-CF9D-547E085A72AE}"/>
              </a:ext>
            </a:extLst>
          </p:cNvPr>
          <p:cNvSpPr/>
          <p:nvPr>
            <p:custDataLst>
              <p:tags r:id="rId26"/>
            </p:custDataLst>
          </p:nvPr>
        </p:nvSpPr>
        <p:spPr bwMode="gray">
          <a:xfrm>
            <a:off x="5922963" y="2619375"/>
            <a:ext cx="352425" cy="1444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numCol="1" spcCol="0" rtlCol="0" anchor="b" anchorCtr="0">
            <a:noAutofit/>
          </a:bodyPr>
          <a:lstStyle/>
          <a:p>
            <a:pPr algn="ctr">
              <a:lnSpc>
                <a:spcPct val="95000"/>
              </a:lnSpc>
              <a:spcBef>
                <a:spcPct val="0"/>
              </a:spcBef>
              <a:spcAft>
                <a:spcPct val="0"/>
              </a:spcAft>
            </a:pPr>
            <a:fld id="{3651CC40-ADFF-43CE-9CE0-9CAE1760A41A}" type="datetime'''''''1'',2''''''''''''''''''''''''''''''''03'''''''''">
              <a:rPr lang="en-US" altLang="en-US" sz="1000" b="1" smtClean="0">
                <a:solidFill>
                  <a:schemeClr val="tx1"/>
                </a:solidFill>
              </a:rPr>
              <a:pPr/>
              <a:t>1,203</a:t>
            </a:fld>
            <a:endParaRPr lang="en-US" sz="1000" b="1">
              <a:solidFill>
                <a:schemeClr val="tx1"/>
              </a:solidFill>
            </a:endParaRPr>
          </a:p>
        </p:txBody>
      </p:sp>
      <p:sp>
        <p:nvSpPr>
          <p:cNvPr id="483" name="Rectangle 482">
            <a:extLst>
              <a:ext uri="{FF2B5EF4-FFF2-40B4-BE49-F238E27FC236}">
                <a16:creationId xmlns:a16="http://schemas.microsoft.com/office/drawing/2014/main" id="{78FC1238-70D7-D53C-A488-17F4D9151F6B}"/>
              </a:ext>
            </a:extLst>
          </p:cNvPr>
          <p:cNvSpPr/>
          <p:nvPr>
            <p:custDataLst>
              <p:tags r:id="rId27"/>
            </p:custDataLst>
          </p:nvPr>
        </p:nvSpPr>
        <p:spPr bwMode="gray">
          <a:xfrm>
            <a:off x="6800850" y="2733675"/>
            <a:ext cx="330200" cy="1444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numCol="1" spcCol="0" rtlCol="0" anchor="b" anchorCtr="0">
            <a:noAutofit/>
          </a:bodyPr>
          <a:lstStyle/>
          <a:p>
            <a:pPr algn="ctr">
              <a:lnSpc>
                <a:spcPct val="95000"/>
              </a:lnSpc>
              <a:spcBef>
                <a:spcPct val="0"/>
              </a:spcBef>
              <a:spcAft>
                <a:spcPct val="0"/>
              </a:spcAft>
            </a:pPr>
            <a:fld id="{087085E1-7170-46B7-829D-5B98DADF1483}" type="datetime'''1'''''''''''''''''',''''''1''5''''''4'''''''''''''''''''''''">
              <a:rPr lang="en-US" altLang="en-US" sz="1000" b="1" smtClean="0">
                <a:solidFill>
                  <a:schemeClr val="tx1"/>
                </a:solidFill>
              </a:rPr>
              <a:pPr/>
              <a:t>1,154</a:t>
            </a:fld>
            <a:endParaRPr lang="en-US" sz="1000" b="1">
              <a:solidFill>
                <a:schemeClr val="tx1"/>
              </a:solidFill>
            </a:endParaRPr>
          </a:p>
        </p:txBody>
      </p:sp>
      <p:sp>
        <p:nvSpPr>
          <p:cNvPr id="76" name="Rectangle 75">
            <a:extLst>
              <a:ext uri="{FF2B5EF4-FFF2-40B4-BE49-F238E27FC236}">
                <a16:creationId xmlns:a16="http://schemas.microsoft.com/office/drawing/2014/main" id="{F9EE5DB8-2E72-6A3C-FEAE-9EEA17BF3B95}"/>
              </a:ext>
            </a:extLst>
          </p:cNvPr>
          <p:cNvSpPr/>
          <p:nvPr>
            <p:custDataLst>
              <p:tags r:id="rId28"/>
            </p:custDataLst>
          </p:nvPr>
        </p:nvSpPr>
        <p:spPr bwMode="gray">
          <a:xfrm>
            <a:off x="7650163" y="2524125"/>
            <a:ext cx="366713" cy="1444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5000"/>
              </a:lnSpc>
              <a:spcBef>
                <a:spcPct val="0"/>
              </a:spcBef>
              <a:spcAft>
                <a:spcPct val="0"/>
              </a:spcAft>
            </a:pPr>
            <a:fld id="{1E1A41DC-3ADF-4E60-9553-48C6F7F450A6}" type="datetime'''''''''''''1,''''2''4''''''''''''''''''''''4'''''''''''''''''">
              <a:rPr lang="en-US" altLang="en-US" sz="1000" b="1" smtClean="0">
                <a:solidFill>
                  <a:schemeClr val="tx1"/>
                </a:solidFill>
              </a:rPr>
              <a:pPr/>
              <a:t>1,244</a:t>
            </a:fld>
            <a:endParaRPr lang="en-US" sz="1000" b="1">
              <a:solidFill>
                <a:schemeClr val="tx1"/>
              </a:solidFill>
            </a:endParaRPr>
          </a:p>
        </p:txBody>
      </p:sp>
      <p:sp>
        <p:nvSpPr>
          <p:cNvPr id="83" name="Rectangle 82">
            <a:extLst>
              <a:ext uri="{FF2B5EF4-FFF2-40B4-BE49-F238E27FC236}">
                <a16:creationId xmlns:a16="http://schemas.microsoft.com/office/drawing/2014/main" id="{853C4984-F98C-34B5-1512-10C038604D3A}"/>
              </a:ext>
            </a:extLst>
          </p:cNvPr>
          <p:cNvSpPr/>
          <p:nvPr>
            <p:custDataLst>
              <p:tags r:id="rId29"/>
            </p:custDataLst>
          </p:nvPr>
        </p:nvSpPr>
        <p:spPr bwMode="gray">
          <a:xfrm>
            <a:off x="8553450" y="2741613"/>
            <a:ext cx="292100" cy="1444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5000"/>
              </a:lnSpc>
              <a:spcBef>
                <a:spcPct val="0"/>
              </a:spcBef>
              <a:spcAft>
                <a:spcPct val="0"/>
              </a:spcAft>
            </a:pPr>
            <a:fld id="{38080330-F22F-49FE-9129-9E478533E964}" type="datetime'''''''1'',1''''''''''''''''5''''''''''1'''">
              <a:rPr lang="en-US" altLang="en-US" sz="1000" b="1" smtClean="0">
                <a:solidFill>
                  <a:schemeClr val="tx1"/>
                </a:solidFill>
              </a:rPr>
              <a:pPr algn="ctr">
                <a:lnSpc>
                  <a:spcPct val="95000"/>
                </a:lnSpc>
                <a:spcBef>
                  <a:spcPct val="0"/>
                </a:spcBef>
                <a:spcAft>
                  <a:spcPct val="0"/>
                </a:spcAft>
              </a:pPr>
              <a:t>1,151</a:t>
            </a:fld>
            <a:endParaRPr lang="en-US" sz="1000" b="1">
              <a:solidFill>
                <a:schemeClr val="tx1"/>
              </a:solidFill>
            </a:endParaRPr>
          </a:p>
        </p:txBody>
      </p:sp>
      <p:sp>
        <p:nvSpPr>
          <p:cNvPr id="18" name="Rectangle 17">
            <a:extLst>
              <a:ext uri="{FF2B5EF4-FFF2-40B4-BE49-F238E27FC236}">
                <a16:creationId xmlns:a16="http://schemas.microsoft.com/office/drawing/2014/main" id="{ABFA6F7F-0DEF-E376-9342-EACE04F17355}"/>
              </a:ext>
            </a:extLst>
          </p:cNvPr>
          <p:cNvSpPr/>
          <p:nvPr>
            <p:custDataLst>
              <p:tags r:id="rId30"/>
            </p:custDataLst>
          </p:nvPr>
        </p:nvSpPr>
        <p:spPr bwMode="gray">
          <a:xfrm>
            <a:off x="9418638" y="2817813"/>
            <a:ext cx="300038" cy="1444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5000"/>
              </a:lnSpc>
              <a:spcBef>
                <a:spcPct val="0"/>
              </a:spcBef>
              <a:spcAft>
                <a:spcPct val="0"/>
              </a:spcAft>
            </a:pPr>
            <a:fld id="{A6E1483A-03D8-4EF6-9114-B3EACB28033B}" type="datetime'''''''1'''''''''''''''''',1''''''''''''1''8'''''''''''''''''''">
              <a:rPr lang="en-US" altLang="en-US" sz="1000" b="1" smtClean="0">
                <a:solidFill>
                  <a:schemeClr val="tx1"/>
                </a:solidFill>
                <a:effectLst/>
              </a:rPr>
              <a:pPr algn="ctr">
                <a:lnSpc>
                  <a:spcPct val="95000"/>
                </a:lnSpc>
                <a:spcBef>
                  <a:spcPct val="0"/>
                </a:spcBef>
                <a:spcAft>
                  <a:spcPct val="0"/>
                </a:spcAft>
              </a:pPr>
              <a:t>1,118</a:t>
            </a:fld>
            <a:endParaRPr lang="en-US" sz="1000" b="1">
              <a:solidFill>
                <a:schemeClr val="tx1"/>
              </a:solidFill>
            </a:endParaRPr>
          </a:p>
        </p:txBody>
      </p:sp>
      <p:sp>
        <p:nvSpPr>
          <p:cNvPr id="15" name="Rectangle 14">
            <a:extLst>
              <a:ext uri="{FF2B5EF4-FFF2-40B4-BE49-F238E27FC236}">
                <a16:creationId xmlns:a16="http://schemas.microsoft.com/office/drawing/2014/main" id="{D927067F-9239-E6A9-13A7-A3ED950ED7C8}"/>
              </a:ext>
            </a:extLst>
          </p:cNvPr>
          <p:cNvSpPr/>
          <p:nvPr>
            <p:custDataLst>
              <p:tags r:id="rId31"/>
            </p:custDataLst>
          </p:nvPr>
        </p:nvSpPr>
        <p:spPr bwMode="gray">
          <a:xfrm>
            <a:off x="10266363" y="2841625"/>
            <a:ext cx="336550" cy="1444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5000"/>
              </a:lnSpc>
              <a:spcBef>
                <a:spcPct val="0"/>
              </a:spcBef>
              <a:spcAft>
                <a:spcPct val="0"/>
              </a:spcAft>
            </a:pPr>
            <a:fld id="{22C7002A-2096-4132-8A34-5F469AF85195}" type="datetime'''''''''''''1'''''''',''''''1''''''''0''8'">
              <a:rPr lang="en-US" altLang="en-US" sz="1000" b="1" smtClean="0">
                <a:solidFill>
                  <a:schemeClr val="tx1"/>
                </a:solidFill>
              </a:rPr>
              <a:pPr/>
              <a:t>1,108</a:t>
            </a:fld>
            <a:endParaRPr lang="en-US" sz="1000" b="1">
              <a:solidFill>
                <a:schemeClr val="tx1"/>
              </a:solidFill>
            </a:endParaRPr>
          </a:p>
        </p:txBody>
      </p:sp>
      <p:sp>
        <p:nvSpPr>
          <p:cNvPr id="90" name="Rectangle 89">
            <a:extLst>
              <a:ext uri="{FF2B5EF4-FFF2-40B4-BE49-F238E27FC236}">
                <a16:creationId xmlns:a16="http://schemas.microsoft.com/office/drawing/2014/main" id="{40345804-DE8B-23CD-9686-A783CA899730}"/>
              </a:ext>
            </a:extLst>
          </p:cNvPr>
          <p:cNvSpPr/>
          <p:nvPr>
            <p:custDataLst>
              <p:tags r:id="rId32"/>
            </p:custDataLst>
          </p:nvPr>
        </p:nvSpPr>
        <p:spPr bwMode="gray">
          <a:xfrm>
            <a:off x="11133138" y="3070225"/>
            <a:ext cx="338138" cy="1444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5000"/>
              </a:lnSpc>
              <a:spcBef>
                <a:spcPct val="0"/>
              </a:spcBef>
              <a:spcAft>
                <a:spcPct val="0"/>
              </a:spcAft>
            </a:pPr>
            <a:fld id="{8ED2B8C5-F661-47A6-99F0-E217C3CEF709}" type="datetime'''''1'''''''''''''''''''''''',''''''''''''''01''''0'''">
              <a:rPr lang="en-US" altLang="en-US" sz="1000" b="1" smtClean="0">
                <a:solidFill>
                  <a:schemeClr val="tx1"/>
                </a:solidFill>
              </a:rPr>
              <a:pPr/>
              <a:t>1,010</a:t>
            </a:fld>
            <a:endParaRPr lang="en-US" sz="1000" b="1">
              <a:solidFill>
                <a:schemeClr val="tx1"/>
              </a:solidFill>
            </a:endParaRPr>
          </a:p>
        </p:txBody>
      </p:sp>
      <p:sp>
        <p:nvSpPr>
          <p:cNvPr id="93" name="Text Placeholder 2">
            <a:extLst>
              <a:ext uri="{FF2B5EF4-FFF2-40B4-BE49-F238E27FC236}">
                <a16:creationId xmlns:a16="http://schemas.microsoft.com/office/drawing/2014/main" id="{AD23648E-4B26-4C01-A249-371F73ADE948}"/>
              </a:ext>
            </a:extLst>
          </p:cNvPr>
          <p:cNvSpPr>
            <a:spLocks noGrp="1" noChangeArrowheads="1"/>
          </p:cNvSpPr>
          <p:nvPr>
            <p:custDataLst>
              <p:tags r:id="rId33"/>
            </p:custDataLst>
          </p:nvPr>
        </p:nvSpPr>
        <p:spPr bwMode="auto">
          <a:xfrm>
            <a:off x="766763" y="5634038"/>
            <a:ext cx="260350" cy="1301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943DD42C-E1A5-4DEB-A019-48B805F66831}" type="datetime'''''''''M''''''''''a''''y'''''''''''''''''">
              <a:rPr lang="en-US" altLang="en-US" sz="900" b="1" smtClean="0"/>
              <a:pPr marL="0" lvl="0" indent="0" algn="ctr">
                <a:spcBef>
                  <a:spcPct val="0"/>
                </a:spcBef>
                <a:buNone/>
              </a:pPr>
              <a:t>May</a:t>
            </a:fld>
            <a:endParaRPr lang="en-US" altLang="en-US" sz="900" b="1"/>
          </a:p>
        </p:txBody>
      </p:sp>
      <p:sp>
        <p:nvSpPr>
          <p:cNvPr id="127" name="Oval 126">
            <a:extLst>
              <a:ext uri="{FF2B5EF4-FFF2-40B4-BE49-F238E27FC236}">
                <a16:creationId xmlns:a16="http://schemas.microsoft.com/office/drawing/2014/main" id="{16B866F7-BE29-48C8-A774-7A86EEC9E849}"/>
              </a:ext>
            </a:extLst>
          </p:cNvPr>
          <p:cNvSpPr/>
          <p:nvPr>
            <p:custDataLst>
              <p:tags r:id="rId34"/>
            </p:custDataLst>
          </p:nvPr>
        </p:nvSpPr>
        <p:spPr bwMode="auto">
          <a:xfrm>
            <a:off x="10680700" y="2608263"/>
            <a:ext cx="376238" cy="238125"/>
          </a:xfrm>
          <a:prstGeom prst="ellipse">
            <a:avLst/>
          </a:prstGeom>
          <a:solidFill>
            <a:schemeClr val="bg1"/>
          </a:solidFill>
          <a:ln w="952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lgn="ctr">
              <a:spcBef>
                <a:spcPct val="0"/>
              </a:spcBef>
              <a:spcAft>
                <a:spcPct val="0"/>
              </a:spcAft>
            </a:pPr>
            <a:fld id="{388A5654-512B-44CD-B39F-FB046FD3E257}" type="datetime'''''''''''''-''''''''9''''''%'''''''''''''''''''">
              <a:rPr lang="en-US" altLang="en-US" sz="1100" b="1" smtClean="0">
                <a:solidFill>
                  <a:schemeClr val="tx1"/>
                </a:solidFill>
                <a:effectLst/>
              </a:rPr>
              <a:pPr algn="ctr">
                <a:spcBef>
                  <a:spcPct val="0"/>
                </a:spcBef>
                <a:spcAft>
                  <a:spcPct val="0"/>
                </a:spcAft>
              </a:pPr>
              <a:t>-9%</a:t>
            </a:fld>
            <a:endParaRPr lang="en-US" sz="1100" b="1">
              <a:solidFill>
                <a:schemeClr val="tx1"/>
              </a:solidFill>
            </a:endParaRPr>
          </a:p>
        </p:txBody>
      </p:sp>
      <p:sp>
        <p:nvSpPr>
          <p:cNvPr id="24" name="Text Placeholder 15">
            <a:extLst>
              <a:ext uri="{FF2B5EF4-FFF2-40B4-BE49-F238E27FC236}">
                <a16:creationId xmlns:a16="http://schemas.microsoft.com/office/drawing/2014/main" id="{A481E29C-2049-0C02-7B0D-4361290FA014}"/>
              </a:ext>
            </a:extLst>
          </p:cNvPr>
          <p:cNvSpPr txBox="1">
            <a:spLocks/>
          </p:cNvSpPr>
          <p:nvPr/>
        </p:nvSpPr>
        <p:spPr>
          <a:xfrm>
            <a:off x="463548" y="935010"/>
            <a:ext cx="11271250" cy="622327"/>
          </a:xfrm>
          <a:prstGeom prst="rect">
            <a:avLst/>
          </a:prstGeom>
        </p:spPr>
        <p:txBody>
          <a:bodyPr lIns="0" tIns="0" rIns="0" bIns="0"/>
          <a:lstStyle>
            <a:lvl1pPr marL="0" indent="0" algn="l" rtl="0" eaLnBrk="1" fontAlgn="base" hangingPunct="1">
              <a:lnSpc>
                <a:spcPct val="95000"/>
              </a:lnSpc>
              <a:spcBef>
                <a:spcPts val="1000"/>
              </a:spcBef>
              <a:spcAft>
                <a:spcPct val="0"/>
              </a:spcAft>
              <a:buFont typeface="Arial" panose="020B0604020202020204" pitchFamily="34" charset="0"/>
              <a:buNone/>
              <a:defRPr sz="1800" b="0" i="0" kern="1200">
                <a:solidFill>
                  <a:schemeClr val="tx1"/>
                </a:solidFill>
                <a:latin typeface="Montserrat Light" pitchFamily="2" charset="77"/>
                <a:ea typeface="+mn-ea"/>
                <a:cs typeface="Montserrat Light" pitchFamily="2" charset="77"/>
              </a:defRPr>
            </a:lvl1pPr>
            <a:lvl2pPr marL="174625" indent="-174625" algn="l" rtl="0" eaLnBrk="1" fontAlgn="base" hangingPunct="1">
              <a:lnSpc>
                <a:spcPct val="90000"/>
              </a:lnSpc>
              <a:spcBef>
                <a:spcPts val="1200"/>
              </a:spcBef>
              <a:spcAft>
                <a:spcPct val="0"/>
              </a:spcAft>
              <a:buFont typeface="Arial" panose="020B0604020202020204" pitchFamily="34" charset="0"/>
              <a:buChar char="•"/>
              <a:tabLst/>
              <a:defRPr sz="1800" b="0" i="0" kern="1200">
                <a:solidFill>
                  <a:schemeClr val="tx1"/>
                </a:solidFill>
                <a:latin typeface="Montserrat Light" pitchFamily="2" charset="77"/>
                <a:ea typeface="+mn-ea"/>
                <a:cs typeface="Montserrat Light" pitchFamily="2" charset="77"/>
              </a:defRPr>
            </a:lvl2pPr>
            <a:lvl3pPr marL="560070" indent="-285750" algn="l" rtl="0" eaLnBrk="1" fontAlgn="base" hangingPunct="1">
              <a:lnSpc>
                <a:spcPct val="90000"/>
              </a:lnSpc>
              <a:spcBef>
                <a:spcPts val="1200"/>
              </a:spcBef>
              <a:spcAft>
                <a:spcPct val="0"/>
              </a:spcAft>
              <a:buFont typeface="Montserrat" panose="00000500000000000000" pitchFamily="2" charset="0"/>
              <a:buChar char="–"/>
              <a:defRPr sz="1800" b="0" i="0" kern="1200">
                <a:solidFill>
                  <a:schemeClr val="tx1"/>
                </a:solidFill>
                <a:latin typeface="Montserrat Light" pitchFamily="2" charset="77"/>
                <a:ea typeface="+mn-ea"/>
                <a:cs typeface="Montserrat Light" pitchFamily="2" charset="77"/>
              </a:defRPr>
            </a:lvl3pPr>
            <a:lvl4pPr marL="834390" indent="-285750" algn="l" rtl="0" eaLnBrk="1" fontAlgn="base" hangingPunct="1">
              <a:lnSpc>
                <a:spcPct val="90000"/>
              </a:lnSpc>
              <a:spcBef>
                <a:spcPts val="1200"/>
              </a:spcBef>
              <a:spcAft>
                <a:spcPct val="0"/>
              </a:spcAft>
              <a:buFont typeface="Courier New" panose="02070309020205020404" pitchFamily="49" charset="0"/>
              <a:buChar char="o"/>
              <a:defRPr sz="1600" b="0" i="0" kern="1200">
                <a:solidFill>
                  <a:schemeClr val="tx1"/>
                </a:solidFill>
                <a:latin typeface="Montserrat Light" pitchFamily="2" charset="77"/>
                <a:ea typeface="+mn-ea"/>
                <a:cs typeface="Montserrat Light" pitchFamily="2" charset="77"/>
              </a:defRPr>
            </a:lvl4pPr>
            <a:lvl5pPr marL="1108710" indent="-285750" algn="l" rtl="0" eaLnBrk="1" fontAlgn="base" hangingPunct="1">
              <a:lnSpc>
                <a:spcPct val="90000"/>
              </a:lnSpc>
              <a:spcBef>
                <a:spcPts val="500"/>
              </a:spcBef>
              <a:spcAft>
                <a:spcPct val="0"/>
              </a:spcAft>
              <a:buFont typeface="Arial" panose="020B0604020202020204" pitchFamily="34" charset="0"/>
              <a:defRPr lang="en-US" sz="1400" b="0" i="0" u="none" strike="noStrike" kern="1200" cap="none" spc="0" baseline="0" dirty="0">
                <a:solidFill>
                  <a:srgbClr val="000000"/>
                </a:solidFill>
                <a:uFillTx/>
                <a:latin typeface="Montserrat Light" pitchFamily="2" charset="77"/>
                <a:ea typeface="Montserrat" panose="00000500000000000000" pitchFamily="2" charset="0"/>
                <a:cs typeface="Montserrat Light" pitchFamily="2" charset="77"/>
                <a:sym typeface="Montserrat" panose="000005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400" dirty="0">
                <a:highlight>
                  <a:srgbClr val="FFFF00"/>
                </a:highlight>
                <a:latin typeface="+mj-lt"/>
              </a:rPr>
              <a:t>Decrease in buyflow starts driven by an increase in derails caused by certain FCC broadband labels missing from the shop experience and a bug in the proximity customer experience.</a:t>
            </a:r>
          </a:p>
          <a:p>
            <a:pPr marL="285750" indent="-285750">
              <a:buFont typeface="Arial" panose="020B0604020202020204" pitchFamily="34" charset="0"/>
              <a:buChar char="•"/>
            </a:pPr>
            <a:r>
              <a:rPr lang="en-US" sz="1400" dirty="0">
                <a:latin typeface="+mj-lt"/>
              </a:rPr>
              <a:t>Decreases from chats (80% MoM) and pricing and info (86% MoM) increased the MoM gap.</a:t>
            </a:r>
          </a:p>
        </p:txBody>
      </p:sp>
      <p:sp>
        <p:nvSpPr>
          <p:cNvPr id="118" name="Rectangle 117">
            <a:extLst>
              <a:ext uri="{FF2B5EF4-FFF2-40B4-BE49-F238E27FC236}">
                <a16:creationId xmlns:a16="http://schemas.microsoft.com/office/drawing/2014/main" id="{645CFE65-04BB-1E9B-A55A-C2A494FEB09E}"/>
              </a:ext>
            </a:extLst>
          </p:cNvPr>
          <p:cNvSpPr/>
          <p:nvPr>
            <p:custDataLst>
              <p:tags r:id="rId35"/>
            </p:custDataLst>
          </p:nvPr>
        </p:nvSpPr>
        <p:spPr bwMode="auto">
          <a:xfrm>
            <a:off x="2905125" y="6032500"/>
            <a:ext cx="196850" cy="147638"/>
          </a:xfrm>
          <a:prstGeom prst="rect">
            <a:avLst/>
          </a:prstGeom>
          <a:solidFill>
            <a:schemeClr val="accent1"/>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0" name="Rectangle 119">
            <a:extLst>
              <a:ext uri="{FF2B5EF4-FFF2-40B4-BE49-F238E27FC236}">
                <a16:creationId xmlns:a16="http://schemas.microsoft.com/office/drawing/2014/main" id="{BB342113-8A97-1DCB-972D-24BDBD4F909A}"/>
              </a:ext>
            </a:extLst>
          </p:cNvPr>
          <p:cNvSpPr/>
          <p:nvPr>
            <p:custDataLst>
              <p:tags r:id="rId36"/>
            </p:custDataLst>
          </p:nvPr>
        </p:nvSpPr>
        <p:spPr bwMode="auto">
          <a:xfrm>
            <a:off x="2905125" y="6251575"/>
            <a:ext cx="196850" cy="147638"/>
          </a:xfrm>
          <a:prstGeom prst="rect">
            <a:avLst/>
          </a:prstGeom>
          <a:solidFill>
            <a:srgbClr val="6EA0FF"/>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1" name="Rectangle 120">
            <a:extLst>
              <a:ext uri="{FF2B5EF4-FFF2-40B4-BE49-F238E27FC236}">
                <a16:creationId xmlns:a16="http://schemas.microsoft.com/office/drawing/2014/main" id="{0AD2ED6A-5DF3-1AF3-8D29-1310D75B01A7}"/>
              </a:ext>
            </a:extLst>
          </p:cNvPr>
          <p:cNvSpPr/>
          <p:nvPr>
            <p:custDataLst>
              <p:tags r:id="rId37"/>
            </p:custDataLst>
          </p:nvPr>
        </p:nvSpPr>
        <p:spPr bwMode="auto">
          <a:xfrm>
            <a:off x="4821238" y="6032500"/>
            <a:ext cx="196850" cy="147638"/>
          </a:xfrm>
          <a:prstGeom prst="rect">
            <a:avLst/>
          </a:prstGeom>
          <a:solidFill>
            <a:schemeClr val="accent3"/>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2" name="Rectangle 121">
            <a:extLst>
              <a:ext uri="{FF2B5EF4-FFF2-40B4-BE49-F238E27FC236}">
                <a16:creationId xmlns:a16="http://schemas.microsoft.com/office/drawing/2014/main" id="{6DE3A472-D71E-1132-6B30-92D6FF1B3C93}"/>
              </a:ext>
            </a:extLst>
          </p:cNvPr>
          <p:cNvSpPr/>
          <p:nvPr>
            <p:custDataLst>
              <p:tags r:id="rId38"/>
            </p:custDataLst>
          </p:nvPr>
        </p:nvSpPr>
        <p:spPr bwMode="auto">
          <a:xfrm>
            <a:off x="4821238" y="6251575"/>
            <a:ext cx="196850" cy="147638"/>
          </a:xfrm>
          <a:prstGeom prst="rect">
            <a:avLst/>
          </a:prstGeom>
          <a:solidFill>
            <a:schemeClr val="accent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3" name="Rectangle 122">
            <a:extLst>
              <a:ext uri="{FF2B5EF4-FFF2-40B4-BE49-F238E27FC236}">
                <a16:creationId xmlns:a16="http://schemas.microsoft.com/office/drawing/2014/main" id="{E114C2D9-7477-0451-02D2-05793A2FB883}"/>
              </a:ext>
            </a:extLst>
          </p:cNvPr>
          <p:cNvSpPr/>
          <p:nvPr>
            <p:custDataLst>
              <p:tags r:id="rId39"/>
            </p:custDataLst>
          </p:nvPr>
        </p:nvSpPr>
        <p:spPr bwMode="auto">
          <a:xfrm>
            <a:off x="5807075" y="6032500"/>
            <a:ext cx="196850" cy="147638"/>
          </a:xfrm>
          <a:prstGeom prst="rect">
            <a:avLst/>
          </a:prstGeom>
          <a:solidFill>
            <a:srgbClr val="4C6C9C"/>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Rectangle 104">
            <a:extLst>
              <a:ext uri="{FF2B5EF4-FFF2-40B4-BE49-F238E27FC236}">
                <a16:creationId xmlns:a16="http://schemas.microsoft.com/office/drawing/2014/main" id="{D7089FC3-B45E-6149-4522-19D7F6F565EF}"/>
              </a:ext>
            </a:extLst>
          </p:cNvPr>
          <p:cNvSpPr/>
          <p:nvPr>
            <p:custDataLst>
              <p:tags r:id="rId40"/>
            </p:custDataLst>
          </p:nvPr>
        </p:nvSpPr>
        <p:spPr bwMode="auto">
          <a:xfrm>
            <a:off x="3152775" y="6027738"/>
            <a:ext cx="1227138" cy="1682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58CACDAC-C332-4CD6-868A-6095E6A7545F}" type="datetime'''Onl''''''''ine S''''''''''a''les'' ''''Ca''''''l''l''''''s'">
              <a:rPr lang="en-US" altLang="en-US" sz="1100" smtClean="0">
                <a:solidFill>
                  <a:schemeClr val="tx1"/>
                </a:solidFill>
                <a:effectLst/>
              </a:rPr>
              <a:pPr>
                <a:spcBef>
                  <a:spcPct val="0"/>
                </a:spcBef>
                <a:spcAft>
                  <a:spcPct val="0"/>
                </a:spcAft>
              </a:pPr>
              <a:t>Online Sales Calls</a:t>
            </a:fld>
            <a:endParaRPr lang="en-US" sz="1100">
              <a:solidFill>
                <a:schemeClr val="tx1"/>
              </a:solidFill>
            </a:endParaRPr>
          </a:p>
        </p:txBody>
      </p:sp>
      <p:sp>
        <p:nvSpPr>
          <p:cNvPr id="107" name="Rectangle 106">
            <a:extLst>
              <a:ext uri="{FF2B5EF4-FFF2-40B4-BE49-F238E27FC236}">
                <a16:creationId xmlns:a16="http://schemas.microsoft.com/office/drawing/2014/main" id="{A5311D4C-47B7-1EA6-ABD8-F27B74271A42}"/>
              </a:ext>
            </a:extLst>
          </p:cNvPr>
          <p:cNvSpPr/>
          <p:nvPr>
            <p:custDataLst>
              <p:tags r:id="rId41"/>
            </p:custDataLst>
          </p:nvPr>
        </p:nvSpPr>
        <p:spPr bwMode="auto">
          <a:xfrm>
            <a:off x="3152775" y="6246813"/>
            <a:ext cx="1566863" cy="1682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6D1D7C18-4EE5-46CF-ADF1-E5156BDA98E9}" type="datetime'Pr''ici''ng'' ''a''nd'''' O''''''t''he''''''''r Inf''''o'''">
              <a:rPr lang="en-US" altLang="en-US" sz="1100" smtClean="0">
                <a:solidFill>
                  <a:schemeClr val="tx1"/>
                </a:solidFill>
                <a:effectLst/>
              </a:rPr>
              <a:pPr>
                <a:spcBef>
                  <a:spcPct val="0"/>
                </a:spcBef>
                <a:spcAft>
                  <a:spcPct val="0"/>
                </a:spcAft>
              </a:pPr>
              <a:t>Pricing and Other Info</a:t>
            </a:fld>
            <a:endParaRPr lang="en-US" sz="1100">
              <a:solidFill>
                <a:schemeClr val="tx1"/>
              </a:solidFill>
            </a:endParaRPr>
          </a:p>
        </p:txBody>
      </p:sp>
      <p:sp>
        <p:nvSpPr>
          <p:cNvPr id="114" name="Rectangle 113">
            <a:extLst>
              <a:ext uri="{FF2B5EF4-FFF2-40B4-BE49-F238E27FC236}">
                <a16:creationId xmlns:a16="http://schemas.microsoft.com/office/drawing/2014/main" id="{BBC605A7-B69F-3C4B-99CB-2169CF707D16}"/>
              </a:ext>
            </a:extLst>
          </p:cNvPr>
          <p:cNvSpPr/>
          <p:nvPr>
            <p:custDataLst>
              <p:tags r:id="rId42"/>
            </p:custDataLst>
          </p:nvPr>
        </p:nvSpPr>
        <p:spPr bwMode="auto">
          <a:xfrm>
            <a:off x="5068888" y="6027738"/>
            <a:ext cx="636588" cy="1682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3A86249C-9DD4-4A34-80DD-AB3E88D4DE2D}" type="datetime'''''''''''''''''B''''''''''ounc''''''''''e''''X'''''''''''''">
              <a:rPr lang="en-US" altLang="en-US" sz="1100" smtClean="0">
                <a:solidFill>
                  <a:schemeClr val="tx1"/>
                </a:solidFill>
                <a:effectLst/>
              </a:rPr>
              <a:pPr>
                <a:spcBef>
                  <a:spcPct val="0"/>
                </a:spcBef>
                <a:spcAft>
                  <a:spcPct val="0"/>
                </a:spcAft>
              </a:pPr>
              <a:t>BounceX</a:t>
            </a:fld>
            <a:endParaRPr lang="en-US" sz="1100">
              <a:solidFill>
                <a:schemeClr val="tx1"/>
              </a:solidFill>
            </a:endParaRPr>
          </a:p>
        </p:txBody>
      </p:sp>
      <p:sp>
        <p:nvSpPr>
          <p:cNvPr id="115" name="Rectangle 114">
            <a:extLst>
              <a:ext uri="{FF2B5EF4-FFF2-40B4-BE49-F238E27FC236}">
                <a16:creationId xmlns:a16="http://schemas.microsoft.com/office/drawing/2014/main" id="{33E00A83-DD46-8C7A-E759-82F9694C86FD}"/>
              </a:ext>
            </a:extLst>
          </p:cNvPr>
          <p:cNvSpPr/>
          <p:nvPr>
            <p:custDataLst>
              <p:tags r:id="rId43"/>
            </p:custDataLst>
          </p:nvPr>
        </p:nvSpPr>
        <p:spPr bwMode="auto">
          <a:xfrm>
            <a:off x="5068888" y="6246813"/>
            <a:ext cx="403225" cy="1682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1FFF12AC-4BAD-4943-A432-E629F280ABB1}" type="datetime'''C''''''''''''h''''a''''''''''''''''''t''''''''s'''''''">
              <a:rPr lang="en-US" altLang="en-US" sz="1100" smtClean="0">
                <a:solidFill>
                  <a:schemeClr val="tx1"/>
                </a:solidFill>
                <a:effectLst/>
              </a:rPr>
              <a:pPr>
                <a:spcBef>
                  <a:spcPct val="0"/>
                </a:spcBef>
                <a:spcAft>
                  <a:spcPct val="0"/>
                </a:spcAft>
              </a:pPr>
              <a:t>Chats</a:t>
            </a:fld>
            <a:endParaRPr lang="en-US" sz="1100">
              <a:solidFill>
                <a:schemeClr val="tx1"/>
              </a:solidFill>
            </a:endParaRPr>
          </a:p>
        </p:txBody>
      </p:sp>
      <p:sp>
        <p:nvSpPr>
          <p:cNvPr id="116" name="Rectangle 115">
            <a:extLst>
              <a:ext uri="{FF2B5EF4-FFF2-40B4-BE49-F238E27FC236}">
                <a16:creationId xmlns:a16="http://schemas.microsoft.com/office/drawing/2014/main" id="{6919339E-070E-0641-70A6-B2A6711CBC0B}"/>
              </a:ext>
            </a:extLst>
          </p:cNvPr>
          <p:cNvSpPr/>
          <p:nvPr>
            <p:custDataLst>
              <p:tags r:id="rId44"/>
            </p:custDataLst>
          </p:nvPr>
        </p:nvSpPr>
        <p:spPr bwMode="auto">
          <a:xfrm>
            <a:off x="6054725" y="6027738"/>
            <a:ext cx="1012825" cy="1682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1E5E48C2-BAE0-4B2D-A99F-69AF6B48706D}" type="datetime'B''''''''''''u''''''yfl''''''o''w ''S''''''ta''r''''''t''s'">
              <a:rPr lang="en-US" altLang="en-US" sz="1100" smtClean="0">
                <a:solidFill>
                  <a:schemeClr val="tx1"/>
                </a:solidFill>
                <a:effectLst/>
              </a:rPr>
              <a:pPr>
                <a:spcBef>
                  <a:spcPct val="0"/>
                </a:spcBef>
                <a:spcAft>
                  <a:spcPct val="0"/>
                </a:spcAft>
              </a:pPr>
              <a:t>Buyflow Starts</a:t>
            </a:fld>
            <a:endParaRPr lang="en-US" sz="1100">
              <a:solidFill>
                <a:schemeClr val="tx1"/>
              </a:solidFill>
            </a:endParaRPr>
          </a:p>
        </p:txBody>
      </p:sp>
      <p:sp>
        <p:nvSpPr>
          <p:cNvPr id="29" name="TextBox 28">
            <a:extLst>
              <a:ext uri="{FF2B5EF4-FFF2-40B4-BE49-F238E27FC236}">
                <a16:creationId xmlns:a16="http://schemas.microsoft.com/office/drawing/2014/main" id="{4B437683-D6D4-3AD1-FE60-C2C5440FC990}"/>
              </a:ext>
            </a:extLst>
          </p:cNvPr>
          <p:cNvSpPr txBox="1"/>
          <p:nvPr/>
        </p:nvSpPr>
        <p:spPr>
          <a:xfrm>
            <a:off x="463549" y="6283325"/>
            <a:ext cx="2414590" cy="195261"/>
          </a:xfrm>
          <a:prstGeom prst="rect">
            <a:avLst/>
          </a:prstGeom>
          <a:noFill/>
        </p:spPr>
        <p:txBody>
          <a:bodyPr wrap="square" lIns="0" tIns="0" rIns="0" bIns="0" rtlCol="0">
            <a:noAutofit/>
          </a:bodyPr>
          <a:lstStyle/>
          <a:p>
            <a:pPr algn="l"/>
            <a:r>
              <a:rPr lang="en-US" sz="800"/>
              <a:t>Data Source: CBMA Weekly Leads Summary</a:t>
            </a:r>
          </a:p>
        </p:txBody>
      </p:sp>
      <p:sp>
        <p:nvSpPr>
          <p:cNvPr id="155" name="Text Placeholder 3">
            <a:extLst>
              <a:ext uri="{FF2B5EF4-FFF2-40B4-BE49-F238E27FC236}">
                <a16:creationId xmlns:a16="http://schemas.microsoft.com/office/drawing/2014/main" id="{D59CDDB9-6767-6AC3-EC95-277601F8BA8D}"/>
              </a:ext>
            </a:extLst>
          </p:cNvPr>
          <p:cNvSpPr txBox="1">
            <a:spLocks/>
          </p:cNvSpPr>
          <p:nvPr/>
        </p:nvSpPr>
        <p:spPr>
          <a:xfrm>
            <a:off x="463548" y="255612"/>
            <a:ext cx="11271251" cy="201168"/>
          </a:xfrm>
          <a:prstGeom prst="rect">
            <a:avLst/>
          </a:prstGeom>
        </p:spPr>
        <p:txBody>
          <a:bodyPr lIns="0" tIns="0" rIns="0" bIns="0" anchor="ctr"/>
          <a:lstStyle>
            <a:lvl1pPr marL="0" indent="0" algn="l" rtl="0" eaLnBrk="1" fontAlgn="base" hangingPunct="1">
              <a:lnSpc>
                <a:spcPct val="95000"/>
              </a:lnSpc>
              <a:spcBef>
                <a:spcPts val="1000"/>
              </a:spcBef>
              <a:spcAft>
                <a:spcPct val="0"/>
              </a:spcAft>
              <a:buFont typeface="Arial" panose="020B0604020202020204" pitchFamily="34" charset="0"/>
              <a:buNone/>
              <a:defRPr lang="en-US" sz="1000" b="0" i="0" kern="1200" cap="all" spc="200" baseline="0" dirty="0">
                <a:solidFill>
                  <a:schemeClr val="accent1"/>
                </a:solidFill>
                <a:latin typeface="Montserrat" panose="00000500000000000000" pitchFamily="2" charset="0"/>
                <a:ea typeface="Montserrat" panose="00000500000000000000" pitchFamily="2" charset="0"/>
                <a:cs typeface="Montserrat" panose="00000500000000000000" pitchFamily="2" charset="0"/>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APR CB Site Performance</a:t>
            </a:r>
          </a:p>
        </p:txBody>
      </p:sp>
    </p:spTree>
    <p:extLst>
      <p:ext uri="{BB962C8B-B14F-4D97-AF65-F5344CB8AC3E}">
        <p14:creationId xmlns:p14="http://schemas.microsoft.com/office/powerpoint/2010/main" val="3694387437"/>
      </p:ext>
    </p:extLst>
  </p:cSld>
  <p:clrMapOvr>
    <a:masterClrMapping/>
  </p:clrMapOvr>
  <p:transition spd="med"/>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37480E6-E559-4F76-AF62-08CFD224694D}"/>
              </a:ext>
            </a:extLst>
          </p:cNvPr>
          <p:cNvGraphicFramePr>
            <a:graphicFrameLocks noChangeAspect="1"/>
          </p:cNvGraphicFramePr>
          <p:nvPr>
            <p:custDataLst>
              <p:tags r:id="rId1"/>
            </p:custDataLst>
            <p:extLst>
              <p:ext uri="{D42A27DB-BD31-4B8C-83A1-F6EECF244321}">
                <p14:modId xmlns:p14="http://schemas.microsoft.com/office/powerpoint/2010/main" val="6256442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4" imgW="317" imgH="318" progId="TCLayout.ActiveDocument.1">
                  <p:embed/>
                </p:oleObj>
              </mc:Choice>
              <mc:Fallback>
                <p:oleObj name="think-cell Slide" r:id="rId34" imgW="317" imgH="318" progId="TCLayout.ActiveDocument.1">
                  <p:embed/>
                  <p:pic>
                    <p:nvPicPr>
                      <p:cNvPr id="6" name="think-cell data - do not delete" hidden="1">
                        <a:extLst>
                          <a:ext uri="{FF2B5EF4-FFF2-40B4-BE49-F238E27FC236}">
                            <a16:creationId xmlns:a16="http://schemas.microsoft.com/office/drawing/2014/main" id="{837480E6-E559-4F76-AF62-08CFD224694D}"/>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52BC261-C02D-46AB-91BF-A8AB02AC8AAC}"/>
              </a:ext>
            </a:extLst>
          </p:cNvPr>
          <p:cNvSpPr>
            <a:spLocks noGrp="1"/>
          </p:cNvSpPr>
          <p:nvPr>
            <p:ph type="title"/>
          </p:nvPr>
        </p:nvSpPr>
        <p:spPr>
          <a:xfrm>
            <a:off x="463548" y="514928"/>
            <a:ext cx="11271251" cy="365760"/>
          </a:xfrm>
        </p:spPr>
        <p:txBody>
          <a:bodyPr vert="horz"/>
          <a:lstStyle/>
          <a:p>
            <a:r>
              <a:rPr lang="en-US" dirty="0"/>
              <a:t>SB May Digital Demand 124% to BUD; Digital Lead Share 61% MOM</a:t>
            </a:r>
          </a:p>
        </p:txBody>
      </p:sp>
      <p:graphicFrame>
        <p:nvGraphicFramePr>
          <p:cNvPr id="518" name="Chart 517">
            <a:extLst>
              <a:ext uri="{FF2B5EF4-FFF2-40B4-BE49-F238E27FC236}">
                <a16:creationId xmlns:a16="http://schemas.microsoft.com/office/drawing/2014/main" id="{35F15C55-885F-A37D-E81C-75930AB6081E}"/>
              </a:ext>
            </a:extLst>
          </p:cNvPr>
          <p:cNvGraphicFramePr/>
          <p:nvPr>
            <p:custDataLst>
              <p:tags r:id="rId2"/>
            </p:custDataLst>
            <p:extLst>
              <p:ext uri="{D42A27DB-BD31-4B8C-83A1-F6EECF244321}">
                <p14:modId xmlns:p14="http://schemas.microsoft.com/office/powerpoint/2010/main" val="955046726"/>
              </p:ext>
            </p:extLst>
          </p:nvPr>
        </p:nvGraphicFramePr>
        <p:xfrm>
          <a:off x="1176338" y="2682875"/>
          <a:ext cx="8445500" cy="3454400"/>
        </p:xfrm>
        <a:graphic>
          <a:graphicData uri="http://schemas.openxmlformats.org/drawingml/2006/chart">
            <c:chart xmlns:c="http://schemas.openxmlformats.org/drawingml/2006/chart" xmlns:r="http://schemas.openxmlformats.org/officeDocument/2006/relationships" r:id="rId36"/>
          </a:graphicData>
        </a:graphic>
      </p:graphicFrame>
      <p:cxnSp>
        <p:nvCxnSpPr>
          <p:cNvPr id="468" name="Straight Connector 467">
            <a:extLst>
              <a:ext uri="{FF2B5EF4-FFF2-40B4-BE49-F238E27FC236}">
                <a16:creationId xmlns:a16="http://schemas.microsoft.com/office/drawing/2014/main" id="{FB2FB548-429A-98D4-E728-A1257B1DD053}"/>
              </a:ext>
            </a:extLst>
          </p:cNvPr>
          <p:cNvCxnSpPr/>
          <p:nvPr>
            <p:custDataLst>
              <p:tags r:id="rId3"/>
            </p:custDataLst>
          </p:nvPr>
        </p:nvCxnSpPr>
        <p:spPr bwMode="auto">
          <a:xfrm>
            <a:off x="2851150" y="3671888"/>
            <a:ext cx="0" cy="2381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9" name="Straight Connector 468">
            <a:extLst>
              <a:ext uri="{FF2B5EF4-FFF2-40B4-BE49-F238E27FC236}">
                <a16:creationId xmlns:a16="http://schemas.microsoft.com/office/drawing/2014/main" id="{FE00EE93-5CED-52C0-A0EE-1D6409DF7180}"/>
              </a:ext>
            </a:extLst>
          </p:cNvPr>
          <p:cNvCxnSpPr/>
          <p:nvPr>
            <p:custDataLst>
              <p:tags r:id="rId4"/>
            </p:custDataLst>
          </p:nvPr>
        </p:nvCxnSpPr>
        <p:spPr bwMode="auto">
          <a:xfrm>
            <a:off x="4760913" y="3643313"/>
            <a:ext cx="0" cy="2381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2" name="Text Placeholder 2">
            <a:extLst>
              <a:ext uri="{FF2B5EF4-FFF2-40B4-BE49-F238E27FC236}">
                <a16:creationId xmlns:a16="http://schemas.microsoft.com/office/drawing/2014/main" id="{D1F4C20B-0486-44E7-9E74-C8DC0F6D31CC}"/>
              </a:ext>
            </a:extLst>
          </p:cNvPr>
          <p:cNvSpPr>
            <a:spLocks noGrp="1" noChangeArrowheads="1"/>
          </p:cNvSpPr>
          <p:nvPr>
            <p:custDataLst>
              <p:tags r:id="rId5"/>
            </p:custDataLst>
          </p:nvPr>
        </p:nvSpPr>
        <p:spPr bwMode="auto">
          <a:xfrm>
            <a:off x="1450975" y="5929313"/>
            <a:ext cx="250825" cy="1301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D146B116-554B-47E1-87C6-631547E9546C}" type="datetime'''''M''''''a''''''y'">
              <a:rPr lang="en-US" altLang="en-US" sz="900" smtClean="0"/>
              <a:pPr/>
              <a:t>May</a:t>
            </a:fld>
            <a:endParaRPr lang="en-US" altLang="en-US" sz="900"/>
          </a:p>
        </p:txBody>
      </p:sp>
      <p:sp>
        <p:nvSpPr>
          <p:cNvPr id="93" name="Text Placeholder 2">
            <a:extLst>
              <a:ext uri="{FF2B5EF4-FFF2-40B4-BE49-F238E27FC236}">
                <a16:creationId xmlns:a16="http://schemas.microsoft.com/office/drawing/2014/main" id="{AD23648E-4B26-4C01-A249-371F73ADE948}"/>
              </a:ext>
            </a:extLst>
          </p:cNvPr>
          <p:cNvSpPr>
            <a:spLocks noGrp="1" noChangeArrowheads="1"/>
          </p:cNvSpPr>
          <p:nvPr>
            <p:custDataLst>
              <p:tags r:id="rId6"/>
            </p:custDataLst>
          </p:nvPr>
        </p:nvSpPr>
        <p:spPr bwMode="auto">
          <a:xfrm>
            <a:off x="2101850" y="5929313"/>
            <a:ext cx="223838" cy="1301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75BE03CA-DEB8-43B1-A8C4-AC1F96FF3102}" type="datetime'''''''J''''''''''''''''''''''''''''''''u''''''n'">
              <a:rPr lang="en-US" altLang="en-US" sz="900" smtClean="0"/>
              <a:pPr/>
              <a:t>Jun</a:t>
            </a:fld>
            <a:endParaRPr lang="en-US" altLang="en-US" sz="900"/>
          </a:p>
        </p:txBody>
      </p:sp>
      <p:sp>
        <p:nvSpPr>
          <p:cNvPr id="94" name="Text Placeholder 2">
            <a:extLst>
              <a:ext uri="{FF2B5EF4-FFF2-40B4-BE49-F238E27FC236}">
                <a16:creationId xmlns:a16="http://schemas.microsoft.com/office/drawing/2014/main" id="{B752CB7A-8F0E-4680-841A-2725D44B7EDB}"/>
              </a:ext>
            </a:extLst>
          </p:cNvPr>
          <p:cNvSpPr>
            <a:spLocks noGrp="1" noChangeArrowheads="1"/>
          </p:cNvSpPr>
          <p:nvPr>
            <p:custDataLst>
              <p:tags r:id="rId7"/>
            </p:custDataLst>
          </p:nvPr>
        </p:nvSpPr>
        <p:spPr bwMode="auto">
          <a:xfrm>
            <a:off x="2763838" y="5929313"/>
            <a:ext cx="176213" cy="1301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A8342210-EFCA-4143-B401-7509F960CC2D}" type="datetime'''Ju''''''''''''''''''''''''''''''''''l'''''''''''''''''">
              <a:rPr lang="en-US" altLang="en-US" sz="900" smtClean="0"/>
              <a:pPr/>
              <a:t>Jul</a:t>
            </a:fld>
            <a:endParaRPr lang="en-US" altLang="en-US" sz="900"/>
          </a:p>
        </p:txBody>
      </p:sp>
      <p:sp>
        <p:nvSpPr>
          <p:cNvPr id="95" name="Text Placeholder 2">
            <a:extLst>
              <a:ext uri="{FF2B5EF4-FFF2-40B4-BE49-F238E27FC236}">
                <a16:creationId xmlns:a16="http://schemas.microsoft.com/office/drawing/2014/main" id="{ABF42534-D62A-4538-BB0B-96AB4C5E19FF}"/>
              </a:ext>
            </a:extLst>
          </p:cNvPr>
          <p:cNvSpPr>
            <a:spLocks noGrp="1" noChangeArrowheads="1"/>
          </p:cNvSpPr>
          <p:nvPr>
            <p:custDataLst>
              <p:tags r:id="rId8"/>
            </p:custDataLst>
          </p:nvPr>
        </p:nvSpPr>
        <p:spPr bwMode="auto">
          <a:xfrm>
            <a:off x="3363913" y="5929313"/>
            <a:ext cx="249238" cy="1301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90AB1C09-47A8-4CDE-A81F-A47655C22EA9}" type="datetime'''''''''Au''''''''''''''''''''''''''''''''''''g'">
              <a:rPr lang="en-US" altLang="en-US" sz="900" smtClean="0"/>
              <a:pPr/>
              <a:t>Aug</a:t>
            </a:fld>
            <a:endParaRPr lang="en-US" altLang="en-US" sz="900"/>
          </a:p>
        </p:txBody>
      </p:sp>
      <p:sp>
        <p:nvSpPr>
          <p:cNvPr id="157" name="Text Placeholder 2">
            <a:extLst>
              <a:ext uri="{FF2B5EF4-FFF2-40B4-BE49-F238E27FC236}">
                <a16:creationId xmlns:a16="http://schemas.microsoft.com/office/drawing/2014/main" id="{558C8C79-C21C-3B57-AB51-B7B4CEA9233A}"/>
              </a:ext>
            </a:extLst>
          </p:cNvPr>
          <p:cNvSpPr>
            <a:spLocks noGrp="1" noChangeArrowheads="1"/>
          </p:cNvSpPr>
          <p:nvPr>
            <p:custDataLst>
              <p:tags r:id="rId9"/>
            </p:custDataLst>
          </p:nvPr>
        </p:nvSpPr>
        <p:spPr bwMode="auto">
          <a:xfrm>
            <a:off x="4010025" y="5929313"/>
            <a:ext cx="228600" cy="1301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81AF9C8E-7ADF-4EB5-9146-0D36406D4361}" type="datetime'S''''''''''''''''''''e''''''''p'''''''''''''''''''''''''''''''">
              <a:rPr lang="en-US" altLang="en-US" sz="900" smtClean="0"/>
              <a:pPr/>
              <a:t>Sep</a:t>
            </a:fld>
            <a:endParaRPr lang="en-US" altLang="en-US" sz="900"/>
          </a:p>
        </p:txBody>
      </p:sp>
      <p:sp>
        <p:nvSpPr>
          <p:cNvPr id="13" name="Text Placeholder 2">
            <a:extLst>
              <a:ext uri="{FF2B5EF4-FFF2-40B4-BE49-F238E27FC236}">
                <a16:creationId xmlns:a16="http://schemas.microsoft.com/office/drawing/2014/main" id="{FDDE2178-A972-9BF8-E6C6-AC3F0699408E}"/>
              </a:ext>
            </a:extLst>
          </p:cNvPr>
          <p:cNvSpPr>
            <a:spLocks noGrp="1" noChangeArrowheads="1"/>
          </p:cNvSpPr>
          <p:nvPr>
            <p:custDataLst>
              <p:tags r:id="rId10"/>
            </p:custDataLst>
          </p:nvPr>
        </p:nvSpPr>
        <p:spPr bwMode="auto">
          <a:xfrm>
            <a:off x="4651375" y="5929313"/>
            <a:ext cx="219075" cy="1301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C6DF4064-CAB6-4D9D-8622-6B6DBCEE92A3}" type="datetime'''''''O''''''''''''''''''''''''''''ct'''''''''''''''">
              <a:rPr lang="en-US" altLang="en-US" sz="900" smtClean="0"/>
              <a:pPr/>
              <a:t>Oct</a:t>
            </a:fld>
            <a:endParaRPr lang="en-US" altLang="en-US" sz="900"/>
          </a:p>
        </p:txBody>
      </p:sp>
      <p:sp>
        <p:nvSpPr>
          <p:cNvPr id="2" name="Text Placeholder 2">
            <a:extLst>
              <a:ext uri="{FF2B5EF4-FFF2-40B4-BE49-F238E27FC236}">
                <a16:creationId xmlns:a16="http://schemas.microsoft.com/office/drawing/2014/main" id="{6540A56E-EE2D-F3BF-EBB7-CF0ABA49A398}"/>
              </a:ext>
            </a:extLst>
          </p:cNvPr>
          <p:cNvSpPr>
            <a:spLocks noGrp="1" noChangeArrowheads="1"/>
          </p:cNvSpPr>
          <p:nvPr>
            <p:custDataLst>
              <p:tags r:id="rId11"/>
            </p:custDataLst>
          </p:nvPr>
        </p:nvSpPr>
        <p:spPr bwMode="auto">
          <a:xfrm>
            <a:off x="5280025" y="5929313"/>
            <a:ext cx="239713" cy="1301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12A57663-F89A-41AD-90E4-8C7216178C32}" type="datetime'''''''''''N''''''''''''o''''''v'''''''''''''''''''">
              <a:rPr lang="en-US" altLang="en-US" sz="900" smtClean="0"/>
              <a:pPr/>
              <a:t>Nov</a:t>
            </a:fld>
            <a:endParaRPr lang="en-US" altLang="en-US" sz="900"/>
          </a:p>
        </p:txBody>
      </p:sp>
      <p:sp>
        <p:nvSpPr>
          <p:cNvPr id="5" name="Text Placeholder 2">
            <a:extLst>
              <a:ext uri="{FF2B5EF4-FFF2-40B4-BE49-F238E27FC236}">
                <a16:creationId xmlns:a16="http://schemas.microsoft.com/office/drawing/2014/main" id="{518A6B09-538F-5A58-5318-B1C4B79BA99F}"/>
              </a:ext>
            </a:extLst>
          </p:cNvPr>
          <p:cNvSpPr>
            <a:spLocks noGrp="1" noChangeArrowheads="1"/>
          </p:cNvSpPr>
          <p:nvPr>
            <p:custDataLst>
              <p:tags r:id="rId12"/>
            </p:custDataLst>
          </p:nvPr>
        </p:nvSpPr>
        <p:spPr bwMode="auto">
          <a:xfrm>
            <a:off x="5916613" y="5929313"/>
            <a:ext cx="239713" cy="1301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4A7CFBAE-2934-41C5-B00B-67D06336B3C2}" type="datetime'D''''''''''''''''''ec'''''''''">
              <a:rPr lang="en-US" altLang="en-US" sz="900" smtClean="0"/>
              <a:pPr/>
              <a:t>Dec</a:t>
            </a:fld>
            <a:endParaRPr lang="en-US" altLang="en-US" sz="900"/>
          </a:p>
        </p:txBody>
      </p:sp>
      <p:sp>
        <p:nvSpPr>
          <p:cNvPr id="12" name="Text Placeholder 2">
            <a:extLst>
              <a:ext uri="{FF2B5EF4-FFF2-40B4-BE49-F238E27FC236}">
                <a16:creationId xmlns:a16="http://schemas.microsoft.com/office/drawing/2014/main" id="{05294495-F750-B9D1-042E-F002ADA90326}"/>
              </a:ext>
            </a:extLst>
          </p:cNvPr>
          <p:cNvSpPr>
            <a:spLocks noGrp="1" noChangeArrowheads="1"/>
          </p:cNvSpPr>
          <p:nvPr>
            <p:custDataLst>
              <p:tags r:id="rId13"/>
            </p:custDataLst>
          </p:nvPr>
        </p:nvSpPr>
        <p:spPr bwMode="auto">
          <a:xfrm>
            <a:off x="6483350" y="5929313"/>
            <a:ext cx="379413" cy="1301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6942619D-8F22-41BC-99CA-0BCD2AB70ADE}" type="datetime'''''''J''''an''''''''''''''''''''''''’2''4'''''''''''''''''">
              <a:rPr lang="en-US" altLang="en-US" sz="900" smtClean="0"/>
              <a:pPr/>
              <a:t>Jan’24</a:t>
            </a:fld>
            <a:endParaRPr lang="en-US" altLang="en-US" sz="900"/>
          </a:p>
        </p:txBody>
      </p:sp>
      <p:sp>
        <p:nvSpPr>
          <p:cNvPr id="29" name="Text Placeholder 2">
            <a:extLst>
              <a:ext uri="{FF2B5EF4-FFF2-40B4-BE49-F238E27FC236}">
                <a16:creationId xmlns:a16="http://schemas.microsoft.com/office/drawing/2014/main" id="{3073E408-21A5-876D-D926-12F0DFD05FCA}"/>
              </a:ext>
            </a:extLst>
          </p:cNvPr>
          <p:cNvSpPr>
            <a:spLocks noGrp="1" noChangeArrowheads="1"/>
          </p:cNvSpPr>
          <p:nvPr>
            <p:custDataLst>
              <p:tags r:id="rId14"/>
            </p:custDataLst>
          </p:nvPr>
        </p:nvSpPr>
        <p:spPr bwMode="auto">
          <a:xfrm>
            <a:off x="7110413" y="5929313"/>
            <a:ext cx="396875" cy="1301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0E8482F3-F3D3-4D07-82D9-D859ADA47DC4}" type="datetime'''''''''''''''''''''''''F''''e''''b''''''’''''2''''''''4'''''">
              <a:rPr lang="en-US" altLang="en-US" sz="900" smtClean="0"/>
              <a:pPr/>
              <a:t>Feb’24</a:t>
            </a:fld>
            <a:endParaRPr lang="en-US" altLang="en-US" sz="900"/>
          </a:p>
        </p:txBody>
      </p:sp>
      <p:sp>
        <p:nvSpPr>
          <p:cNvPr id="14" name="Text Placeholder 2">
            <a:extLst>
              <a:ext uri="{FF2B5EF4-FFF2-40B4-BE49-F238E27FC236}">
                <a16:creationId xmlns:a16="http://schemas.microsoft.com/office/drawing/2014/main" id="{CCD7B0EE-C5A9-A0AF-FA6A-3F3811E84012}"/>
              </a:ext>
            </a:extLst>
          </p:cNvPr>
          <p:cNvSpPr>
            <a:spLocks noGrp="1" noChangeArrowheads="1"/>
          </p:cNvSpPr>
          <p:nvPr>
            <p:custDataLst>
              <p:tags r:id="rId15"/>
            </p:custDataLst>
          </p:nvPr>
        </p:nvSpPr>
        <p:spPr bwMode="auto">
          <a:xfrm>
            <a:off x="7747000" y="5929313"/>
            <a:ext cx="400050" cy="1301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639C1B31-EFCC-4229-AD0F-F9E412920A13}" type="datetime'''M''''''''''a''''r’''''''''2''''''''''''''''''4'''''''''''''">
              <a:rPr lang="en-US" altLang="en-US" sz="900" smtClean="0"/>
              <a:pPr/>
              <a:t>Mar’24</a:t>
            </a:fld>
            <a:endParaRPr lang="en-US" altLang="en-US" sz="900"/>
          </a:p>
        </p:txBody>
      </p:sp>
      <p:sp>
        <p:nvSpPr>
          <p:cNvPr id="44" name="Text Placeholder 2">
            <a:extLst>
              <a:ext uri="{FF2B5EF4-FFF2-40B4-BE49-F238E27FC236}">
                <a16:creationId xmlns:a16="http://schemas.microsoft.com/office/drawing/2014/main" id="{EFDBD0EE-9DC6-0009-ED66-C93446B6EE37}"/>
              </a:ext>
            </a:extLst>
          </p:cNvPr>
          <p:cNvSpPr>
            <a:spLocks noGrp="1" noChangeArrowheads="1"/>
          </p:cNvSpPr>
          <p:nvPr>
            <p:custDataLst>
              <p:tags r:id="rId16"/>
            </p:custDataLst>
          </p:nvPr>
        </p:nvSpPr>
        <p:spPr bwMode="auto">
          <a:xfrm>
            <a:off x="8391525" y="5929313"/>
            <a:ext cx="384175" cy="1301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3D4494CE-1510-448E-B1EF-DCEB1BE86A61}" type="datetime'''''''Ap''''''r''''''''’''''''''''''''''''''''''24'''''''''">
              <a:rPr lang="en-US" altLang="en-US" sz="900" smtClean="0"/>
              <a:pPr/>
              <a:t>Apr’24</a:t>
            </a:fld>
            <a:endParaRPr lang="en-US" altLang="en-US" sz="900"/>
          </a:p>
        </p:txBody>
      </p:sp>
      <p:sp>
        <p:nvSpPr>
          <p:cNvPr id="45" name="Text Placeholder 2">
            <a:extLst>
              <a:ext uri="{FF2B5EF4-FFF2-40B4-BE49-F238E27FC236}">
                <a16:creationId xmlns:a16="http://schemas.microsoft.com/office/drawing/2014/main" id="{22FE8F7D-9A7A-6EED-0391-371CF224B77C}"/>
              </a:ext>
            </a:extLst>
          </p:cNvPr>
          <p:cNvSpPr>
            <a:spLocks noGrp="1" noChangeArrowheads="1"/>
          </p:cNvSpPr>
          <p:nvPr>
            <p:custDataLst>
              <p:tags r:id="rId17"/>
            </p:custDataLst>
          </p:nvPr>
        </p:nvSpPr>
        <p:spPr bwMode="auto">
          <a:xfrm>
            <a:off x="9012238" y="5929313"/>
            <a:ext cx="415925" cy="1301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0F9B8EB3-C2DB-4E60-8067-36A856505112}" type="datetime'''''''''''Ma''''''''''y''''''''''''’2''''''''''4'''''''''''''">
              <a:rPr lang="en-US" altLang="en-US" sz="900" smtClean="0"/>
              <a:pPr/>
              <a:t>May’24</a:t>
            </a:fld>
            <a:endParaRPr lang="en-US" altLang="en-US" sz="900"/>
          </a:p>
        </p:txBody>
      </p:sp>
      <p:sp>
        <p:nvSpPr>
          <p:cNvPr id="133" name="Rectangle 132">
            <a:extLst>
              <a:ext uri="{FF2B5EF4-FFF2-40B4-BE49-F238E27FC236}">
                <a16:creationId xmlns:a16="http://schemas.microsoft.com/office/drawing/2014/main" id="{F5E3FB32-5A3C-69FA-CE0E-7B6E38160C2F}"/>
              </a:ext>
            </a:extLst>
          </p:cNvPr>
          <p:cNvSpPr/>
          <p:nvPr>
            <p:custDataLst>
              <p:tags r:id="rId18"/>
            </p:custDataLst>
          </p:nvPr>
        </p:nvSpPr>
        <p:spPr bwMode="gray">
          <a:xfrm>
            <a:off x="1419225" y="4019550"/>
            <a:ext cx="315913" cy="1444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5000"/>
              </a:lnSpc>
              <a:spcBef>
                <a:spcPct val="0"/>
              </a:spcBef>
              <a:spcAft>
                <a:spcPct val="0"/>
              </a:spcAft>
            </a:pPr>
            <a:fld id="{03789D64-41A4-4F25-86EB-D575062BE9B6}" type="datetime'2,''''''1''1''''2'''''''''''''''''''''''">
              <a:rPr lang="en-US" altLang="en-US" sz="1000" b="1" smtClean="0">
                <a:solidFill>
                  <a:schemeClr val="tx1"/>
                </a:solidFill>
              </a:rPr>
              <a:pPr/>
              <a:t>2,112</a:t>
            </a:fld>
            <a:endParaRPr lang="en-US" sz="1000" b="1">
              <a:solidFill>
                <a:schemeClr val="tx1"/>
              </a:solidFill>
            </a:endParaRPr>
          </a:p>
        </p:txBody>
      </p:sp>
      <p:sp>
        <p:nvSpPr>
          <p:cNvPr id="136" name="Rectangle 135">
            <a:extLst>
              <a:ext uri="{FF2B5EF4-FFF2-40B4-BE49-F238E27FC236}">
                <a16:creationId xmlns:a16="http://schemas.microsoft.com/office/drawing/2014/main" id="{666D31D7-F79D-E016-E08C-4A98283AF967}"/>
              </a:ext>
            </a:extLst>
          </p:cNvPr>
          <p:cNvSpPr/>
          <p:nvPr>
            <p:custDataLst>
              <p:tags r:id="rId19"/>
            </p:custDataLst>
          </p:nvPr>
        </p:nvSpPr>
        <p:spPr bwMode="gray">
          <a:xfrm>
            <a:off x="2036763" y="3968750"/>
            <a:ext cx="352425" cy="1444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5000"/>
              </a:lnSpc>
              <a:spcBef>
                <a:spcPct val="0"/>
              </a:spcBef>
              <a:spcAft>
                <a:spcPct val="0"/>
              </a:spcAft>
            </a:pPr>
            <a:fld id="{FD0E9043-6693-455C-A5D1-B4F0740405D6}" type="datetime'''''''''2,''''''''1''''7''''''6'''''''''''''''''''''''''">
              <a:rPr lang="en-US" altLang="en-US" sz="1000" b="1" smtClean="0">
                <a:solidFill>
                  <a:schemeClr val="tx1"/>
                </a:solidFill>
              </a:rPr>
              <a:pPr/>
              <a:t>2,176</a:t>
            </a:fld>
            <a:endParaRPr lang="en-US" sz="1000" b="1">
              <a:solidFill>
                <a:schemeClr val="tx1"/>
              </a:solidFill>
            </a:endParaRPr>
          </a:p>
        </p:txBody>
      </p:sp>
      <p:sp>
        <p:nvSpPr>
          <p:cNvPr id="138" name="Rectangle 137">
            <a:extLst>
              <a:ext uri="{FF2B5EF4-FFF2-40B4-BE49-F238E27FC236}">
                <a16:creationId xmlns:a16="http://schemas.microsoft.com/office/drawing/2014/main" id="{A75A03CA-E6AC-5E30-AF45-0E3C32ED9A40}"/>
              </a:ext>
            </a:extLst>
          </p:cNvPr>
          <p:cNvSpPr/>
          <p:nvPr>
            <p:custDataLst>
              <p:tags r:id="rId20"/>
            </p:custDataLst>
          </p:nvPr>
        </p:nvSpPr>
        <p:spPr bwMode="gray">
          <a:xfrm>
            <a:off x="2687638" y="4100513"/>
            <a:ext cx="327025" cy="1444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5000"/>
              </a:lnSpc>
              <a:spcBef>
                <a:spcPct val="0"/>
              </a:spcBef>
              <a:spcAft>
                <a:spcPct val="0"/>
              </a:spcAft>
            </a:pPr>
            <a:fld id="{4AF4CD26-7E41-4BB6-98FF-4163044F4BC3}" type="datetime'''2'''''''',''''''''''''''''''''0''''''''''''''''1''''1'''''">
              <a:rPr lang="en-US" altLang="en-US" sz="1000" b="1" smtClean="0">
                <a:solidFill>
                  <a:schemeClr val="tx1"/>
                </a:solidFill>
              </a:rPr>
              <a:pPr/>
              <a:t>2,011</a:t>
            </a:fld>
            <a:endParaRPr lang="en-US" sz="1000" b="1">
              <a:solidFill>
                <a:schemeClr val="tx1"/>
              </a:solidFill>
            </a:endParaRPr>
          </a:p>
        </p:txBody>
      </p:sp>
      <p:sp>
        <p:nvSpPr>
          <p:cNvPr id="140" name="Rectangle 139">
            <a:extLst>
              <a:ext uri="{FF2B5EF4-FFF2-40B4-BE49-F238E27FC236}">
                <a16:creationId xmlns:a16="http://schemas.microsoft.com/office/drawing/2014/main" id="{1A284DB8-8E6A-DE74-FEA3-02DFE3A6CFDE}"/>
              </a:ext>
            </a:extLst>
          </p:cNvPr>
          <p:cNvSpPr/>
          <p:nvPr>
            <p:custDataLst>
              <p:tags r:id="rId21"/>
            </p:custDataLst>
          </p:nvPr>
        </p:nvSpPr>
        <p:spPr bwMode="gray">
          <a:xfrm>
            <a:off x="3314700" y="4000500"/>
            <a:ext cx="347663" cy="1444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5000"/>
              </a:lnSpc>
              <a:spcBef>
                <a:spcPct val="0"/>
              </a:spcBef>
              <a:spcAft>
                <a:spcPct val="0"/>
              </a:spcAft>
            </a:pPr>
            <a:fld id="{BFEDC616-15C0-48CE-B248-1F1885D55955}" type="datetime'''''''''''''''2'',1''''''''''''''''''''3''6'''''''''''''">
              <a:rPr lang="en-US" altLang="en-US" sz="1000" b="1" smtClean="0">
                <a:solidFill>
                  <a:schemeClr val="tx1"/>
                </a:solidFill>
              </a:rPr>
              <a:pPr/>
              <a:t>2,136</a:t>
            </a:fld>
            <a:endParaRPr lang="en-US" sz="1000" b="1">
              <a:solidFill>
                <a:schemeClr val="tx1"/>
              </a:solidFill>
            </a:endParaRPr>
          </a:p>
        </p:txBody>
      </p:sp>
      <p:sp>
        <p:nvSpPr>
          <p:cNvPr id="141" name="Rectangle 140">
            <a:extLst>
              <a:ext uri="{FF2B5EF4-FFF2-40B4-BE49-F238E27FC236}">
                <a16:creationId xmlns:a16="http://schemas.microsoft.com/office/drawing/2014/main" id="{CE5D30AB-C69A-E911-5174-5DC7CBD7AB46}"/>
              </a:ext>
            </a:extLst>
          </p:cNvPr>
          <p:cNvSpPr/>
          <p:nvPr>
            <p:custDataLst>
              <p:tags r:id="rId22"/>
            </p:custDataLst>
          </p:nvPr>
        </p:nvSpPr>
        <p:spPr bwMode="gray">
          <a:xfrm>
            <a:off x="3963988" y="4014788"/>
            <a:ext cx="322263" cy="1444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5000"/>
              </a:lnSpc>
              <a:spcBef>
                <a:spcPct val="0"/>
              </a:spcBef>
              <a:spcAft>
                <a:spcPct val="0"/>
              </a:spcAft>
            </a:pPr>
            <a:fld id="{6AC84948-93F5-44D5-B857-B6069BAFDE81}" type="datetime'''''''''''''''2'''''''''''''''''''''''',1''''''''''''19'''''''">
              <a:rPr lang="en-US" altLang="en-US" sz="1000" b="1" smtClean="0">
                <a:solidFill>
                  <a:schemeClr val="tx1"/>
                </a:solidFill>
              </a:rPr>
              <a:pPr/>
              <a:t>2,119</a:t>
            </a:fld>
            <a:endParaRPr lang="en-US" sz="1000" b="1">
              <a:solidFill>
                <a:schemeClr val="tx1"/>
              </a:solidFill>
            </a:endParaRPr>
          </a:p>
        </p:txBody>
      </p:sp>
      <p:sp>
        <p:nvSpPr>
          <p:cNvPr id="142" name="Rectangle 141">
            <a:extLst>
              <a:ext uri="{FF2B5EF4-FFF2-40B4-BE49-F238E27FC236}">
                <a16:creationId xmlns:a16="http://schemas.microsoft.com/office/drawing/2014/main" id="{301E7B15-47E3-2BC0-EC57-A86EEEB2446D}"/>
              </a:ext>
            </a:extLst>
          </p:cNvPr>
          <p:cNvSpPr/>
          <p:nvPr>
            <p:custDataLst>
              <p:tags r:id="rId23"/>
            </p:custDataLst>
          </p:nvPr>
        </p:nvSpPr>
        <p:spPr bwMode="gray">
          <a:xfrm>
            <a:off x="4583113" y="4124325"/>
            <a:ext cx="357188" cy="1444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5000"/>
              </a:lnSpc>
              <a:spcBef>
                <a:spcPct val="0"/>
              </a:spcBef>
              <a:spcAft>
                <a:spcPct val="0"/>
              </a:spcAft>
            </a:pPr>
            <a:fld id="{D7BDC1C4-4BBD-4BDD-88ED-659622A53093}" type="datetime'1,98''''''''''''''''''''''''''''''''''''''2'''''''''''''''''''">
              <a:rPr lang="en-US" altLang="en-US" sz="1000" b="1" smtClean="0">
                <a:solidFill>
                  <a:schemeClr val="tx1"/>
                </a:solidFill>
              </a:rPr>
              <a:pPr/>
              <a:t>1,982</a:t>
            </a:fld>
            <a:endParaRPr lang="en-US" sz="1000" b="1">
              <a:solidFill>
                <a:schemeClr val="tx1"/>
              </a:solidFill>
            </a:endParaRPr>
          </a:p>
        </p:txBody>
      </p:sp>
      <p:sp>
        <p:nvSpPr>
          <p:cNvPr id="143" name="Rectangle 142">
            <a:extLst>
              <a:ext uri="{FF2B5EF4-FFF2-40B4-BE49-F238E27FC236}">
                <a16:creationId xmlns:a16="http://schemas.microsoft.com/office/drawing/2014/main" id="{28FEF6B9-1BBC-809C-0AEB-9EBCA118E448}"/>
              </a:ext>
            </a:extLst>
          </p:cNvPr>
          <p:cNvSpPr/>
          <p:nvPr>
            <p:custDataLst>
              <p:tags r:id="rId24"/>
            </p:custDataLst>
          </p:nvPr>
        </p:nvSpPr>
        <p:spPr bwMode="gray">
          <a:xfrm>
            <a:off x="5218113" y="4210050"/>
            <a:ext cx="361950" cy="1444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5000"/>
              </a:lnSpc>
              <a:spcBef>
                <a:spcPct val="0"/>
              </a:spcBef>
              <a:spcAft>
                <a:spcPct val="0"/>
              </a:spcAft>
            </a:pPr>
            <a:fld id="{7EEDB624-2D83-42B8-9B5B-24A4D0FB999B}" type="datetime'''1'''''''''''',''''''''''''876'''''">
              <a:rPr lang="en-US" altLang="en-US" sz="1000" b="1" smtClean="0">
                <a:solidFill>
                  <a:schemeClr val="tx1"/>
                </a:solidFill>
              </a:rPr>
              <a:pPr/>
              <a:t>1,876</a:t>
            </a:fld>
            <a:endParaRPr lang="en-US" sz="1000" b="1">
              <a:solidFill>
                <a:schemeClr val="tx1"/>
              </a:solidFill>
            </a:endParaRPr>
          </a:p>
        </p:txBody>
      </p:sp>
      <p:sp>
        <p:nvSpPr>
          <p:cNvPr id="144" name="Rectangle 143">
            <a:extLst>
              <a:ext uri="{FF2B5EF4-FFF2-40B4-BE49-F238E27FC236}">
                <a16:creationId xmlns:a16="http://schemas.microsoft.com/office/drawing/2014/main" id="{AE43B429-6A58-F04E-D804-FC7A50EA184C}"/>
              </a:ext>
            </a:extLst>
          </p:cNvPr>
          <p:cNvSpPr/>
          <p:nvPr>
            <p:custDataLst>
              <p:tags r:id="rId25"/>
            </p:custDataLst>
          </p:nvPr>
        </p:nvSpPr>
        <p:spPr bwMode="gray">
          <a:xfrm>
            <a:off x="5856288" y="4289425"/>
            <a:ext cx="360363" cy="1444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5000"/>
              </a:lnSpc>
              <a:spcBef>
                <a:spcPct val="0"/>
              </a:spcBef>
              <a:spcAft>
                <a:spcPct val="0"/>
              </a:spcAft>
            </a:pPr>
            <a:fld id="{791A001B-5EB6-45E5-9824-03CDDA543C74}" type="datetime'''''''''''1'',''''''''''''''''7''''7''''''''''''''''8'''''''''">
              <a:rPr lang="en-US" altLang="en-US" sz="1000" b="1" smtClean="0">
                <a:solidFill>
                  <a:schemeClr val="tx1"/>
                </a:solidFill>
              </a:rPr>
              <a:pPr/>
              <a:t>1,778</a:t>
            </a:fld>
            <a:endParaRPr lang="en-US" sz="1000" b="1">
              <a:solidFill>
                <a:schemeClr val="tx1"/>
              </a:solidFill>
            </a:endParaRPr>
          </a:p>
        </p:txBody>
      </p:sp>
      <p:sp>
        <p:nvSpPr>
          <p:cNvPr id="145" name="Rectangle 144">
            <a:extLst>
              <a:ext uri="{FF2B5EF4-FFF2-40B4-BE49-F238E27FC236}">
                <a16:creationId xmlns:a16="http://schemas.microsoft.com/office/drawing/2014/main" id="{10C05696-0654-C337-05FA-2D4BE14708E9}"/>
              </a:ext>
            </a:extLst>
          </p:cNvPr>
          <p:cNvSpPr/>
          <p:nvPr>
            <p:custDataLst>
              <p:tags r:id="rId26"/>
            </p:custDataLst>
          </p:nvPr>
        </p:nvSpPr>
        <p:spPr bwMode="gray">
          <a:xfrm>
            <a:off x="6505575" y="4179888"/>
            <a:ext cx="334963" cy="1444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5000"/>
              </a:lnSpc>
              <a:spcBef>
                <a:spcPct val="0"/>
              </a:spcBef>
              <a:spcAft>
                <a:spcPct val="0"/>
              </a:spcAft>
            </a:pPr>
            <a:fld id="{870A4015-7B92-4CC1-945F-DB978DEB06F4}" type="datetime'''''''1'''''''''',''''''''''''''''''9''1''''''''4'''''''''">
              <a:rPr lang="en-US" altLang="en-US" sz="1000" b="1" smtClean="0">
                <a:solidFill>
                  <a:schemeClr val="tx1"/>
                </a:solidFill>
              </a:rPr>
              <a:pPr/>
              <a:t>1,914</a:t>
            </a:fld>
            <a:endParaRPr lang="en-US" sz="1000" b="1">
              <a:solidFill>
                <a:schemeClr val="tx1"/>
              </a:solidFill>
            </a:endParaRPr>
          </a:p>
        </p:txBody>
      </p:sp>
      <p:sp>
        <p:nvSpPr>
          <p:cNvPr id="146" name="Rectangle 145">
            <a:extLst>
              <a:ext uri="{FF2B5EF4-FFF2-40B4-BE49-F238E27FC236}">
                <a16:creationId xmlns:a16="http://schemas.microsoft.com/office/drawing/2014/main" id="{1E941A0A-C510-10E6-5C46-5A0E0C69FBFA}"/>
              </a:ext>
            </a:extLst>
          </p:cNvPr>
          <p:cNvSpPr/>
          <p:nvPr>
            <p:custDataLst>
              <p:tags r:id="rId27"/>
            </p:custDataLst>
          </p:nvPr>
        </p:nvSpPr>
        <p:spPr bwMode="gray">
          <a:xfrm>
            <a:off x="7129463" y="4271963"/>
            <a:ext cx="358775" cy="1444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5000"/>
              </a:lnSpc>
              <a:spcBef>
                <a:spcPct val="0"/>
              </a:spcBef>
              <a:spcAft>
                <a:spcPct val="0"/>
              </a:spcAft>
            </a:pPr>
            <a:fld id="{1E5A3EC0-DDD0-4AC8-B132-5B84125E2268}" type="datetime'1,''''''''''''''''''''''7''''''9''''''''''''9'''''''">
              <a:rPr lang="en-US" altLang="en-US" sz="1000" b="1" smtClean="0">
                <a:solidFill>
                  <a:schemeClr val="tx1"/>
                </a:solidFill>
              </a:rPr>
              <a:pPr/>
              <a:t>1,799</a:t>
            </a:fld>
            <a:endParaRPr lang="en-US" sz="1000" b="1">
              <a:solidFill>
                <a:schemeClr val="tx1"/>
              </a:solidFill>
            </a:endParaRPr>
          </a:p>
        </p:txBody>
      </p:sp>
      <p:sp>
        <p:nvSpPr>
          <p:cNvPr id="42" name="Rectangle 41">
            <a:extLst>
              <a:ext uri="{FF2B5EF4-FFF2-40B4-BE49-F238E27FC236}">
                <a16:creationId xmlns:a16="http://schemas.microsoft.com/office/drawing/2014/main" id="{34176E79-0CCD-F6E0-B7E9-DDFC09553A8F}"/>
              </a:ext>
            </a:extLst>
          </p:cNvPr>
          <p:cNvSpPr/>
          <p:nvPr>
            <p:custDataLst>
              <p:tags r:id="rId28"/>
            </p:custDataLst>
          </p:nvPr>
        </p:nvSpPr>
        <p:spPr bwMode="gray">
          <a:xfrm>
            <a:off x="7770813" y="4298950"/>
            <a:ext cx="354013" cy="1444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5000"/>
              </a:lnSpc>
              <a:spcBef>
                <a:spcPct val="0"/>
              </a:spcBef>
              <a:spcAft>
                <a:spcPct val="0"/>
              </a:spcAft>
            </a:pPr>
            <a:fld id="{821F0BA0-5056-4459-B079-6BB6EF052602}" type="datetime'''''''''1'''''''''''''''''''''''''',''''''''''7''6''''5'''''">
              <a:rPr lang="en-US" altLang="en-US" sz="1000" b="1" smtClean="0">
                <a:solidFill>
                  <a:schemeClr val="tx1"/>
                </a:solidFill>
              </a:rPr>
              <a:pPr/>
              <a:t>1,765</a:t>
            </a:fld>
            <a:endParaRPr lang="en-US" sz="1000" b="1">
              <a:solidFill>
                <a:schemeClr val="tx1"/>
              </a:solidFill>
            </a:endParaRPr>
          </a:p>
        </p:txBody>
      </p:sp>
      <p:sp>
        <p:nvSpPr>
          <p:cNvPr id="463" name="Rectangle 462">
            <a:extLst>
              <a:ext uri="{FF2B5EF4-FFF2-40B4-BE49-F238E27FC236}">
                <a16:creationId xmlns:a16="http://schemas.microsoft.com/office/drawing/2014/main" id="{2F5A03FC-2B63-1DFC-79CB-6F02F7946E6F}"/>
              </a:ext>
            </a:extLst>
          </p:cNvPr>
          <p:cNvSpPr/>
          <p:nvPr>
            <p:custDataLst>
              <p:tags r:id="rId29"/>
            </p:custDataLst>
          </p:nvPr>
        </p:nvSpPr>
        <p:spPr bwMode="gray">
          <a:xfrm>
            <a:off x="8401050" y="4313238"/>
            <a:ext cx="365125" cy="1444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5000"/>
              </a:lnSpc>
              <a:spcBef>
                <a:spcPct val="0"/>
              </a:spcBef>
              <a:spcAft>
                <a:spcPct val="0"/>
              </a:spcAft>
            </a:pPr>
            <a:fld id="{79740CA7-33FC-4CE3-8A7D-93673CF5DC10}" type="datetime'''''1'',''''''''''7''''''4''''''''''''''''9'">
              <a:rPr lang="en-US" altLang="en-US" sz="1000" b="1" smtClean="0">
                <a:solidFill>
                  <a:schemeClr val="tx1"/>
                </a:solidFill>
              </a:rPr>
              <a:pPr/>
              <a:t>1,749</a:t>
            </a:fld>
            <a:endParaRPr lang="en-US" sz="1000" b="1">
              <a:solidFill>
                <a:schemeClr val="tx1"/>
              </a:solidFill>
            </a:endParaRPr>
          </a:p>
        </p:txBody>
      </p:sp>
      <p:sp>
        <p:nvSpPr>
          <p:cNvPr id="83" name="Rectangle 82">
            <a:extLst>
              <a:ext uri="{FF2B5EF4-FFF2-40B4-BE49-F238E27FC236}">
                <a16:creationId xmlns:a16="http://schemas.microsoft.com/office/drawing/2014/main" id="{5CD27D08-8883-20A5-04F2-1157DD7928B8}"/>
              </a:ext>
            </a:extLst>
          </p:cNvPr>
          <p:cNvSpPr/>
          <p:nvPr>
            <p:custDataLst>
              <p:tags r:id="rId30"/>
            </p:custDataLst>
          </p:nvPr>
        </p:nvSpPr>
        <p:spPr bwMode="gray">
          <a:xfrm>
            <a:off x="9039225" y="4395788"/>
            <a:ext cx="361950" cy="1444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5000"/>
              </a:lnSpc>
              <a:spcBef>
                <a:spcPct val="0"/>
              </a:spcBef>
              <a:spcAft>
                <a:spcPct val="0"/>
              </a:spcAft>
            </a:pPr>
            <a:fld id="{94D4FD91-8FC7-4A49-8C24-F47577155061}" type="datetime'''''''''''''''''''''''1'''',6''''''''''''4''''''''5'">
              <a:rPr lang="en-US" altLang="en-US" sz="1000" b="1" smtClean="0">
                <a:solidFill>
                  <a:schemeClr val="tx1"/>
                </a:solidFill>
              </a:rPr>
              <a:pPr/>
              <a:t>1,645</a:t>
            </a:fld>
            <a:endParaRPr lang="en-US" sz="1000" b="1">
              <a:solidFill>
                <a:schemeClr val="tx1"/>
              </a:solidFill>
            </a:endParaRPr>
          </a:p>
        </p:txBody>
      </p:sp>
      <p:sp useBgFill="1">
        <p:nvSpPr>
          <p:cNvPr id="517" name="Rectangle 516">
            <a:extLst>
              <a:ext uri="{FF2B5EF4-FFF2-40B4-BE49-F238E27FC236}">
                <a16:creationId xmlns:a16="http://schemas.microsoft.com/office/drawing/2014/main" id="{A19E7CB4-D722-D9FA-A2EB-4336644E8504}"/>
              </a:ext>
            </a:extLst>
          </p:cNvPr>
          <p:cNvSpPr/>
          <p:nvPr>
            <p:custDataLst>
              <p:tags r:id="rId31"/>
            </p:custDataLst>
          </p:nvPr>
        </p:nvSpPr>
        <p:spPr bwMode="gray">
          <a:xfrm>
            <a:off x="7794625" y="3336926"/>
            <a:ext cx="304800" cy="144463"/>
          </a:xfrm>
          <a:prstGeom prst="rect">
            <a:avLst/>
          </a:pr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5000"/>
              </a:lnSpc>
              <a:spcBef>
                <a:spcPct val="0"/>
              </a:spcBef>
              <a:spcAft>
                <a:spcPct val="0"/>
              </a:spcAft>
            </a:pPr>
            <a:fld id="{A8537CD3-25B1-4F28-9C6A-337DDFE12C23}" type="datetime'''''''''''''''''''''''''''''8''0''''''''''''%'''''''''''''">
              <a:rPr lang="en-US" altLang="en-US" sz="1000" smtClean="0">
                <a:solidFill>
                  <a:schemeClr val="tx1"/>
                </a:solidFill>
                <a:effectLst/>
              </a:rPr>
              <a:pPr algn="ctr">
                <a:lnSpc>
                  <a:spcPct val="95000"/>
                </a:lnSpc>
                <a:spcBef>
                  <a:spcPct val="0"/>
                </a:spcBef>
                <a:spcAft>
                  <a:spcPct val="0"/>
                </a:spcAft>
              </a:pPr>
              <a:t>80%</a:t>
            </a:fld>
            <a:endParaRPr lang="en-US" sz="1000">
              <a:solidFill>
                <a:schemeClr val="tx1"/>
              </a:solidFill>
            </a:endParaRPr>
          </a:p>
        </p:txBody>
      </p:sp>
      <p:sp>
        <p:nvSpPr>
          <p:cNvPr id="129" name="TextBox 128">
            <a:extLst>
              <a:ext uri="{FF2B5EF4-FFF2-40B4-BE49-F238E27FC236}">
                <a16:creationId xmlns:a16="http://schemas.microsoft.com/office/drawing/2014/main" id="{F18C0705-4AC6-47BA-B07D-77C5CC7D91DF}"/>
              </a:ext>
            </a:extLst>
          </p:cNvPr>
          <p:cNvSpPr txBox="1"/>
          <p:nvPr/>
        </p:nvSpPr>
        <p:spPr>
          <a:xfrm>
            <a:off x="320694" y="5902325"/>
            <a:ext cx="914400" cy="184150"/>
          </a:xfrm>
          <a:prstGeom prst="rect">
            <a:avLst/>
          </a:prstGeom>
          <a:noFill/>
        </p:spPr>
        <p:txBody>
          <a:bodyPr wrap="square" lIns="0" tIns="0" rIns="0" bIns="0" rtlCol="0" anchor="ctr">
            <a:noAutofit/>
          </a:bodyPr>
          <a:lstStyle/>
          <a:p>
            <a:pPr algn="r"/>
            <a:r>
              <a:rPr lang="en-US" sz="800"/>
              <a:t>Fiscal Month</a:t>
            </a:r>
          </a:p>
        </p:txBody>
      </p:sp>
      <p:sp>
        <p:nvSpPr>
          <p:cNvPr id="85" name="TextBox 84">
            <a:extLst>
              <a:ext uri="{FF2B5EF4-FFF2-40B4-BE49-F238E27FC236}">
                <a16:creationId xmlns:a16="http://schemas.microsoft.com/office/drawing/2014/main" id="{FAE1ACC1-4826-DA93-A3F1-04B86DFB29B8}"/>
              </a:ext>
            </a:extLst>
          </p:cNvPr>
          <p:cNvSpPr txBox="1">
            <a:spLocks/>
          </p:cNvSpPr>
          <p:nvPr/>
        </p:nvSpPr>
        <p:spPr>
          <a:xfrm>
            <a:off x="2427568" y="6471184"/>
            <a:ext cx="6054725" cy="405866"/>
          </a:xfrm>
          <a:prstGeom prst="rect">
            <a:avLst/>
          </a:prstGeom>
          <a:noFill/>
        </p:spPr>
        <p:txBody>
          <a:bodyPr wrap="square" lIns="0" tIns="0" rIns="0" bIns="0" rtlCol="0">
            <a:noAutofit/>
          </a:bodyPr>
          <a:lstStyle>
            <a:defPPr>
              <a:defRPr lang="en-US"/>
            </a:defPPr>
            <a:lvl1pPr>
              <a:defRPr sz="800" i="1"/>
            </a:lvl1pPr>
          </a:lstStyle>
          <a:p>
            <a:pPr marL="137160" indent="-137160">
              <a:buFont typeface="+mj-lt"/>
              <a:buAutoNum type="arabicPeriod"/>
            </a:pPr>
            <a:r>
              <a:rPr lang="en-US">
                <a:solidFill>
                  <a:schemeClr val="tx1">
                    <a:lumMod val="75000"/>
                    <a:lumOff val="25000"/>
                  </a:schemeClr>
                </a:solidFill>
              </a:rPr>
              <a:t>In market offers sourced from </a:t>
            </a:r>
            <a:r>
              <a:rPr lang="en-US">
                <a:solidFill>
                  <a:schemeClr val="tx1">
                    <a:lumMod val="75000"/>
                    <a:lumOff val="25000"/>
                  </a:schemeClr>
                </a:solidFill>
                <a:hlinkClick r:id="rId37"/>
              </a:rPr>
              <a:t>CB Merchandising Calendar</a:t>
            </a:r>
            <a:endParaRPr lang="en-US">
              <a:solidFill>
                <a:schemeClr val="tx1">
                  <a:lumMod val="75000"/>
                  <a:lumOff val="25000"/>
                </a:schemeClr>
              </a:solidFill>
            </a:endParaRPr>
          </a:p>
          <a:p>
            <a:pPr marL="137160" indent="-137160"/>
            <a:endParaRPr lang="en-US">
              <a:solidFill>
                <a:schemeClr val="tx1">
                  <a:lumMod val="75000"/>
                  <a:lumOff val="25000"/>
                </a:schemeClr>
              </a:solidFill>
            </a:endParaRPr>
          </a:p>
        </p:txBody>
      </p:sp>
      <mc:AlternateContent xmlns:mc="http://schemas.openxmlformats.org/markup-compatibility/2006" xmlns:p14="http://schemas.microsoft.com/office/powerpoint/2010/main">
        <mc:Choice Requires="p14">
          <p:contentPart p14:bwMode="auto" r:id="rId38">
            <p14:nvContentPartPr>
              <p14:cNvPr id="11" name="Ink 10">
                <a:extLst>
                  <a:ext uri="{FF2B5EF4-FFF2-40B4-BE49-F238E27FC236}">
                    <a16:creationId xmlns:a16="http://schemas.microsoft.com/office/drawing/2014/main" id="{A1717E1F-5CAE-4EB7-079D-DF353316C1AF}"/>
                  </a:ext>
                </a:extLst>
              </p14:cNvPr>
              <p14:cNvContentPartPr/>
              <p14:nvPr/>
            </p14:nvContentPartPr>
            <p14:xfrm>
              <a:off x="-444500" y="6036400"/>
              <a:ext cx="0" cy="360"/>
            </p14:xfrm>
          </p:contentPart>
        </mc:Choice>
        <mc:Fallback xmlns="">
          <p:pic>
            <p:nvPicPr>
              <p:cNvPr id="11" name="Ink 10">
                <a:extLst>
                  <a:ext uri="{FF2B5EF4-FFF2-40B4-BE49-F238E27FC236}">
                    <a16:creationId xmlns:a16="http://schemas.microsoft.com/office/drawing/2014/main" id="{A1717E1F-5CAE-4EB7-079D-DF353316C1AF}"/>
                  </a:ext>
                </a:extLst>
              </p:cNvPr>
              <p:cNvPicPr/>
              <p:nvPr/>
            </p:nvPicPr>
            <p:blipFill>
              <a:blip r:embed="rId39"/>
              <a:stretch>
                <a:fillRect/>
              </a:stretch>
            </p:blipFill>
            <p:spPr>
              <a:xfrm>
                <a:off x="-444500" y="6027400"/>
                <a:ext cx="0" cy="18000"/>
              </a:xfrm>
              <a:prstGeom prst="rect">
                <a:avLst/>
              </a:prstGeom>
            </p:spPr>
          </p:pic>
        </mc:Fallback>
      </mc:AlternateContent>
      <p:sp>
        <p:nvSpPr>
          <p:cNvPr id="100" name="TextBox 99">
            <a:extLst>
              <a:ext uri="{FF2B5EF4-FFF2-40B4-BE49-F238E27FC236}">
                <a16:creationId xmlns:a16="http://schemas.microsoft.com/office/drawing/2014/main" id="{E3F12B32-C3A9-64BA-AFCF-F7114F4A05F7}"/>
              </a:ext>
            </a:extLst>
          </p:cNvPr>
          <p:cNvSpPr txBox="1"/>
          <p:nvPr/>
        </p:nvSpPr>
        <p:spPr>
          <a:xfrm>
            <a:off x="732620" y="3916363"/>
            <a:ext cx="547688" cy="168275"/>
          </a:xfrm>
          <a:prstGeom prst="rect">
            <a:avLst/>
          </a:prstGeom>
          <a:noFill/>
        </p:spPr>
        <p:txBody>
          <a:bodyPr wrap="square" lIns="0" tIns="0" rIns="0" bIns="0" rtlCol="0" anchor="ctr">
            <a:noAutofit/>
          </a:bodyPr>
          <a:lstStyle/>
          <a:p>
            <a:pPr algn="r"/>
            <a:r>
              <a:rPr lang="en-US" sz="900" b="1"/>
              <a:t>Total</a:t>
            </a:r>
          </a:p>
        </p:txBody>
      </p:sp>
      <p:sp>
        <p:nvSpPr>
          <p:cNvPr id="101" name="TextBox 100">
            <a:extLst>
              <a:ext uri="{FF2B5EF4-FFF2-40B4-BE49-F238E27FC236}">
                <a16:creationId xmlns:a16="http://schemas.microsoft.com/office/drawing/2014/main" id="{4AE07B71-4092-4A75-F622-FAAC34DD3E87}"/>
              </a:ext>
            </a:extLst>
          </p:cNvPr>
          <p:cNvSpPr txBox="1"/>
          <p:nvPr/>
        </p:nvSpPr>
        <p:spPr>
          <a:xfrm>
            <a:off x="284247" y="5411788"/>
            <a:ext cx="998538" cy="227013"/>
          </a:xfrm>
          <a:prstGeom prst="rect">
            <a:avLst/>
          </a:prstGeom>
          <a:noFill/>
        </p:spPr>
        <p:txBody>
          <a:bodyPr wrap="square" lIns="0" tIns="0" rIns="0" bIns="0" rtlCol="0" anchor="ctr">
            <a:noAutofit/>
          </a:bodyPr>
          <a:lstStyle/>
          <a:p>
            <a:pPr algn="r"/>
            <a:r>
              <a:rPr lang="en-US" sz="900"/>
              <a:t>IB Calls – DM/Demand</a:t>
            </a:r>
          </a:p>
        </p:txBody>
      </p:sp>
      <p:grpSp>
        <p:nvGrpSpPr>
          <p:cNvPr id="476" name="Group 475">
            <a:extLst>
              <a:ext uri="{FF2B5EF4-FFF2-40B4-BE49-F238E27FC236}">
                <a16:creationId xmlns:a16="http://schemas.microsoft.com/office/drawing/2014/main" id="{21513DDB-EEAD-A20D-CC01-E10A0BDED433}"/>
              </a:ext>
            </a:extLst>
          </p:cNvPr>
          <p:cNvGrpSpPr/>
          <p:nvPr/>
        </p:nvGrpSpPr>
        <p:grpSpPr>
          <a:xfrm>
            <a:off x="717550" y="1725611"/>
            <a:ext cx="567776" cy="896695"/>
            <a:chOff x="55563" y="1526625"/>
            <a:chExt cx="825977" cy="897327"/>
          </a:xfrm>
          <a:solidFill>
            <a:schemeClr val="tx1">
              <a:lumMod val="50000"/>
              <a:lumOff val="50000"/>
            </a:schemeClr>
          </a:solidFill>
        </p:grpSpPr>
        <p:sp>
          <p:nvSpPr>
            <p:cNvPr id="477" name="Arrow: Pentagon 476">
              <a:extLst>
                <a:ext uri="{FF2B5EF4-FFF2-40B4-BE49-F238E27FC236}">
                  <a16:creationId xmlns:a16="http://schemas.microsoft.com/office/drawing/2014/main" id="{7C51C024-689A-1CF8-8F8B-6D3ADC021B2E}"/>
                </a:ext>
              </a:extLst>
            </p:cNvPr>
            <p:cNvSpPr/>
            <p:nvPr/>
          </p:nvSpPr>
          <p:spPr>
            <a:xfrm>
              <a:off x="55563" y="1526625"/>
              <a:ext cx="825977" cy="274320"/>
            </a:xfrm>
            <a:prstGeom prst="homePlate">
              <a:avLst/>
            </a:prstGeom>
            <a:grp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a:solidFill>
                    <a:schemeClr val="bg1"/>
                  </a:solidFill>
                </a:rPr>
                <a:t>NED</a:t>
              </a:r>
            </a:p>
          </p:txBody>
        </p:sp>
        <p:sp>
          <p:nvSpPr>
            <p:cNvPr id="478" name="Arrow: Pentagon 477">
              <a:extLst>
                <a:ext uri="{FF2B5EF4-FFF2-40B4-BE49-F238E27FC236}">
                  <a16:creationId xmlns:a16="http://schemas.microsoft.com/office/drawing/2014/main" id="{0434900D-46FC-E50E-9A08-701D64225D8E}"/>
                </a:ext>
              </a:extLst>
            </p:cNvPr>
            <p:cNvSpPr/>
            <p:nvPr/>
          </p:nvSpPr>
          <p:spPr>
            <a:xfrm>
              <a:off x="55563" y="1833373"/>
              <a:ext cx="825977" cy="274320"/>
            </a:xfrm>
            <a:prstGeom prst="homePlate">
              <a:avLst/>
            </a:prstGeom>
            <a:grp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a:solidFill>
                    <a:schemeClr val="bg1"/>
                  </a:solidFill>
                </a:rPr>
                <a:t>CEN</a:t>
              </a:r>
            </a:p>
          </p:txBody>
        </p:sp>
        <p:sp>
          <p:nvSpPr>
            <p:cNvPr id="479" name="Arrow: Pentagon 478">
              <a:extLst>
                <a:ext uri="{FF2B5EF4-FFF2-40B4-BE49-F238E27FC236}">
                  <a16:creationId xmlns:a16="http://schemas.microsoft.com/office/drawing/2014/main" id="{359D64F4-6411-82C1-DDBD-D45C7C044D1B}"/>
                </a:ext>
              </a:extLst>
            </p:cNvPr>
            <p:cNvSpPr/>
            <p:nvPr/>
          </p:nvSpPr>
          <p:spPr>
            <a:xfrm>
              <a:off x="55563" y="2149632"/>
              <a:ext cx="825977" cy="274320"/>
            </a:xfrm>
            <a:prstGeom prst="homePlate">
              <a:avLst/>
            </a:prstGeom>
            <a:grp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a:solidFill>
                    <a:schemeClr val="bg1"/>
                  </a:solidFill>
                </a:rPr>
                <a:t>WEST</a:t>
              </a:r>
            </a:p>
          </p:txBody>
        </p:sp>
      </p:grpSp>
      <p:grpSp>
        <p:nvGrpSpPr>
          <p:cNvPr id="496" name="Group 495">
            <a:extLst>
              <a:ext uri="{FF2B5EF4-FFF2-40B4-BE49-F238E27FC236}">
                <a16:creationId xmlns:a16="http://schemas.microsoft.com/office/drawing/2014/main" id="{B3BC83FD-4679-17BA-6652-7A442EF635AE}"/>
              </a:ext>
            </a:extLst>
          </p:cNvPr>
          <p:cNvGrpSpPr/>
          <p:nvPr/>
        </p:nvGrpSpPr>
        <p:grpSpPr>
          <a:xfrm>
            <a:off x="1415614" y="1736702"/>
            <a:ext cx="1435535" cy="932968"/>
            <a:chOff x="3317132" y="1496763"/>
            <a:chExt cx="1636640" cy="901154"/>
          </a:xfrm>
        </p:grpSpPr>
        <p:sp>
          <p:nvSpPr>
            <p:cNvPr id="504" name="Rectangle 503">
              <a:extLst>
                <a:ext uri="{FF2B5EF4-FFF2-40B4-BE49-F238E27FC236}">
                  <a16:creationId xmlns:a16="http://schemas.microsoft.com/office/drawing/2014/main" id="{13FCA79B-3079-7CAA-E30D-B5D96949771B}"/>
                </a:ext>
              </a:extLst>
            </p:cNvPr>
            <p:cNvSpPr/>
            <p:nvPr/>
          </p:nvSpPr>
          <p:spPr>
            <a:xfrm>
              <a:off x="3997427" y="1496763"/>
              <a:ext cx="956345" cy="569969"/>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highlight>
                    <a:srgbClr val="FFFFFF"/>
                  </a:highlight>
                </a:rPr>
                <a:t>$49 BI 100 + SE Converged*</a:t>
              </a:r>
            </a:p>
          </p:txBody>
        </p:sp>
        <p:sp>
          <p:nvSpPr>
            <p:cNvPr id="505" name="Rectangle 504">
              <a:extLst>
                <a:ext uri="{FF2B5EF4-FFF2-40B4-BE49-F238E27FC236}">
                  <a16:creationId xmlns:a16="http://schemas.microsoft.com/office/drawing/2014/main" id="{7FDA2CDC-C7E0-C127-4F50-09BF79C3E956}"/>
                </a:ext>
              </a:extLst>
            </p:cNvPr>
            <p:cNvSpPr/>
            <p:nvPr/>
          </p:nvSpPr>
          <p:spPr>
            <a:xfrm>
              <a:off x="3318355" y="2110263"/>
              <a:ext cx="643435" cy="287654"/>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highlight>
                    <a:srgbClr val="FFFFFF"/>
                  </a:highlight>
                </a:rPr>
                <a:t>$39 BI 50</a:t>
              </a:r>
            </a:p>
          </p:txBody>
        </p:sp>
        <p:sp>
          <p:nvSpPr>
            <p:cNvPr id="506" name="Rectangle 505">
              <a:extLst>
                <a:ext uri="{FF2B5EF4-FFF2-40B4-BE49-F238E27FC236}">
                  <a16:creationId xmlns:a16="http://schemas.microsoft.com/office/drawing/2014/main" id="{A59FA91D-2F85-32E4-68C8-33D65FE6CC18}"/>
                </a:ext>
              </a:extLst>
            </p:cNvPr>
            <p:cNvSpPr/>
            <p:nvPr/>
          </p:nvSpPr>
          <p:spPr>
            <a:xfrm>
              <a:off x="3317132" y="1496764"/>
              <a:ext cx="644658" cy="576619"/>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highlight>
                    <a:srgbClr val="FFFFFF"/>
                  </a:highlight>
                </a:rPr>
                <a:t>$39 BI 50</a:t>
              </a:r>
            </a:p>
          </p:txBody>
        </p:sp>
        <p:sp>
          <p:nvSpPr>
            <p:cNvPr id="507" name="Rectangle 506">
              <a:extLst>
                <a:ext uri="{FF2B5EF4-FFF2-40B4-BE49-F238E27FC236}">
                  <a16:creationId xmlns:a16="http://schemas.microsoft.com/office/drawing/2014/main" id="{786D2974-2539-794C-CD0E-4284A41FF541}"/>
                </a:ext>
              </a:extLst>
            </p:cNvPr>
            <p:cNvSpPr/>
            <p:nvPr/>
          </p:nvSpPr>
          <p:spPr>
            <a:xfrm>
              <a:off x="3996048" y="2092048"/>
              <a:ext cx="957724" cy="297208"/>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highlight>
                    <a:srgbClr val="FFFFFF"/>
                  </a:highlight>
                </a:rPr>
                <a:t>$49 BI 100 + SE Converged</a:t>
              </a:r>
            </a:p>
          </p:txBody>
        </p:sp>
      </p:grpSp>
      <p:sp>
        <p:nvSpPr>
          <p:cNvPr id="497" name="Rectangle 496">
            <a:extLst>
              <a:ext uri="{FF2B5EF4-FFF2-40B4-BE49-F238E27FC236}">
                <a16:creationId xmlns:a16="http://schemas.microsoft.com/office/drawing/2014/main" id="{46316103-36A0-66C7-EA63-93985A44D259}"/>
              </a:ext>
            </a:extLst>
          </p:cNvPr>
          <p:cNvSpPr/>
          <p:nvPr/>
        </p:nvSpPr>
        <p:spPr>
          <a:xfrm>
            <a:off x="2898597" y="1755762"/>
            <a:ext cx="633403" cy="283265"/>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highlight>
                  <a:srgbClr val="FFFFFF"/>
                </a:highlight>
              </a:rPr>
              <a:t>$39 BI 50 + SE</a:t>
            </a:r>
          </a:p>
        </p:txBody>
      </p:sp>
      <p:sp>
        <p:nvSpPr>
          <p:cNvPr id="498" name="Rectangle 497">
            <a:extLst>
              <a:ext uri="{FF2B5EF4-FFF2-40B4-BE49-F238E27FC236}">
                <a16:creationId xmlns:a16="http://schemas.microsoft.com/office/drawing/2014/main" id="{1D13AF3E-56BC-1EC5-EF6A-E44D6B661154}"/>
              </a:ext>
            </a:extLst>
          </p:cNvPr>
          <p:cNvSpPr/>
          <p:nvPr/>
        </p:nvSpPr>
        <p:spPr>
          <a:xfrm>
            <a:off x="2897631" y="2108201"/>
            <a:ext cx="2102409" cy="229098"/>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solidFill>
                  <a:schemeClr val="tx1"/>
                </a:solidFill>
                <a:highlight>
                  <a:srgbClr val="FFFFFF"/>
                </a:highlight>
              </a:rPr>
              <a:t>$39 BI 100 + SE</a:t>
            </a:r>
          </a:p>
        </p:txBody>
      </p:sp>
      <p:sp>
        <p:nvSpPr>
          <p:cNvPr id="500" name="Rectangle 499">
            <a:extLst>
              <a:ext uri="{FF2B5EF4-FFF2-40B4-BE49-F238E27FC236}">
                <a16:creationId xmlns:a16="http://schemas.microsoft.com/office/drawing/2014/main" id="{FC5BC108-BA79-59CE-A607-AFB05B34FC27}"/>
              </a:ext>
            </a:extLst>
          </p:cNvPr>
          <p:cNvSpPr/>
          <p:nvPr/>
        </p:nvSpPr>
        <p:spPr>
          <a:xfrm>
            <a:off x="2897631" y="2415632"/>
            <a:ext cx="2102409" cy="216929"/>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solidFill>
                  <a:schemeClr val="tx1"/>
                </a:solidFill>
                <a:highlight>
                  <a:srgbClr val="FFFFFF"/>
                </a:highlight>
              </a:rPr>
              <a:t>$</a:t>
            </a:r>
            <a:r>
              <a:rPr lang="en-US" sz="700" dirty="0">
                <a:solidFill>
                  <a:schemeClr val="tx1"/>
                </a:solidFill>
                <a:highlight>
                  <a:srgbClr val="FFFFFF"/>
                </a:highlight>
              </a:rPr>
              <a:t>49.99</a:t>
            </a:r>
            <a:r>
              <a:rPr lang="en-US" sz="700">
                <a:solidFill>
                  <a:schemeClr val="tx1"/>
                </a:solidFill>
                <a:highlight>
                  <a:srgbClr val="FFFFFF"/>
                </a:highlight>
              </a:rPr>
              <a:t> BI 50 + SE</a:t>
            </a:r>
          </a:p>
        </p:txBody>
      </p:sp>
      <p:sp>
        <p:nvSpPr>
          <p:cNvPr id="501" name="Rectangle 500">
            <a:extLst>
              <a:ext uri="{FF2B5EF4-FFF2-40B4-BE49-F238E27FC236}">
                <a16:creationId xmlns:a16="http://schemas.microsoft.com/office/drawing/2014/main" id="{0A8352F5-8527-6157-7D01-5B6220CAC401}"/>
              </a:ext>
            </a:extLst>
          </p:cNvPr>
          <p:cNvSpPr/>
          <p:nvPr/>
        </p:nvSpPr>
        <p:spPr>
          <a:xfrm>
            <a:off x="3594736" y="1765420"/>
            <a:ext cx="614115" cy="283265"/>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solidFill>
                  <a:schemeClr val="tx1"/>
                </a:solidFill>
                <a:highlight>
                  <a:srgbClr val="FFFFFF"/>
                </a:highlight>
              </a:rPr>
              <a:t>$</a:t>
            </a:r>
            <a:r>
              <a:rPr lang="en-US" sz="700" dirty="0">
                <a:solidFill>
                  <a:schemeClr val="tx1"/>
                </a:solidFill>
                <a:highlight>
                  <a:srgbClr val="FFFFFF"/>
                </a:highlight>
              </a:rPr>
              <a:t>69.99</a:t>
            </a:r>
            <a:r>
              <a:rPr lang="en-US" sz="700">
                <a:solidFill>
                  <a:schemeClr val="tx1"/>
                </a:solidFill>
                <a:highlight>
                  <a:srgbClr val="FFFFFF"/>
                </a:highlight>
              </a:rPr>
              <a:t> BI 100+ SE</a:t>
            </a:r>
          </a:p>
        </p:txBody>
      </p:sp>
      <p:sp>
        <p:nvSpPr>
          <p:cNvPr id="502" name="Rectangle 501">
            <a:extLst>
              <a:ext uri="{FF2B5EF4-FFF2-40B4-BE49-F238E27FC236}">
                <a16:creationId xmlns:a16="http://schemas.microsoft.com/office/drawing/2014/main" id="{DBC3D583-93A3-A5C5-C49E-4DA787764A35}"/>
              </a:ext>
            </a:extLst>
          </p:cNvPr>
          <p:cNvSpPr/>
          <p:nvPr/>
        </p:nvSpPr>
        <p:spPr>
          <a:xfrm>
            <a:off x="4232568" y="1755762"/>
            <a:ext cx="767472" cy="292922"/>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solidFill>
                  <a:schemeClr val="tx1"/>
                </a:solidFill>
                <a:highlight>
                  <a:srgbClr val="FFFFFF"/>
                </a:highlight>
              </a:rPr>
              <a:t>$49 BI 50+SE</a:t>
            </a:r>
          </a:p>
        </p:txBody>
      </p:sp>
      <p:sp>
        <p:nvSpPr>
          <p:cNvPr id="491" name="Rectangle 490">
            <a:extLst>
              <a:ext uri="{FF2B5EF4-FFF2-40B4-BE49-F238E27FC236}">
                <a16:creationId xmlns:a16="http://schemas.microsoft.com/office/drawing/2014/main" id="{3C5DE20C-7A84-EAC2-56A3-4CDF33777BAE}"/>
              </a:ext>
            </a:extLst>
          </p:cNvPr>
          <p:cNvSpPr/>
          <p:nvPr/>
        </p:nvSpPr>
        <p:spPr>
          <a:xfrm>
            <a:off x="5046522" y="2057898"/>
            <a:ext cx="1819743" cy="274127"/>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solidFill>
                  <a:schemeClr val="tx1"/>
                </a:solidFill>
                <a:highlight>
                  <a:srgbClr val="FFFFFF"/>
                </a:highlight>
              </a:rPr>
              <a:t>$49 BI 100 + SE</a:t>
            </a:r>
          </a:p>
        </p:txBody>
      </p:sp>
      <p:sp>
        <p:nvSpPr>
          <p:cNvPr id="492" name="Rectangle 491">
            <a:extLst>
              <a:ext uri="{FF2B5EF4-FFF2-40B4-BE49-F238E27FC236}">
                <a16:creationId xmlns:a16="http://schemas.microsoft.com/office/drawing/2014/main" id="{37BDC934-56E5-5EFB-2408-470EF51FF5AB}"/>
              </a:ext>
            </a:extLst>
          </p:cNvPr>
          <p:cNvSpPr/>
          <p:nvPr/>
        </p:nvSpPr>
        <p:spPr>
          <a:xfrm>
            <a:off x="5048807" y="2357857"/>
            <a:ext cx="1152562" cy="283285"/>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solidFill>
                  <a:schemeClr val="tx1"/>
                </a:solidFill>
                <a:highlight>
                  <a:srgbClr val="FFFFFF"/>
                </a:highlight>
              </a:rPr>
              <a:t>$59.99 BI50 +SE</a:t>
            </a:r>
          </a:p>
        </p:txBody>
      </p:sp>
      <p:sp>
        <p:nvSpPr>
          <p:cNvPr id="493" name="Rectangle 492">
            <a:extLst>
              <a:ext uri="{FF2B5EF4-FFF2-40B4-BE49-F238E27FC236}">
                <a16:creationId xmlns:a16="http://schemas.microsoft.com/office/drawing/2014/main" id="{3D42AF05-FC58-8B0B-4B13-FEE41A97805F}"/>
              </a:ext>
            </a:extLst>
          </p:cNvPr>
          <p:cNvSpPr/>
          <p:nvPr/>
        </p:nvSpPr>
        <p:spPr>
          <a:xfrm>
            <a:off x="5048806" y="1759364"/>
            <a:ext cx="1160226" cy="272702"/>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solidFill>
                  <a:schemeClr val="tx1"/>
                </a:solidFill>
                <a:highlight>
                  <a:srgbClr val="FFFFFF"/>
                </a:highlight>
              </a:rPr>
              <a:t>$39 BI 50+SE</a:t>
            </a:r>
          </a:p>
        </p:txBody>
      </p:sp>
      <p:sp>
        <p:nvSpPr>
          <p:cNvPr id="494" name="Rectangle 493">
            <a:extLst>
              <a:ext uri="{FF2B5EF4-FFF2-40B4-BE49-F238E27FC236}">
                <a16:creationId xmlns:a16="http://schemas.microsoft.com/office/drawing/2014/main" id="{B09DE602-45A2-8CAC-2D05-7003B8D7F21E}"/>
              </a:ext>
            </a:extLst>
          </p:cNvPr>
          <p:cNvSpPr/>
          <p:nvPr/>
        </p:nvSpPr>
        <p:spPr>
          <a:xfrm>
            <a:off x="6224280" y="1757187"/>
            <a:ext cx="645845" cy="272702"/>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solidFill>
                  <a:schemeClr val="tx1"/>
                </a:solidFill>
                <a:highlight>
                  <a:srgbClr val="FFFFFF"/>
                </a:highlight>
              </a:rPr>
              <a:t>$49BI 50+SE</a:t>
            </a:r>
          </a:p>
        </p:txBody>
      </p:sp>
      <p:sp>
        <p:nvSpPr>
          <p:cNvPr id="495" name="Rectangle 494">
            <a:extLst>
              <a:ext uri="{FF2B5EF4-FFF2-40B4-BE49-F238E27FC236}">
                <a16:creationId xmlns:a16="http://schemas.microsoft.com/office/drawing/2014/main" id="{BFA71985-8AB7-FE2D-2978-188FA9B43A0B}"/>
              </a:ext>
            </a:extLst>
          </p:cNvPr>
          <p:cNvSpPr/>
          <p:nvPr/>
        </p:nvSpPr>
        <p:spPr>
          <a:xfrm>
            <a:off x="6224280" y="2360117"/>
            <a:ext cx="644134" cy="281003"/>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solidFill>
                  <a:schemeClr val="tx1"/>
                </a:solidFill>
                <a:highlight>
                  <a:srgbClr val="FFFFFF"/>
                </a:highlight>
              </a:rPr>
              <a:t>$49BI 50+SE</a:t>
            </a:r>
          </a:p>
        </p:txBody>
      </p:sp>
      <p:sp>
        <p:nvSpPr>
          <p:cNvPr id="71" name="Rectangle 70">
            <a:extLst>
              <a:ext uri="{FF2B5EF4-FFF2-40B4-BE49-F238E27FC236}">
                <a16:creationId xmlns:a16="http://schemas.microsoft.com/office/drawing/2014/main" id="{FAF14FD4-63AD-8939-2C19-22262657F6B5}"/>
              </a:ext>
            </a:extLst>
          </p:cNvPr>
          <p:cNvSpPr/>
          <p:nvPr/>
        </p:nvSpPr>
        <p:spPr>
          <a:xfrm>
            <a:off x="6905171" y="1755763"/>
            <a:ext cx="1577122" cy="243976"/>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solidFill>
                  <a:schemeClr val="tx1"/>
                </a:solidFill>
                <a:highlight>
                  <a:srgbClr val="FFFFFF"/>
                </a:highlight>
              </a:rPr>
              <a:t>$49.99 BI 50 + SE</a:t>
            </a:r>
          </a:p>
        </p:txBody>
      </p:sp>
      <p:sp>
        <p:nvSpPr>
          <p:cNvPr id="72" name="Rectangle 71">
            <a:extLst>
              <a:ext uri="{FF2B5EF4-FFF2-40B4-BE49-F238E27FC236}">
                <a16:creationId xmlns:a16="http://schemas.microsoft.com/office/drawing/2014/main" id="{D532FF3F-5DE8-5B23-6434-51D5286FE15F}"/>
              </a:ext>
            </a:extLst>
          </p:cNvPr>
          <p:cNvSpPr/>
          <p:nvPr/>
        </p:nvSpPr>
        <p:spPr>
          <a:xfrm>
            <a:off x="6905172" y="2357856"/>
            <a:ext cx="1575927" cy="243977"/>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solidFill>
                  <a:schemeClr val="tx1"/>
                </a:solidFill>
                <a:highlight>
                  <a:srgbClr val="FFFFFF"/>
                </a:highlight>
              </a:rPr>
              <a:t>$49.99 BI 50 + SE</a:t>
            </a:r>
          </a:p>
        </p:txBody>
      </p:sp>
      <p:sp>
        <p:nvSpPr>
          <p:cNvPr id="533" name="Rectangle 532">
            <a:extLst>
              <a:ext uri="{FF2B5EF4-FFF2-40B4-BE49-F238E27FC236}">
                <a16:creationId xmlns:a16="http://schemas.microsoft.com/office/drawing/2014/main" id="{E219DDC9-1E6C-39E8-6D82-A43FC8462D59}"/>
              </a:ext>
            </a:extLst>
          </p:cNvPr>
          <p:cNvSpPr/>
          <p:nvPr/>
        </p:nvSpPr>
        <p:spPr>
          <a:xfrm>
            <a:off x="6906366" y="2057387"/>
            <a:ext cx="1575927" cy="231957"/>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highlight>
                  <a:srgbClr val="FFFFFF"/>
                </a:highlight>
              </a:rPr>
              <a:t>$49 BI 100 + SE w/ Mobile</a:t>
            </a:r>
          </a:p>
        </p:txBody>
      </p:sp>
      <p:sp>
        <p:nvSpPr>
          <p:cNvPr id="4" name="Text Placeholder 3">
            <a:extLst>
              <a:ext uri="{FF2B5EF4-FFF2-40B4-BE49-F238E27FC236}">
                <a16:creationId xmlns:a16="http://schemas.microsoft.com/office/drawing/2014/main" id="{E69BAC63-CD3A-68F1-9B82-0E541FC8F700}"/>
              </a:ext>
            </a:extLst>
          </p:cNvPr>
          <p:cNvSpPr>
            <a:spLocks noGrp="1"/>
          </p:cNvSpPr>
          <p:nvPr>
            <p:ph type="body" sz="quarter" idx="25"/>
          </p:nvPr>
        </p:nvSpPr>
        <p:spPr>
          <a:xfrm>
            <a:off x="463548" y="255612"/>
            <a:ext cx="11271251" cy="201168"/>
          </a:xfrm>
        </p:spPr>
        <p:txBody>
          <a:bodyPr/>
          <a:lstStyle/>
          <a:p>
            <a:r>
              <a:rPr lang="en-US" dirty="0"/>
              <a:t>CB Site Performance</a:t>
            </a:r>
          </a:p>
        </p:txBody>
      </p:sp>
      <p:sp>
        <p:nvSpPr>
          <p:cNvPr id="870" name="TextBox 869">
            <a:extLst>
              <a:ext uri="{FF2B5EF4-FFF2-40B4-BE49-F238E27FC236}">
                <a16:creationId xmlns:a16="http://schemas.microsoft.com/office/drawing/2014/main" id="{519D011D-A8EC-8DCB-B0CB-14B21FB904A5}"/>
              </a:ext>
            </a:extLst>
          </p:cNvPr>
          <p:cNvSpPr txBox="1"/>
          <p:nvPr/>
        </p:nvSpPr>
        <p:spPr>
          <a:xfrm>
            <a:off x="463548" y="2938463"/>
            <a:ext cx="938439" cy="227013"/>
          </a:xfrm>
          <a:prstGeom prst="rect">
            <a:avLst/>
          </a:prstGeom>
          <a:noFill/>
        </p:spPr>
        <p:txBody>
          <a:bodyPr wrap="square" lIns="0" tIns="0" rIns="0" bIns="0" rtlCol="0" anchor="ctr">
            <a:noAutofit/>
          </a:bodyPr>
          <a:lstStyle/>
          <a:p>
            <a:pPr algn="r"/>
            <a:r>
              <a:rPr lang="en-US" sz="900" b="1"/>
              <a:t>v. Digital BUD</a:t>
            </a:r>
          </a:p>
        </p:txBody>
      </p:sp>
      <p:sp>
        <p:nvSpPr>
          <p:cNvPr id="871" name="TextBox 870">
            <a:extLst>
              <a:ext uri="{FF2B5EF4-FFF2-40B4-BE49-F238E27FC236}">
                <a16:creationId xmlns:a16="http://schemas.microsoft.com/office/drawing/2014/main" id="{3629A6A5-5DF7-94BE-AC8C-86B4C9727C65}"/>
              </a:ext>
            </a:extLst>
          </p:cNvPr>
          <p:cNvSpPr txBox="1"/>
          <p:nvPr/>
        </p:nvSpPr>
        <p:spPr>
          <a:xfrm>
            <a:off x="472595" y="3459163"/>
            <a:ext cx="938439" cy="228600"/>
          </a:xfrm>
          <a:prstGeom prst="rect">
            <a:avLst/>
          </a:prstGeom>
          <a:noFill/>
        </p:spPr>
        <p:txBody>
          <a:bodyPr wrap="square" lIns="0" tIns="0" rIns="0" bIns="0" rtlCol="0" anchor="ctr">
            <a:noAutofit/>
          </a:bodyPr>
          <a:lstStyle/>
          <a:p>
            <a:pPr algn="r"/>
            <a:r>
              <a:rPr lang="en-US" sz="900" b="1"/>
              <a:t>Digital Lead  Share</a:t>
            </a:r>
          </a:p>
        </p:txBody>
      </p:sp>
      <p:sp>
        <p:nvSpPr>
          <p:cNvPr id="31" name="TextBox 30">
            <a:extLst>
              <a:ext uri="{FF2B5EF4-FFF2-40B4-BE49-F238E27FC236}">
                <a16:creationId xmlns:a16="http://schemas.microsoft.com/office/drawing/2014/main" id="{FBCC7698-E11D-19D9-0EE5-3CB96A6029CE}"/>
              </a:ext>
            </a:extLst>
          </p:cNvPr>
          <p:cNvSpPr txBox="1"/>
          <p:nvPr/>
        </p:nvSpPr>
        <p:spPr>
          <a:xfrm>
            <a:off x="463548" y="4422775"/>
            <a:ext cx="816760" cy="190500"/>
          </a:xfrm>
          <a:prstGeom prst="rect">
            <a:avLst/>
          </a:prstGeom>
          <a:noFill/>
        </p:spPr>
        <p:txBody>
          <a:bodyPr wrap="square" lIns="0" tIns="0" rIns="0" bIns="0" rtlCol="0" anchor="ctr">
            <a:noAutofit/>
          </a:bodyPr>
          <a:lstStyle/>
          <a:p>
            <a:pPr algn="r"/>
            <a:r>
              <a:rPr lang="en-US" sz="900"/>
              <a:t>Web Leads</a:t>
            </a:r>
          </a:p>
        </p:txBody>
      </p:sp>
      <p:sp>
        <p:nvSpPr>
          <p:cNvPr id="33" name="TextBox 32">
            <a:extLst>
              <a:ext uri="{FF2B5EF4-FFF2-40B4-BE49-F238E27FC236}">
                <a16:creationId xmlns:a16="http://schemas.microsoft.com/office/drawing/2014/main" id="{329D40A2-F0F6-9159-48C1-42C136BE2385}"/>
              </a:ext>
            </a:extLst>
          </p:cNvPr>
          <p:cNvSpPr txBox="1"/>
          <p:nvPr/>
        </p:nvSpPr>
        <p:spPr>
          <a:xfrm>
            <a:off x="148393" y="4924425"/>
            <a:ext cx="1163799" cy="201613"/>
          </a:xfrm>
          <a:prstGeom prst="rect">
            <a:avLst/>
          </a:prstGeom>
          <a:noFill/>
        </p:spPr>
        <p:txBody>
          <a:bodyPr wrap="square" lIns="0" tIns="0" rIns="0" bIns="0" rtlCol="0" anchor="ctr">
            <a:noAutofit/>
          </a:bodyPr>
          <a:lstStyle/>
          <a:p>
            <a:pPr algn="r"/>
            <a:r>
              <a:rPr lang="en-US" sz="900"/>
              <a:t>IB Calls – Online</a:t>
            </a:r>
          </a:p>
        </p:txBody>
      </p:sp>
      <p:sp>
        <p:nvSpPr>
          <p:cNvPr id="47" name="TextBox 46">
            <a:extLst>
              <a:ext uri="{FF2B5EF4-FFF2-40B4-BE49-F238E27FC236}">
                <a16:creationId xmlns:a16="http://schemas.microsoft.com/office/drawing/2014/main" id="{41AD7553-37A8-74D2-00FE-CBAD9F4116B3}"/>
              </a:ext>
            </a:extLst>
          </p:cNvPr>
          <p:cNvSpPr txBox="1"/>
          <p:nvPr/>
        </p:nvSpPr>
        <p:spPr>
          <a:xfrm>
            <a:off x="463549" y="6205787"/>
            <a:ext cx="2414590" cy="272800"/>
          </a:xfrm>
          <a:prstGeom prst="rect">
            <a:avLst/>
          </a:prstGeom>
          <a:noFill/>
        </p:spPr>
        <p:txBody>
          <a:bodyPr wrap="square" lIns="0" tIns="0" rIns="0" bIns="0" rtlCol="0">
            <a:noAutofit/>
          </a:bodyPr>
          <a:lstStyle/>
          <a:p>
            <a:pPr algn="l"/>
            <a:r>
              <a:rPr lang="en-US" sz="800"/>
              <a:t>Data Source: CBMA Weekly Leads Summary</a:t>
            </a:r>
          </a:p>
          <a:p>
            <a:pPr algn="l"/>
            <a:r>
              <a:rPr lang="en-US" sz="800" dirty="0"/>
              <a:t>*CEN also ran a $40 BI100 + SE offer 5/3 – 5/21</a:t>
            </a:r>
          </a:p>
        </p:txBody>
      </p:sp>
      <p:sp>
        <p:nvSpPr>
          <p:cNvPr id="530" name="Text Placeholder 15">
            <a:extLst>
              <a:ext uri="{FF2B5EF4-FFF2-40B4-BE49-F238E27FC236}">
                <a16:creationId xmlns:a16="http://schemas.microsoft.com/office/drawing/2014/main" id="{8C86C1AE-D63D-C924-DBC4-EEBC902C4C3F}"/>
              </a:ext>
            </a:extLst>
          </p:cNvPr>
          <p:cNvSpPr txBox="1">
            <a:spLocks/>
          </p:cNvSpPr>
          <p:nvPr/>
        </p:nvSpPr>
        <p:spPr>
          <a:xfrm>
            <a:off x="454025" y="868836"/>
            <a:ext cx="11271250" cy="261466"/>
          </a:xfrm>
          <a:prstGeom prst="rect">
            <a:avLst/>
          </a:prstGeom>
        </p:spPr>
        <p:txBody>
          <a:bodyPr lIns="0" tIns="0" rIns="0" bIns="0"/>
          <a:lstStyle>
            <a:lvl1pPr marL="0" indent="0" algn="l" rtl="0" eaLnBrk="1" fontAlgn="base" hangingPunct="1">
              <a:lnSpc>
                <a:spcPct val="95000"/>
              </a:lnSpc>
              <a:spcBef>
                <a:spcPts val="1000"/>
              </a:spcBef>
              <a:spcAft>
                <a:spcPct val="0"/>
              </a:spcAft>
              <a:buFont typeface="Arial" panose="020B0604020202020204" pitchFamily="34" charset="0"/>
              <a:buNone/>
              <a:defRPr sz="1800" b="0" i="0" kern="1200">
                <a:solidFill>
                  <a:schemeClr val="tx1"/>
                </a:solidFill>
                <a:latin typeface="Montserrat Light" pitchFamily="2" charset="77"/>
                <a:ea typeface="+mn-ea"/>
                <a:cs typeface="Montserrat Light" pitchFamily="2" charset="77"/>
              </a:defRPr>
            </a:lvl1pPr>
            <a:lvl2pPr marL="174625" indent="-174625" algn="l" rtl="0" eaLnBrk="1" fontAlgn="base" hangingPunct="1">
              <a:lnSpc>
                <a:spcPct val="90000"/>
              </a:lnSpc>
              <a:spcBef>
                <a:spcPts val="1200"/>
              </a:spcBef>
              <a:spcAft>
                <a:spcPct val="0"/>
              </a:spcAft>
              <a:buFont typeface="Arial" panose="020B0604020202020204" pitchFamily="34" charset="0"/>
              <a:buChar char="•"/>
              <a:tabLst/>
              <a:defRPr sz="1800" b="0" i="0" kern="1200">
                <a:solidFill>
                  <a:schemeClr val="tx1"/>
                </a:solidFill>
                <a:latin typeface="Montserrat Light" pitchFamily="2" charset="77"/>
                <a:ea typeface="+mn-ea"/>
                <a:cs typeface="Montserrat Light" pitchFamily="2" charset="77"/>
              </a:defRPr>
            </a:lvl2pPr>
            <a:lvl3pPr marL="560070" indent="-285750" algn="l" rtl="0" eaLnBrk="1" fontAlgn="base" hangingPunct="1">
              <a:lnSpc>
                <a:spcPct val="90000"/>
              </a:lnSpc>
              <a:spcBef>
                <a:spcPts val="1200"/>
              </a:spcBef>
              <a:spcAft>
                <a:spcPct val="0"/>
              </a:spcAft>
              <a:buFont typeface="Montserrat" panose="00000500000000000000" pitchFamily="2" charset="0"/>
              <a:buChar char="–"/>
              <a:defRPr sz="1800" b="0" i="0" kern="1200">
                <a:solidFill>
                  <a:schemeClr val="tx1"/>
                </a:solidFill>
                <a:latin typeface="Montserrat Light" pitchFamily="2" charset="77"/>
                <a:ea typeface="+mn-ea"/>
                <a:cs typeface="Montserrat Light" pitchFamily="2" charset="77"/>
              </a:defRPr>
            </a:lvl3pPr>
            <a:lvl4pPr marL="834390" indent="-285750" algn="l" rtl="0" eaLnBrk="1" fontAlgn="base" hangingPunct="1">
              <a:lnSpc>
                <a:spcPct val="90000"/>
              </a:lnSpc>
              <a:spcBef>
                <a:spcPts val="1200"/>
              </a:spcBef>
              <a:spcAft>
                <a:spcPct val="0"/>
              </a:spcAft>
              <a:buFont typeface="Courier New" panose="02070309020205020404" pitchFamily="49" charset="0"/>
              <a:buChar char="o"/>
              <a:defRPr sz="1600" b="0" i="0" kern="1200">
                <a:solidFill>
                  <a:schemeClr val="tx1"/>
                </a:solidFill>
                <a:latin typeface="Montserrat Light" pitchFamily="2" charset="77"/>
                <a:ea typeface="+mn-ea"/>
                <a:cs typeface="Montserrat Light" pitchFamily="2" charset="77"/>
              </a:defRPr>
            </a:lvl4pPr>
            <a:lvl5pPr marL="1108710" indent="-285750" algn="l" rtl="0" eaLnBrk="1" fontAlgn="base" hangingPunct="1">
              <a:lnSpc>
                <a:spcPct val="90000"/>
              </a:lnSpc>
              <a:spcBef>
                <a:spcPts val="500"/>
              </a:spcBef>
              <a:spcAft>
                <a:spcPct val="0"/>
              </a:spcAft>
              <a:buFont typeface="Arial" panose="020B0604020202020204" pitchFamily="34" charset="0"/>
              <a:defRPr lang="en-US" sz="1400" b="0" i="0" u="none" strike="noStrike" kern="1200" cap="none" spc="0" baseline="0" dirty="0">
                <a:solidFill>
                  <a:srgbClr val="000000"/>
                </a:solidFill>
                <a:uFillTx/>
                <a:latin typeface="Montserrat Light" pitchFamily="2" charset="77"/>
                <a:ea typeface="Montserrat" panose="00000500000000000000" pitchFamily="2" charset="0"/>
                <a:cs typeface="Montserrat Light" pitchFamily="2" charset="77"/>
                <a:sym typeface="Montserrat" panose="000005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dirty="0">
                <a:latin typeface="+mn-lt"/>
              </a:rPr>
              <a:t>Lorem ipsum dolor sit </a:t>
            </a:r>
            <a:r>
              <a:rPr lang="en-US" sz="1400" dirty="0" err="1">
                <a:latin typeface="+mn-lt"/>
              </a:rPr>
              <a:t>amet</a:t>
            </a:r>
            <a:r>
              <a:rPr lang="en-US" sz="1400" dirty="0">
                <a:latin typeface="+mn-lt"/>
              </a:rPr>
              <a:t>, </a:t>
            </a:r>
            <a:r>
              <a:rPr lang="en-US" sz="1400" dirty="0" err="1">
                <a:latin typeface="+mn-lt"/>
              </a:rPr>
              <a:t>consectetur</a:t>
            </a:r>
            <a:r>
              <a:rPr lang="en-US" sz="1400" dirty="0">
                <a:latin typeface="+mn-lt"/>
              </a:rPr>
              <a:t> </a:t>
            </a:r>
            <a:r>
              <a:rPr lang="en-US" sz="1400" dirty="0" err="1">
                <a:latin typeface="+mn-lt"/>
              </a:rPr>
              <a:t>adipiscing</a:t>
            </a:r>
            <a:r>
              <a:rPr lang="en-US" sz="1400" dirty="0">
                <a:latin typeface="+mn-lt"/>
              </a:rPr>
              <a:t> </a:t>
            </a:r>
            <a:r>
              <a:rPr lang="en-US" sz="1400" dirty="0" err="1">
                <a:latin typeface="+mn-lt"/>
              </a:rPr>
              <a:t>elit</a:t>
            </a:r>
            <a:r>
              <a:rPr lang="en-US" sz="1400" dirty="0">
                <a:latin typeface="+mn-lt"/>
              </a:rPr>
              <a:t>, sed do </a:t>
            </a:r>
            <a:r>
              <a:rPr lang="en-US" sz="1400" dirty="0" err="1">
                <a:latin typeface="+mn-lt"/>
              </a:rPr>
              <a:t>eiusmod</a:t>
            </a:r>
            <a:r>
              <a:rPr lang="en-US" sz="1400" dirty="0">
                <a:latin typeface="+mn-lt"/>
              </a:rPr>
              <a:t> </a:t>
            </a:r>
            <a:r>
              <a:rPr lang="en-US" sz="1400" dirty="0" err="1">
                <a:latin typeface="+mn-lt"/>
              </a:rPr>
              <a:t>tempor</a:t>
            </a:r>
            <a:r>
              <a:rPr lang="en-US" sz="1400" dirty="0">
                <a:latin typeface="+mn-lt"/>
              </a:rPr>
              <a:t> </a:t>
            </a:r>
            <a:r>
              <a:rPr lang="en-US" sz="1400" dirty="0" err="1">
                <a:latin typeface="+mn-lt"/>
              </a:rPr>
              <a:t>incididunt</a:t>
            </a:r>
            <a:r>
              <a:rPr lang="en-US" sz="1400" dirty="0">
                <a:latin typeface="+mn-lt"/>
              </a:rPr>
              <a:t> </a:t>
            </a:r>
            <a:r>
              <a:rPr lang="en-US" sz="1400" dirty="0" err="1">
                <a:latin typeface="+mn-lt"/>
              </a:rPr>
              <a:t>ut</a:t>
            </a:r>
            <a:r>
              <a:rPr lang="en-US" sz="1400" dirty="0">
                <a:latin typeface="+mn-lt"/>
              </a:rPr>
              <a:t> labore et dolore magna </a:t>
            </a:r>
            <a:r>
              <a:rPr lang="en-US" sz="1400" dirty="0" err="1">
                <a:latin typeface="+mn-lt"/>
              </a:rPr>
              <a:t>aliqua</a:t>
            </a:r>
            <a:r>
              <a:rPr lang="en-US" sz="1400" dirty="0">
                <a:latin typeface="+mn-lt"/>
              </a:rPr>
              <a:t>. Ut </a:t>
            </a:r>
            <a:r>
              <a:rPr lang="en-US" sz="1400" dirty="0" err="1">
                <a:latin typeface="+mn-lt"/>
              </a:rPr>
              <a:t>enim</a:t>
            </a:r>
            <a:r>
              <a:rPr lang="en-US" sz="1400" dirty="0">
                <a:latin typeface="+mn-lt"/>
              </a:rPr>
              <a:t> ad minim </a:t>
            </a:r>
            <a:r>
              <a:rPr lang="en-US" sz="1400" dirty="0" err="1">
                <a:latin typeface="+mn-lt"/>
              </a:rPr>
              <a:t>veniam</a:t>
            </a:r>
            <a:r>
              <a:rPr lang="en-US" sz="1400" dirty="0">
                <a:latin typeface="+mn-lt"/>
              </a:rPr>
              <a:t>, </a:t>
            </a:r>
            <a:r>
              <a:rPr lang="en-US" sz="1400" dirty="0" err="1">
                <a:latin typeface="+mn-lt"/>
              </a:rPr>
              <a:t>quis</a:t>
            </a:r>
            <a:r>
              <a:rPr lang="en-US" sz="1400" dirty="0">
                <a:latin typeface="+mn-lt"/>
              </a:rPr>
              <a:t> </a:t>
            </a:r>
            <a:r>
              <a:rPr lang="en-US" sz="1400" dirty="0" err="1">
                <a:latin typeface="+mn-lt"/>
              </a:rPr>
              <a:t>nostrud</a:t>
            </a:r>
            <a:r>
              <a:rPr lang="en-US" sz="1400" dirty="0">
                <a:latin typeface="+mn-lt"/>
              </a:rPr>
              <a:t> exercitation </a:t>
            </a:r>
            <a:r>
              <a:rPr lang="en-US" sz="1400" dirty="0" err="1">
                <a:latin typeface="+mn-lt"/>
              </a:rPr>
              <a:t>ullamco</a:t>
            </a:r>
            <a:r>
              <a:rPr lang="en-US" sz="1400" dirty="0">
                <a:latin typeface="+mn-lt"/>
              </a:rPr>
              <a:t> </a:t>
            </a:r>
            <a:r>
              <a:rPr lang="en-US" sz="1400" dirty="0" err="1">
                <a:latin typeface="+mn-lt"/>
              </a:rPr>
              <a:t>laboris</a:t>
            </a:r>
            <a:r>
              <a:rPr lang="en-US" sz="1400" dirty="0">
                <a:latin typeface="+mn-lt"/>
              </a:rPr>
              <a:t> nisi </a:t>
            </a:r>
            <a:r>
              <a:rPr lang="en-US" sz="1400" dirty="0" err="1">
                <a:latin typeface="+mn-lt"/>
              </a:rPr>
              <a:t>ut</a:t>
            </a:r>
            <a:r>
              <a:rPr lang="en-US" sz="1400" dirty="0">
                <a:latin typeface="+mn-lt"/>
              </a:rPr>
              <a:t> </a:t>
            </a:r>
            <a:r>
              <a:rPr lang="en-US" sz="1400" dirty="0" err="1">
                <a:latin typeface="+mn-lt"/>
              </a:rPr>
              <a:t>aliquip</a:t>
            </a:r>
            <a:r>
              <a:rPr lang="en-US" sz="1400" dirty="0">
                <a:latin typeface="+mn-lt"/>
              </a:rPr>
              <a:t> ex </a:t>
            </a:r>
            <a:r>
              <a:rPr lang="en-US" sz="1400" dirty="0" err="1">
                <a:latin typeface="+mn-lt"/>
              </a:rPr>
              <a:t>ea</a:t>
            </a:r>
            <a:r>
              <a:rPr lang="en-US" sz="1400" dirty="0">
                <a:latin typeface="+mn-lt"/>
              </a:rPr>
              <a:t> </a:t>
            </a:r>
            <a:r>
              <a:rPr lang="en-US" sz="1400" dirty="0" err="1">
                <a:latin typeface="+mn-lt"/>
              </a:rPr>
              <a:t>commodo</a:t>
            </a:r>
            <a:r>
              <a:rPr lang="en-US" sz="1400" dirty="0">
                <a:latin typeface="+mn-lt"/>
              </a:rPr>
              <a:t> </a:t>
            </a:r>
            <a:r>
              <a:rPr lang="en-US" sz="1400" dirty="0" err="1">
                <a:latin typeface="+mn-lt"/>
              </a:rPr>
              <a:t>consequat</a:t>
            </a:r>
            <a:endParaRPr lang="en-US" sz="1400" dirty="0">
              <a:latin typeface="+mn-lt"/>
            </a:endParaRPr>
          </a:p>
        </p:txBody>
      </p:sp>
      <p:sp>
        <p:nvSpPr>
          <p:cNvPr id="527" name="Rectangle 526">
            <a:extLst>
              <a:ext uri="{FF2B5EF4-FFF2-40B4-BE49-F238E27FC236}">
                <a16:creationId xmlns:a16="http://schemas.microsoft.com/office/drawing/2014/main" id="{EBA6359A-A822-47F9-D3BF-6C07FF4CBB6C}"/>
              </a:ext>
            </a:extLst>
          </p:cNvPr>
          <p:cNvSpPr/>
          <p:nvPr/>
        </p:nvSpPr>
        <p:spPr>
          <a:xfrm>
            <a:off x="8517339" y="1750197"/>
            <a:ext cx="1021999" cy="272702"/>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highlight>
                  <a:srgbClr val="FFFFFF"/>
                </a:highlight>
              </a:rPr>
              <a:t>$79.99 BI 300+SE</a:t>
            </a:r>
          </a:p>
        </p:txBody>
      </p:sp>
      <p:sp>
        <p:nvSpPr>
          <p:cNvPr id="528" name="Rectangle 527">
            <a:extLst>
              <a:ext uri="{FF2B5EF4-FFF2-40B4-BE49-F238E27FC236}">
                <a16:creationId xmlns:a16="http://schemas.microsoft.com/office/drawing/2014/main" id="{A703C902-2A6F-B4C1-CB75-7987B8838135}"/>
              </a:ext>
            </a:extLst>
          </p:cNvPr>
          <p:cNvSpPr/>
          <p:nvPr/>
        </p:nvSpPr>
        <p:spPr>
          <a:xfrm>
            <a:off x="8518302" y="2070163"/>
            <a:ext cx="1016417" cy="227615"/>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highlight>
                  <a:srgbClr val="FFFFFF"/>
                </a:highlight>
              </a:rPr>
              <a:t>$49 BI 300+SE</a:t>
            </a:r>
          </a:p>
        </p:txBody>
      </p:sp>
      <p:sp>
        <p:nvSpPr>
          <p:cNvPr id="529" name="Rectangle 528">
            <a:extLst>
              <a:ext uri="{FF2B5EF4-FFF2-40B4-BE49-F238E27FC236}">
                <a16:creationId xmlns:a16="http://schemas.microsoft.com/office/drawing/2014/main" id="{94324FB5-33EC-522E-8F13-A424EC620D77}"/>
              </a:ext>
            </a:extLst>
          </p:cNvPr>
          <p:cNvSpPr/>
          <p:nvPr/>
        </p:nvSpPr>
        <p:spPr>
          <a:xfrm>
            <a:off x="8531016" y="2346091"/>
            <a:ext cx="1016416" cy="243977"/>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highlight>
                  <a:srgbClr val="FFFFFF"/>
                </a:highlight>
              </a:rPr>
              <a:t>$49 BI 150 + SE</a:t>
            </a:r>
          </a:p>
        </p:txBody>
      </p:sp>
      <p:sp>
        <p:nvSpPr>
          <p:cNvPr id="7" name="Rectangle 6">
            <a:extLst>
              <a:ext uri="{FF2B5EF4-FFF2-40B4-BE49-F238E27FC236}">
                <a16:creationId xmlns:a16="http://schemas.microsoft.com/office/drawing/2014/main" id="{76C26AB5-886C-C6D3-8A54-5D1F6D257279}"/>
              </a:ext>
            </a:extLst>
          </p:cNvPr>
          <p:cNvSpPr/>
          <p:nvPr/>
        </p:nvSpPr>
        <p:spPr>
          <a:xfrm>
            <a:off x="9636373" y="3293269"/>
            <a:ext cx="2236788" cy="685800"/>
          </a:xfrm>
          <a:prstGeom prst="rect">
            <a:avLst/>
          </a:prstGeom>
          <a:solidFill>
            <a:schemeClr val="bg2"/>
          </a:solidFill>
          <a:ln w="9525">
            <a:solidFill>
              <a:schemeClr val="bg2">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050" b="1">
                <a:solidFill>
                  <a:schemeClr val="tx1"/>
                </a:solidFill>
              </a:rPr>
              <a:t>vs. BUD</a:t>
            </a:r>
          </a:p>
        </p:txBody>
      </p:sp>
      <p:grpSp>
        <p:nvGrpSpPr>
          <p:cNvPr id="8" name="Group 7">
            <a:extLst>
              <a:ext uri="{FF2B5EF4-FFF2-40B4-BE49-F238E27FC236}">
                <a16:creationId xmlns:a16="http://schemas.microsoft.com/office/drawing/2014/main" id="{0E53AD8C-AE15-90FD-F9B3-963475682497}"/>
              </a:ext>
            </a:extLst>
          </p:cNvPr>
          <p:cNvGrpSpPr/>
          <p:nvPr/>
        </p:nvGrpSpPr>
        <p:grpSpPr>
          <a:xfrm>
            <a:off x="10265022" y="3267869"/>
            <a:ext cx="1682749" cy="750888"/>
            <a:chOff x="10106556" y="4845052"/>
            <a:chExt cx="1682296" cy="750818"/>
          </a:xfrm>
        </p:grpSpPr>
        <p:sp>
          <p:nvSpPr>
            <p:cNvPr id="9" name="Rectangle 8">
              <a:extLst>
                <a:ext uri="{FF2B5EF4-FFF2-40B4-BE49-F238E27FC236}">
                  <a16:creationId xmlns:a16="http://schemas.microsoft.com/office/drawing/2014/main" id="{B1901B56-CA8A-0E1F-ABA5-95AD8E6E2D20}"/>
                </a:ext>
              </a:extLst>
            </p:cNvPr>
            <p:cNvSpPr/>
            <p:nvPr/>
          </p:nvSpPr>
          <p:spPr>
            <a:xfrm>
              <a:off x="10106556" y="5246620"/>
              <a:ext cx="586217"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C00000"/>
                  </a:solidFill>
                  <a:highlight>
                    <a:srgbClr val="FFFFFF"/>
                  </a:highlight>
                </a:rPr>
                <a:t> 78%</a:t>
              </a:r>
            </a:p>
          </p:txBody>
        </p:sp>
        <p:sp>
          <p:nvSpPr>
            <p:cNvPr id="10" name="Rectangle 9">
              <a:extLst>
                <a:ext uri="{FF2B5EF4-FFF2-40B4-BE49-F238E27FC236}">
                  <a16:creationId xmlns:a16="http://schemas.microsoft.com/office/drawing/2014/main" id="{2458EDD5-B11E-FD65-0FA1-373188AA151D}"/>
                </a:ext>
              </a:extLst>
            </p:cNvPr>
            <p:cNvSpPr/>
            <p:nvPr/>
          </p:nvSpPr>
          <p:spPr>
            <a:xfrm>
              <a:off x="10633986" y="5246620"/>
              <a:ext cx="586217"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accent3">
                      <a:lumMod val="50000"/>
                    </a:schemeClr>
                  </a:solidFill>
                  <a:highlight>
                    <a:srgbClr val="FFFFFF"/>
                  </a:highlight>
                </a:rPr>
                <a:t> </a:t>
              </a:r>
              <a:r>
                <a:rPr lang="en-US" sz="1050" dirty="0">
                  <a:solidFill>
                    <a:srgbClr val="C00000"/>
                  </a:solidFill>
                  <a:highlight>
                    <a:srgbClr val="FFFFFF"/>
                  </a:highlight>
                </a:rPr>
                <a:t>73%</a:t>
              </a:r>
            </a:p>
          </p:txBody>
        </p:sp>
        <p:sp>
          <p:nvSpPr>
            <p:cNvPr id="15" name="Rectangle 14">
              <a:extLst>
                <a:ext uri="{FF2B5EF4-FFF2-40B4-BE49-F238E27FC236}">
                  <a16:creationId xmlns:a16="http://schemas.microsoft.com/office/drawing/2014/main" id="{ADC0426B-2660-20E7-3C8B-531895CB9500}"/>
                </a:ext>
              </a:extLst>
            </p:cNvPr>
            <p:cNvSpPr/>
            <p:nvPr/>
          </p:nvSpPr>
          <p:spPr>
            <a:xfrm>
              <a:off x="11153248" y="5246620"/>
              <a:ext cx="586217"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C00000"/>
                  </a:solidFill>
                  <a:highlight>
                    <a:srgbClr val="FFFFFF"/>
                  </a:highlight>
                </a:rPr>
                <a:t>81%</a:t>
              </a:r>
            </a:p>
          </p:txBody>
        </p:sp>
        <p:cxnSp>
          <p:nvCxnSpPr>
            <p:cNvPr id="16" name="Straight Connector 15">
              <a:extLst>
                <a:ext uri="{FF2B5EF4-FFF2-40B4-BE49-F238E27FC236}">
                  <a16:creationId xmlns:a16="http://schemas.microsoft.com/office/drawing/2014/main" id="{3ACB652F-AB98-ACC2-6396-474A61A9A6F8}"/>
                </a:ext>
              </a:extLst>
            </p:cNvPr>
            <p:cNvCxnSpPr>
              <a:cxnSpLocks/>
            </p:cNvCxnSpPr>
            <p:nvPr/>
          </p:nvCxnSpPr>
          <p:spPr>
            <a:xfrm>
              <a:off x="10217648" y="5158793"/>
              <a:ext cx="1418892" cy="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4E0A847B-3D5C-9180-A120-62081DB07EB4}"/>
                </a:ext>
              </a:extLst>
            </p:cNvPr>
            <p:cNvCxnSpPr>
              <a:cxnSpLocks/>
            </p:cNvCxnSpPr>
            <p:nvPr/>
          </p:nvCxnSpPr>
          <p:spPr>
            <a:xfrm>
              <a:off x="11181972" y="5155618"/>
              <a:ext cx="0" cy="265113"/>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DEAC3399-D5DA-15CF-23EC-04F01F0703D9}"/>
                </a:ext>
              </a:extLst>
            </p:cNvPr>
            <p:cNvCxnSpPr>
              <a:cxnSpLocks/>
            </p:cNvCxnSpPr>
            <p:nvPr/>
          </p:nvCxnSpPr>
          <p:spPr>
            <a:xfrm>
              <a:off x="10672217" y="5158793"/>
              <a:ext cx="0" cy="274638"/>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391479FD-115F-E1AF-3673-86AF11AF9ECA}"/>
                </a:ext>
              </a:extLst>
            </p:cNvPr>
            <p:cNvSpPr/>
            <p:nvPr/>
          </p:nvSpPr>
          <p:spPr>
            <a:xfrm>
              <a:off x="10515614" y="4845052"/>
              <a:ext cx="822960"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200" b="1" dirty="0">
                  <a:solidFill>
                    <a:srgbClr val="C00000"/>
                  </a:solidFill>
                  <a:highlight>
                    <a:srgbClr val="FFFFFF"/>
                  </a:highlight>
                </a:rPr>
                <a:t>76%</a:t>
              </a:r>
            </a:p>
          </p:txBody>
        </p:sp>
        <p:sp>
          <p:nvSpPr>
            <p:cNvPr id="20" name="Rectangle 19">
              <a:extLst>
                <a:ext uri="{FF2B5EF4-FFF2-40B4-BE49-F238E27FC236}">
                  <a16:creationId xmlns:a16="http://schemas.microsoft.com/office/drawing/2014/main" id="{DE8FA035-28DE-D44D-18FC-6E0E4D4D8D91}"/>
                </a:ext>
              </a:extLst>
            </p:cNvPr>
            <p:cNvSpPr/>
            <p:nvPr/>
          </p:nvSpPr>
          <p:spPr>
            <a:xfrm>
              <a:off x="10106556" y="5080724"/>
              <a:ext cx="586217" cy="349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highlight>
                    <a:srgbClr val="FFFFFF"/>
                  </a:highlight>
                </a:rPr>
                <a:t>NED</a:t>
              </a:r>
            </a:p>
          </p:txBody>
        </p:sp>
        <p:sp>
          <p:nvSpPr>
            <p:cNvPr id="21" name="Rectangle 20">
              <a:extLst>
                <a:ext uri="{FF2B5EF4-FFF2-40B4-BE49-F238E27FC236}">
                  <a16:creationId xmlns:a16="http://schemas.microsoft.com/office/drawing/2014/main" id="{F897647B-30EA-F802-19A1-F1FA7E13A41E}"/>
                </a:ext>
              </a:extLst>
            </p:cNvPr>
            <p:cNvSpPr/>
            <p:nvPr/>
          </p:nvSpPr>
          <p:spPr>
            <a:xfrm>
              <a:off x="10633986" y="5085817"/>
              <a:ext cx="586217" cy="349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highlight>
                    <a:srgbClr val="FFFFFF"/>
                  </a:highlight>
                </a:rPr>
                <a:t>CEN</a:t>
              </a:r>
            </a:p>
          </p:txBody>
        </p:sp>
        <p:sp>
          <p:nvSpPr>
            <p:cNvPr id="22" name="Rectangle 21">
              <a:extLst>
                <a:ext uri="{FF2B5EF4-FFF2-40B4-BE49-F238E27FC236}">
                  <a16:creationId xmlns:a16="http://schemas.microsoft.com/office/drawing/2014/main" id="{8F53D803-AB05-D182-4325-75D592AC52F3}"/>
                </a:ext>
              </a:extLst>
            </p:cNvPr>
            <p:cNvSpPr/>
            <p:nvPr/>
          </p:nvSpPr>
          <p:spPr>
            <a:xfrm>
              <a:off x="11103861" y="5080724"/>
              <a:ext cx="684991" cy="349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highlight>
                    <a:srgbClr val="FFFFFF"/>
                  </a:highlight>
                </a:rPr>
                <a:t>WEST</a:t>
              </a:r>
            </a:p>
          </p:txBody>
        </p:sp>
      </p:grpSp>
      <p:sp>
        <p:nvSpPr>
          <p:cNvPr id="23" name="Rectangle 22">
            <a:extLst>
              <a:ext uri="{FF2B5EF4-FFF2-40B4-BE49-F238E27FC236}">
                <a16:creationId xmlns:a16="http://schemas.microsoft.com/office/drawing/2014/main" id="{5987DCAC-5F8D-8F36-667D-A89B4FF0AC46}"/>
              </a:ext>
            </a:extLst>
          </p:cNvPr>
          <p:cNvSpPr/>
          <p:nvPr/>
        </p:nvSpPr>
        <p:spPr>
          <a:xfrm>
            <a:off x="9636373" y="4231482"/>
            <a:ext cx="2236788" cy="685800"/>
          </a:xfrm>
          <a:prstGeom prst="rect">
            <a:avLst/>
          </a:prstGeom>
          <a:solidFill>
            <a:schemeClr val="bg2"/>
          </a:solidFill>
          <a:ln w="9525">
            <a:solidFill>
              <a:schemeClr val="bg2">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050" b="1" dirty="0">
                <a:solidFill>
                  <a:schemeClr val="tx1"/>
                </a:solidFill>
              </a:rPr>
              <a:t>vs. PM</a:t>
            </a:r>
          </a:p>
          <a:p>
            <a:r>
              <a:rPr lang="en-US" sz="800" dirty="0">
                <a:solidFill>
                  <a:schemeClr val="tx1"/>
                </a:solidFill>
              </a:rPr>
              <a:t>Apr ’24</a:t>
            </a:r>
          </a:p>
        </p:txBody>
      </p:sp>
      <p:grpSp>
        <p:nvGrpSpPr>
          <p:cNvPr id="24" name="Group 23">
            <a:extLst>
              <a:ext uri="{FF2B5EF4-FFF2-40B4-BE49-F238E27FC236}">
                <a16:creationId xmlns:a16="http://schemas.microsoft.com/office/drawing/2014/main" id="{1C82963E-8071-72C3-EB64-75331606EBB9}"/>
              </a:ext>
            </a:extLst>
          </p:cNvPr>
          <p:cNvGrpSpPr/>
          <p:nvPr/>
        </p:nvGrpSpPr>
        <p:grpSpPr>
          <a:xfrm>
            <a:off x="10282491" y="4214020"/>
            <a:ext cx="1681163" cy="750888"/>
            <a:chOff x="10100487" y="5518068"/>
            <a:chExt cx="1682296" cy="750818"/>
          </a:xfrm>
        </p:grpSpPr>
        <p:sp>
          <p:nvSpPr>
            <p:cNvPr id="25" name="Rectangle 24">
              <a:extLst>
                <a:ext uri="{FF2B5EF4-FFF2-40B4-BE49-F238E27FC236}">
                  <a16:creationId xmlns:a16="http://schemas.microsoft.com/office/drawing/2014/main" id="{32086965-222C-2F2D-32B3-E7F5B91B9068}"/>
                </a:ext>
              </a:extLst>
            </p:cNvPr>
            <p:cNvSpPr/>
            <p:nvPr/>
          </p:nvSpPr>
          <p:spPr>
            <a:xfrm>
              <a:off x="10100487" y="5919636"/>
              <a:ext cx="586217"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accent3">
                      <a:lumMod val="50000"/>
                    </a:schemeClr>
                  </a:solidFill>
                  <a:highlight>
                    <a:srgbClr val="FFFFFF"/>
                  </a:highlight>
                </a:rPr>
                <a:t>90%</a:t>
              </a:r>
            </a:p>
          </p:txBody>
        </p:sp>
        <p:sp>
          <p:nvSpPr>
            <p:cNvPr id="26" name="Rectangle 25">
              <a:extLst>
                <a:ext uri="{FF2B5EF4-FFF2-40B4-BE49-F238E27FC236}">
                  <a16:creationId xmlns:a16="http://schemas.microsoft.com/office/drawing/2014/main" id="{02B17336-0A56-D1A8-1A97-EA7C0C035872}"/>
                </a:ext>
              </a:extLst>
            </p:cNvPr>
            <p:cNvSpPr/>
            <p:nvPr/>
          </p:nvSpPr>
          <p:spPr>
            <a:xfrm>
              <a:off x="10627917" y="5919636"/>
              <a:ext cx="586217"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accent3">
                      <a:lumMod val="50000"/>
                    </a:schemeClr>
                  </a:solidFill>
                  <a:highlight>
                    <a:srgbClr val="FFFFFF"/>
                  </a:highlight>
                </a:rPr>
                <a:t>88%</a:t>
              </a:r>
            </a:p>
          </p:txBody>
        </p:sp>
        <p:sp>
          <p:nvSpPr>
            <p:cNvPr id="27" name="Rectangle 26">
              <a:extLst>
                <a:ext uri="{FF2B5EF4-FFF2-40B4-BE49-F238E27FC236}">
                  <a16:creationId xmlns:a16="http://schemas.microsoft.com/office/drawing/2014/main" id="{C24C5F12-3907-F7FA-2314-85036D524EA3}"/>
                </a:ext>
              </a:extLst>
            </p:cNvPr>
            <p:cNvSpPr/>
            <p:nvPr/>
          </p:nvSpPr>
          <p:spPr>
            <a:xfrm>
              <a:off x="11147179" y="5919636"/>
              <a:ext cx="586217"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C00000"/>
                  </a:solidFill>
                  <a:highlight>
                    <a:srgbClr val="FFFFFF"/>
                  </a:highlight>
                </a:rPr>
                <a:t> 96%</a:t>
              </a:r>
            </a:p>
          </p:txBody>
        </p:sp>
        <p:cxnSp>
          <p:nvCxnSpPr>
            <p:cNvPr id="28" name="Straight Connector 27">
              <a:extLst>
                <a:ext uri="{FF2B5EF4-FFF2-40B4-BE49-F238E27FC236}">
                  <a16:creationId xmlns:a16="http://schemas.microsoft.com/office/drawing/2014/main" id="{906F4A5B-87B8-C166-0255-7832372AC8A1}"/>
                </a:ext>
              </a:extLst>
            </p:cNvPr>
            <p:cNvCxnSpPr>
              <a:cxnSpLocks/>
            </p:cNvCxnSpPr>
            <p:nvPr/>
          </p:nvCxnSpPr>
          <p:spPr>
            <a:xfrm>
              <a:off x="10211579" y="5831809"/>
              <a:ext cx="1418892" cy="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8C7F174B-F7E3-A82A-CC53-48C6A1F35529}"/>
                </a:ext>
              </a:extLst>
            </p:cNvPr>
            <p:cNvCxnSpPr>
              <a:cxnSpLocks/>
            </p:cNvCxnSpPr>
            <p:nvPr/>
          </p:nvCxnSpPr>
          <p:spPr>
            <a:xfrm>
              <a:off x="11175903" y="5828634"/>
              <a:ext cx="0" cy="265113"/>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BB8E9513-71D9-2D08-8C32-31778A22DA39}"/>
                </a:ext>
              </a:extLst>
            </p:cNvPr>
            <p:cNvCxnSpPr>
              <a:cxnSpLocks/>
            </p:cNvCxnSpPr>
            <p:nvPr/>
          </p:nvCxnSpPr>
          <p:spPr>
            <a:xfrm>
              <a:off x="10666148" y="5831809"/>
              <a:ext cx="0" cy="274638"/>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E0285D9D-8F8A-E1C9-02C4-FF57ADE8B8CF}"/>
                </a:ext>
              </a:extLst>
            </p:cNvPr>
            <p:cNvSpPr/>
            <p:nvPr/>
          </p:nvSpPr>
          <p:spPr>
            <a:xfrm>
              <a:off x="10509545" y="5518068"/>
              <a:ext cx="822960"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accent3">
                      <a:lumMod val="50000"/>
                    </a:schemeClr>
                  </a:solidFill>
                  <a:highlight>
                    <a:srgbClr val="FFFFFF"/>
                  </a:highlight>
                </a:rPr>
                <a:t>91%</a:t>
              </a:r>
            </a:p>
          </p:txBody>
        </p:sp>
        <p:sp>
          <p:nvSpPr>
            <p:cNvPr id="35" name="Rectangle 34">
              <a:extLst>
                <a:ext uri="{FF2B5EF4-FFF2-40B4-BE49-F238E27FC236}">
                  <a16:creationId xmlns:a16="http://schemas.microsoft.com/office/drawing/2014/main" id="{11BEE317-6605-8C52-4D66-28876ABBD667}"/>
                </a:ext>
              </a:extLst>
            </p:cNvPr>
            <p:cNvSpPr/>
            <p:nvPr/>
          </p:nvSpPr>
          <p:spPr>
            <a:xfrm>
              <a:off x="10100487" y="5753740"/>
              <a:ext cx="586217" cy="349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highlight>
                    <a:srgbClr val="FFFFFF"/>
                  </a:highlight>
                </a:rPr>
                <a:t>NED</a:t>
              </a:r>
            </a:p>
          </p:txBody>
        </p:sp>
        <p:sp>
          <p:nvSpPr>
            <p:cNvPr id="36" name="Rectangle 35">
              <a:extLst>
                <a:ext uri="{FF2B5EF4-FFF2-40B4-BE49-F238E27FC236}">
                  <a16:creationId xmlns:a16="http://schemas.microsoft.com/office/drawing/2014/main" id="{2108A3A3-D23A-2917-B618-40D21A10FD35}"/>
                </a:ext>
              </a:extLst>
            </p:cNvPr>
            <p:cNvSpPr/>
            <p:nvPr/>
          </p:nvSpPr>
          <p:spPr>
            <a:xfrm>
              <a:off x="10627917" y="5758833"/>
              <a:ext cx="586217" cy="349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highlight>
                    <a:srgbClr val="FFFFFF"/>
                  </a:highlight>
                </a:rPr>
                <a:t>CEN</a:t>
              </a:r>
            </a:p>
          </p:txBody>
        </p:sp>
        <p:sp>
          <p:nvSpPr>
            <p:cNvPr id="37" name="Rectangle 36">
              <a:extLst>
                <a:ext uri="{FF2B5EF4-FFF2-40B4-BE49-F238E27FC236}">
                  <a16:creationId xmlns:a16="http://schemas.microsoft.com/office/drawing/2014/main" id="{0ECAB782-40C0-2AC4-7FD5-14B2FF71DF90}"/>
                </a:ext>
              </a:extLst>
            </p:cNvPr>
            <p:cNvSpPr/>
            <p:nvPr/>
          </p:nvSpPr>
          <p:spPr>
            <a:xfrm>
              <a:off x="11097792" y="5753740"/>
              <a:ext cx="684991" cy="349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highlight>
                    <a:srgbClr val="FFFFFF"/>
                  </a:highlight>
                </a:rPr>
                <a:t>WEST</a:t>
              </a:r>
            </a:p>
          </p:txBody>
        </p:sp>
      </p:grpSp>
      <p:sp>
        <p:nvSpPr>
          <p:cNvPr id="38" name="Rectangle 37">
            <a:extLst>
              <a:ext uri="{FF2B5EF4-FFF2-40B4-BE49-F238E27FC236}">
                <a16:creationId xmlns:a16="http://schemas.microsoft.com/office/drawing/2014/main" id="{A864C1AD-27A1-832E-CD22-1AE67018BBE8}"/>
              </a:ext>
            </a:extLst>
          </p:cNvPr>
          <p:cNvSpPr/>
          <p:nvPr/>
        </p:nvSpPr>
        <p:spPr>
          <a:xfrm>
            <a:off x="9636373" y="5174457"/>
            <a:ext cx="2236788" cy="685800"/>
          </a:xfrm>
          <a:prstGeom prst="rect">
            <a:avLst/>
          </a:prstGeom>
          <a:solidFill>
            <a:schemeClr val="bg2"/>
          </a:solidFill>
          <a:ln w="9525">
            <a:solidFill>
              <a:schemeClr val="bg2">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050" b="1" dirty="0">
                <a:solidFill>
                  <a:schemeClr val="tx1"/>
                </a:solidFill>
              </a:rPr>
              <a:t>vs. PY</a:t>
            </a:r>
          </a:p>
          <a:p>
            <a:r>
              <a:rPr lang="en-US" sz="800" dirty="0">
                <a:solidFill>
                  <a:schemeClr val="tx1"/>
                </a:solidFill>
              </a:rPr>
              <a:t>May ’23</a:t>
            </a:r>
          </a:p>
        </p:txBody>
      </p:sp>
      <p:grpSp>
        <p:nvGrpSpPr>
          <p:cNvPr id="39" name="Group 38">
            <a:extLst>
              <a:ext uri="{FF2B5EF4-FFF2-40B4-BE49-F238E27FC236}">
                <a16:creationId xmlns:a16="http://schemas.microsoft.com/office/drawing/2014/main" id="{1E53064E-9845-6C78-CE8E-45E7758D7C15}"/>
              </a:ext>
            </a:extLst>
          </p:cNvPr>
          <p:cNvGrpSpPr/>
          <p:nvPr/>
        </p:nvGrpSpPr>
        <p:grpSpPr>
          <a:xfrm>
            <a:off x="10249153" y="5155408"/>
            <a:ext cx="1681163" cy="750888"/>
            <a:chOff x="10100487" y="5518068"/>
            <a:chExt cx="1682296" cy="750818"/>
          </a:xfrm>
        </p:grpSpPr>
        <p:sp>
          <p:nvSpPr>
            <p:cNvPr id="40" name="Rectangle 39">
              <a:extLst>
                <a:ext uri="{FF2B5EF4-FFF2-40B4-BE49-F238E27FC236}">
                  <a16:creationId xmlns:a16="http://schemas.microsoft.com/office/drawing/2014/main" id="{E61583F0-A0AA-098F-0480-36623C7AFADD}"/>
                </a:ext>
              </a:extLst>
            </p:cNvPr>
            <p:cNvSpPr/>
            <p:nvPr/>
          </p:nvSpPr>
          <p:spPr>
            <a:xfrm>
              <a:off x="10100487" y="5919636"/>
              <a:ext cx="586217"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C00000"/>
                  </a:solidFill>
                  <a:highlight>
                    <a:srgbClr val="FFFFFF"/>
                  </a:highlight>
                </a:rPr>
                <a:t>84%</a:t>
              </a:r>
            </a:p>
          </p:txBody>
        </p:sp>
        <p:sp>
          <p:nvSpPr>
            <p:cNvPr id="41" name="Rectangle 40">
              <a:extLst>
                <a:ext uri="{FF2B5EF4-FFF2-40B4-BE49-F238E27FC236}">
                  <a16:creationId xmlns:a16="http://schemas.microsoft.com/office/drawing/2014/main" id="{5D3F04AC-F62E-7BE5-EC17-473E21FDFCC2}"/>
                </a:ext>
              </a:extLst>
            </p:cNvPr>
            <p:cNvSpPr/>
            <p:nvPr/>
          </p:nvSpPr>
          <p:spPr>
            <a:xfrm>
              <a:off x="10627917" y="5919636"/>
              <a:ext cx="586217"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C00000"/>
                  </a:solidFill>
                  <a:highlight>
                    <a:srgbClr val="FFFFFF"/>
                  </a:highlight>
                </a:rPr>
                <a:t>75%</a:t>
              </a:r>
            </a:p>
          </p:txBody>
        </p:sp>
        <p:sp>
          <p:nvSpPr>
            <p:cNvPr id="43" name="Rectangle 42">
              <a:extLst>
                <a:ext uri="{FF2B5EF4-FFF2-40B4-BE49-F238E27FC236}">
                  <a16:creationId xmlns:a16="http://schemas.microsoft.com/office/drawing/2014/main" id="{10FE547B-D370-8D39-4C46-7E3D51B11811}"/>
                </a:ext>
              </a:extLst>
            </p:cNvPr>
            <p:cNvSpPr/>
            <p:nvPr/>
          </p:nvSpPr>
          <p:spPr>
            <a:xfrm>
              <a:off x="11147179" y="5919636"/>
              <a:ext cx="586217"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C00000"/>
                  </a:solidFill>
                  <a:highlight>
                    <a:srgbClr val="FFFFFF"/>
                  </a:highlight>
                </a:rPr>
                <a:t> 78%</a:t>
              </a:r>
            </a:p>
          </p:txBody>
        </p:sp>
        <p:cxnSp>
          <p:nvCxnSpPr>
            <p:cNvPr id="46" name="Straight Connector 45">
              <a:extLst>
                <a:ext uri="{FF2B5EF4-FFF2-40B4-BE49-F238E27FC236}">
                  <a16:creationId xmlns:a16="http://schemas.microsoft.com/office/drawing/2014/main" id="{3A41F70C-59E5-F4BE-8F40-20E1E0536BC0}"/>
                </a:ext>
              </a:extLst>
            </p:cNvPr>
            <p:cNvCxnSpPr>
              <a:cxnSpLocks/>
            </p:cNvCxnSpPr>
            <p:nvPr/>
          </p:nvCxnSpPr>
          <p:spPr>
            <a:xfrm>
              <a:off x="10211579" y="5831809"/>
              <a:ext cx="1418892" cy="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40E343A-9C97-FF20-7D01-D721A977EB0A}"/>
                </a:ext>
              </a:extLst>
            </p:cNvPr>
            <p:cNvCxnSpPr>
              <a:cxnSpLocks/>
            </p:cNvCxnSpPr>
            <p:nvPr/>
          </p:nvCxnSpPr>
          <p:spPr>
            <a:xfrm>
              <a:off x="11175903" y="5828634"/>
              <a:ext cx="0" cy="265113"/>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D7C7F398-DFE2-84C4-283C-99CE5071A3ED}"/>
                </a:ext>
              </a:extLst>
            </p:cNvPr>
            <p:cNvCxnSpPr>
              <a:cxnSpLocks/>
            </p:cNvCxnSpPr>
            <p:nvPr/>
          </p:nvCxnSpPr>
          <p:spPr>
            <a:xfrm>
              <a:off x="10666148" y="5831809"/>
              <a:ext cx="0" cy="274638"/>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94FBDA23-A3F2-E98A-9CED-6D17CAFBC335}"/>
                </a:ext>
              </a:extLst>
            </p:cNvPr>
            <p:cNvSpPr/>
            <p:nvPr/>
          </p:nvSpPr>
          <p:spPr>
            <a:xfrm>
              <a:off x="10509545" y="5518068"/>
              <a:ext cx="822960"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rgbClr val="C00000"/>
                  </a:solidFill>
                  <a:highlight>
                    <a:srgbClr val="FFFFFF"/>
                  </a:highlight>
                </a:rPr>
                <a:t>78%</a:t>
              </a:r>
            </a:p>
          </p:txBody>
        </p:sp>
        <p:sp>
          <p:nvSpPr>
            <p:cNvPr id="51" name="Rectangle 50">
              <a:extLst>
                <a:ext uri="{FF2B5EF4-FFF2-40B4-BE49-F238E27FC236}">
                  <a16:creationId xmlns:a16="http://schemas.microsoft.com/office/drawing/2014/main" id="{62C7E913-570E-58D5-5122-23C9CBC5667A}"/>
                </a:ext>
              </a:extLst>
            </p:cNvPr>
            <p:cNvSpPr/>
            <p:nvPr/>
          </p:nvSpPr>
          <p:spPr>
            <a:xfrm>
              <a:off x="10100487" y="5753740"/>
              <a:ext cx="586217" cy="349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highlight>
                    <a:srgbClr val="FFFFFF"/>
                  </a:highlight>
                </a:rPr>
                <a:t>NED</a:t>
              </a:r>
            </a:p>
          </p:txBody>
        </p:sp>
        <p:sp>
          <p:nvSpPr>
            <p:cNvPr id="52" name="Rectangle 51">
              <a:extLst>
                <a:ext uri="{FF2B5EF4-FFF2-40B4-BE49-F238E27FC236}">
                  <a16:creationId xmlns:a16="http://schemas.microsoft.com/office/drawing/2014/main" id="{22398489-F5D2-232A-A5E1-686FF8F2EECC}"/>
                </a:ext>
              </a:extLst>
            </p:cNvPr>
            <p:cNvSpPr/>
            <p:nvPr/>
          </p:nvSpPr>
          <p:spPr>
            <a:xfrm>
              <a:off x="10627917" y="5758833"/>
              <a:ext cx="586217" cy="349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highlight>
                    <a:srgbClr val="FFFFFF"/>
                  </a:highlight>
                </a:rPr>
                <a:t>CEN</a:t>
              </a:r>
            </a:p>
          </p:txBody>
        </p:sp>
        <p:sp>
          <p:nvSpPr>
            <p:cNvPr id="53" name="Rectangle 52">
              <a:extLst>
                <a:ext uri="{FF2B5EF4-FFF2-40B4-BE49-F238E27FC236}">
                  <a16:creationId xmlns:a16="http://schemas.microsoft.com/office/drawing/2014/main" id="{36B1D3A7-A7A4-5017-E09B-63BA58AAA5EA}"/>
                </a:ext>
              </a:extLst>
            </p:cNvPr>
            <p:cNvSpPr/>
            <p:nvPr/>
          </p:nvSpPr>
          <p:spPr>
            <a:xfrm>
              <a:off x="11097792" y="5753740"/>
              <a:ext cx="684991" cy="349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highlight>
                    <a:srgbClr val="FFFFFF"/>
                  </a:highlight>
                </a:rPr>
                <a:t>WEST</a:t>
              </a:r>
            </a:p>
          </p:txBody>
        </p:sp>
      </p:grpSp>
    </p:spTree>
    <p:extLst>
      <p:ext uri="{BB962C8B-B14F-4D97-AF65-F5344CB8AC3E}">
        <p14:creationId xmlns:p14="http://schemas.microsoft.com/office/powerpoint/2010/main" val="2575164949"/>
      </p:ext>
    </p:extLst>
  </p:cSld>
  <p:clrMapOvr>
    <a:masterClrMapping/>
  </p:clrMapOvr>
  <p:transition spd="med"/>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37480E6-E559-4F76-AF62-08CFD224694D}"/>
              </a:ext>
            </a:extLst>
          </p:cNvPr>
          <p:cNvGraphicFramePr>
            <a:graphicFrameLocks noChangeAspect="1"/>
          </p:cNvGraphicFramePr>
          <p:nvPr>
            <p:custDataLst>
              <p:tags r:id="rId1"/>
            </p:custDataLst>
            <p:extLst>
              <p:ext uri="{D42A27DB-BD31-4B8C-83A1-F6EECF244321}">
                <p14:modId xmlns:p14="http://schemas.microsoft.com/office/powerpoint/2010/main" val="17058583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4" imgW="317" imgH="318" progId="TCLayout.ActiveDocument.1">
                  <p:embed/>
                </p:oleObj>
              </mc:Choice>
              <mc:Fallback>
                <p:oleObj name="think-cell Slide" r:id="rId64" imgW="317" imgH="318" progId="TCLayout.ActiveDocument.1">
                  <p:embed/>
                  <p:pic>
                    <p:nvPicPr>
                      <p:cNvPr id="6" name="think-cell data - do not delete" hidden="1">
                        <a:extLst>
                          <a:ext uri="{FF2B5EF4-FFF2-40B4-BE49-F238E27FC236}">
                            <a16:creationId xmlns:a16="http://schemas.microsoft.com/office/drawing/2014/main" id="{837480E6-E559-4F76-AF62-08CFD224694D}"/>
                          </a:ext>
                        </a:extLst>
                      </p:cNvPr>
                      <p:cNvPicPr/>
                      <p:nvPr/>
                    </p:nvPicPr>
                    <p:blipFill>
                      <a:blip r:embed="rId65"/>
                      <a:stretch>
                        <a:fillRect/>
                      </a:stretch>
                    </p:blipFill>
                    <p:spPr>
                      <a:xfrm>
                        <a:off x="1588" y="1588"/>
                        <a:ext cx="1588" cy="1588"/>
                      </a:xfrm>
                      <a:prstGeom prst="rect">
                        <a:avLst/>
                      </a:prstGeom>
                    </p:spPr>
                  </p:pic>
                </p:oleObj>
              </mc:Fallback>
            </mc:AlternateContent>
          </a:graphicData>
        </a:graphic>
      </p:graphicFrame>
      <p:sp>
        <p:nvSpPr>
          <p:cNvPr id="34" name="Text Placeholder 15">
            <a:extLst>
              <a:ext uri="{FF2B5EF4-FFF2-40B4-BE49-F238E27FC236}">
                <a16:creationId xmlns:a16="http://schemas.microsoft.com/office/drawing/2014/main" id="{EB30DE7F-4B4F-23C5-348D-24D5C4E2D451}"/>
              </a:ext>
            </a:extLst>
          </p:cNvPr>
          <p:cNvSpPr>
            <a:spLocks noGrp="1"/>
          </p:cNvSpPr>
          <p:nvPr>
            <p:ph type="body" sz="quarter" idx="26"/>
          </p:nvPr>
        </p:nvSpPr>
        <p:spPr>
          <a:xfrm>
            <a:off x="454025" y="868836"/>
            <a:ext cx="11271250" cy="261466"/>
          </a:xfrm>
        </p:spPr>
        <p:txBody>
          <a:bodyPr/>
          <a:lstStyle/>
          <a:p>
            <a:r>
              <a:rPr lang="en-US" sz="1400" dirty="0">
                <a:latin typeface="+mn-lt"/>
              </a:rPr>
              <a:t>Lorem ipsum dolor sit </a:t>
            </a:r>
            <a:r>
              <a:rPr lang="en-US" sz="1400" dirty="0" err="1">
                <a:latin typeface="+mn-lt"/>
              </a:rPr>
              <a:t>amet</a:t>
            </a:r>
            <a:r>
              <a:rPr lang="en-US" sz="1400" dirty="0">
                <a:latin typeface="+mn-lt"/>
              </a:rPr>
              <a:t>, </a:t>
            </a:r>
            <a:r>
              <a:rPr lang="en-US" sz="1400" dirty="0" err="1">
                <a:latin typeface="+mn-lt"/>
              </a:rPr>
              <a:t>consectetur</a:t>
            </a:r>
            <a:r>
              <a:rPr lang="en-US" sz="1400" dirty="0">
                <a:latin typeface="+mn-lt"/>
              </a:rPr>
              <a:t> </a:t>
            </a:r>
            <a:r>
              <a:rPr lang="en-US" sz="1400" dirty="0" err="1">
                <a:latin typeface="+mn-lt"/>
              </a:rPr>
              <a:t>adipiscing</a:t>
            </a:r>
            <a:r>
              <a:rPr lang="en-US" sz="1400" dirty="0">
                <a:latin typeface="+mn-lt"/>
              </a:rPr>
              <a:t> </a:t>
            </a:r>
            <a:r>
              <a:rPr lang="en-US" sz="1400" dirty="0" err="1">
                <a:latin typeface="+mn-lt"/>
              </a:rPr>
              <a:t>elit</a:t>
            </a:r>
            <a:r>
              <a:rPr lang="en-US" sz="1400" dirty="0">
                <a:latin typeface="+mn-lt"/>
              </a:rPr>
              <a:t>, sed do </a:t>
            </a:r>
            <a:r>
              <a:rPr lang="en-US" sz="1400" dirty="0" err="1">
                <a:latin typeface="+mn-lt"/>
              </a:rPr>
              <a:t>eiusmod</a:t>
            </a:r>
            <a:r>
              <a:rPr lang="en-US" sz="1400" dirty="0">
                <a:latin typeface="+mn-lt"/>
              </a:rPr>
              <a:t> </a:t>
            </a:r>
            <a:r>
              <a:rPr lang="en-US" sz="1400" dirty="0" err="1">
                <a:latin typeface="+mn-lt"/>
              </a:rPr>
              <a:t>tempor</a:t>
            </a:r>
            <a:r>
              <a:rPr lang="en-US" sz="1400" dirty="0">
                <a:latin typeface="+mn-lt"/>
              </a:rPr>
              <a:t> </a:t>
            </a:r>
            <a:r>
              <a:rPr lang="en-US" sz="1400" dirty="0" err="1">
                <a:latin typeface="+mn-lt"/>
              </a:rPr>
              <a:t>incididunt</a:t>
            </a:r>
            <a:r>
              <a:rPr lang="en-US" sz="1400" dirty="0">
                <a:latin typeface="+mn-lt"/>
              </a:rPr>
              <a:t> </a:t>
            </a:r>
            <a:r>
              <a:rPr lang="en-US" sz="1400" dirty="0" err="1">
                <a:latin typeface="+mn-lt"/>
              </a:rPr>
              <a:t>ut</a:t>
            </a:r>
            <a:r>
              <a:rPr lang="en-US" sz="1400" dirty="0">
                <a:latin typeface="+mn-lt"/>
              </a:rPr>
              <a:t> labore et dolore magna </a:t>
            </a:r>
            <a:r>
              <a:rPr lang="en-US" sz="1400" dirty="0" err="1">
                <a:latin typeface="+mn-lt"/>
              </a:rPr>
              <a:t>aliqua</a:t>
            </a:r>
            <a:r>
              <a:rPr lang="en-US" sz="1400" dirty="0">
                <a:latin typeface="+mn-lt"/>
              </a:rPr>
              <a:t>. Ut </a:t>
            </a:r>
            <a:r>
              <a:rPr lang="en-US" sz="1400" dirty="0" err="1">
                <a:latin typeface="+mn-lt"/>
              </a:rPr>
              <a:t>enim</a:t>
            </a:r>
            <a:r>
              <a:rPr lang="en-US" sz="1400" dirty="0">
                <a:latin typeface="+mn-lt"/>
              </a:rPr>
              <a:t> ad minim </a:t>
            </a:r>
            <a:r>
              <a:rPr lang="en-US" sz="1400" dirty="0" err="1">
                <a:latin typeface="+mn-lt"/>
              </a:rPr>
              <a:t>veniam</a:t>
            </a:r>
            <a:r>
              <a:rPr lang="en-US" sz="1400" dirty="0">
                <a:latin typeface="+mn-lt"/>
              </a:rPr>
              <a:t>, </a:t>
            </a:r>
            <a:r>
              <a:rPr lang="en-US" sz="1400" dirty="0" err="1">
                <a:latin typeface="+mn-lt"/>
              </a:rPr>
              <a:t>quis</a:t>
            </a:r>
            <a:r>
              <a:rPr lang="en-US" sz="1400" dirty="0">
                <a:latin typeface="+mn-lt"/>
              </a:rPr>
              <a:t> </a:t>
            </a:r>
            <a:r>
              <a:rPr lang="en-US" sz="1400" dirty="0" err="1">
                <a:latin typeface="+mn-lt"/>
              </a:rPr>
              <a:t>nostrud</a:t>
            </a:r>
            <a:r>
              <a:rPr lang="en-US" sz="1400" dirty="0">
                <a:latin typeface="+mn-lt"/>
              </a:rPr>
              <a:t> exercitation </a:t>
            </a:r>
            <a:r>
              <a:rPr lang="en-US" sz="1400" dirty="0" err="1">
                <a:latin typeface="+mn-lt"/>
              </a:rPr>
              <a:t>ullamco</a:t>
            </a:r>
            <a:r>
              <a:rPr lang="en-US" sz="1400" dirty="0">
                <a:latin typeface="+mn-lt"/>
              </a:rPr>
              <a:t> </a:t>
            </a:r>
            <a:r>
              <a:rPr lang="en-US" sz="1400" dirty="0" err="1">
                <a:latin typeface="+mn-lt"/>
              </a:rPr>
              <a:t>laboris</a:t>
            </a:r>
            <a:r>
              <a:rPr lang="en-US" sz="1400" dirty="0">
                <a:latin typeface="+mn-lt"/>
              </a:rPr>
              <a:t> nisi </a:t>
            </a:r>
            <a:r>
              <a:rPr lang="en-US" sz="1400" dirty="0" err="1">
                <a:latin typeface="+mn-lt"/>
              </a:rPr>
              <a:t>ut</a:t>
            </a:r>
            <a:r>
              <a:rPr lang="en-US" sz="1400" dirty="0">
                <a:latin typeface="+mn-lt"/>
              </a:rPr>
              <a:t> </a:t>
            </a:r>
            <a:r>
              <a:rPr lang="en-US" sz="1400" dirty="0" err="1">
                <a:latin typeface="+mn-lt"/>
              </a:rPr>
              <a:t>aliquip</a:t>
            </a:r>
            <a:r>
              <a:rPr lang="en-US" sz="1400" dirty="0">
                <a:latin typeface="+mn-lt"/>
              </a:rPr>
              <a:t> ex </a:t>
            </a:r>
            <a:r>
              <a:rPr lang="en-US" sz="1400" dirty="0" err="1">
                <a:latin typeface="+mn-lt"/>
              </a:rPr>
              <a:t>ea</a:t>
            </a:r>
            <a:r>
              <a:rPr lang="en-US" sz="1400" dirty="0">
                <a:latin typeface="+mn-lt"/>
              </a:rPr>
              <a:t> </a:t>
            </a:r>
            <a:r>
              <a:rPr lang="en-US" sz="1400" dirty="0" err="1">
                <a:latin typeface="+mn-lt"/>
              </a:rPr>
              <a:t>commodo</a:t>
            </a:r>
            <a:r>
              <a:rPr lang="en-US" sz="1400" dirty="0">
                <a:latin typeface="+mn-lt"/>
              </a:rPr>
              <a:t> </a:t>
            </a:r>
            <a:r>
              <a:rPr lang="en-US" sz="1400" dirty="0" err="1">
                <a:latin typeface="+mn-lt"/>
              </a:rPr>
              <a:t>consequat</a:t>
            </a:r>
            <a:r>
              <a:rPr lang="en-US" sz="1400" dirty="0">
                <a:latin typeface="+mn-lt"/>
              </a:rPr>
              <a:t>.</a:t>
            </a:r>
          </a:p>
        </p:txBody>
      </p:sp>
      <p:sp>
        <p:nvSpPr>
          <p:cNvPr id="3" name="Title 2">
            <a:extLst>
              <a:ext uri="{FF2B5EF4-FFF2-40B4-BE49-F238E27FC236}">
                <a16:creationId xmlns:a16="http://schemas.microsoft.com/office/drawing/2014/main" id="{552BC261-C02D-46AB-91BF-A8AB02AC8AAC}"/>
              </a:ext>
            </a:extLst>
          </p:cNvPr>
          <p:cNvSpPr>
            <a:spLocks noGrp="1"/>
          </p:cNvSpPr>
          <p:nvPr>
            <p:ph type="title"/>
          </p:nvPr>
        </p:nvSpPr>
        <p:spPr>
          <a:xfrm>
            <a:off x="388936" y="475136"/>
            <a:ext cx="11271251" cy="365760"/>
          </a:xfrm>
        </p:spPr>
        <p:txBody>
          <a:bodyPr vert="horz"/>
          <a:lstStyle/>
          <a:p>
            <a:r>
              <a:rPr lang="en-US" dirty="0"/>
              <a:t>SB Engaged Traffic xx% MoM; Eng. Visit Rate xx% MoM</a:t>
            </a:r>
          </a:p>
        </p:txBody>
      </p:sp>
      <p:graphicFrame>
        <p:nvGraphicFramePr>
          <p:cNvPr id="4861" name="Chart 4860">
            <a:extLst>
              <a:ext uri="{FF2B5EF4-FFF2-40B4-BE49-F238E27FC236}">
                <a16:creationId xmlns:a16="http://schemas.microsoft.com/office/drawing/2014/main" id="{53885A38-9C24-9202-E046-E20315DCAD4B}"/>
              </a:ext>
            </a:extLst>
          </p:cNvPr>
          <p:cNvGraphicFramePr/>
          <p:nvPr>
            <p:custDataLst>
              <p:tags r:id="rId2"/>
            </p:custDataLst>
            <p:extLst>
              <p:ext uri="{D42A27DB-BD31-4B8C-83A1-F6EECF244321}">
                <p14:modId xmlns:p14="http://schemas.microsoft.com/office/powerpoint/2010/main" val="3559248394"/>
              </p:ext>
            </p:extLst>
          </p:nvPr>
        </p:nvGraphicFramePr>
        <p:xfrm>
          <a:off x="1363663" y="1327150"/>
          <a:ext cx="8101012" cy="4451350"/>
        </p:xfrm>
        <a:graphic>
          <a:graphicData uri="http://schemas.openxmlformats.org/drawingml/2006/chart">
            <c:chart xmlns:c="http://schemas.openxmlformats.org/drawingml/2006/chart" xmlns:r="http://schemas.openxmlformats.org/officeDocument/2006/relationships" r:id="rId66"/>
          </a:graphicData>
        </a:graphic>
      </p:graphicFrame>
      <p:cxnSp>
        <p:nvCxnSpPr>
          <p:cNvPr id="3777" name="Straight Connector 3776">
            <a:extLst>
              <a:ext uri="{FF2B5EF4-FFF2-40B4-BE49-F238E27FC236}">
                <a16:creationId xmlns:a16="http://schemas.microsoft.com/office/drawing/2014/main" id="{23236CAD-E845-1107-3C2E-D46F4E46DBD7}"/>
              </a:ext>
            </a:extLst>
          </p:cNvPr>
          <p:cNvCxnSpPr>
            <a:cxnSpLocks/>
          </p:cNvCxnSpPr>
          <p:nvPr>
            <p:custDataLst>
              <p:tags r:id="rId3"/>
            </p:custDataLst>
          </p:nvPr>
        </p:nvCxnSpPr>
        <p:spPr bwMode="auto">
          <a:xfrm>
            <a:off x="4803775" y="2062163"/>
            <a:ext cx="0" cy="2381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5" name="Text Placeholder 2">
            <a:extLst>
              <a:ext uri="{FF2B5EF4-FFF2-40B4-BE49-F238E27FC236}">
                <a16:creationId xmlns:a16="http://schemas.microsoft.com/office/drawing/2014/main" id="{ABF42534-D62A-4538-BB0B-96AB4C5E19FF}"/>
              </a:ext>
            </a:extLst>
          </p:cNvPr>
          <p:cNvSpPr>
            <a:spLocks noGrp="1" noChangeArrowheads="1"/>
          </p:cNvSpPr>
          <p:nvPr>
            <p:custDataLst>
              <p:tags r:id="rId4"/>
            </p:custDataLst>
          </p:nvPr>
        </p:nvSpPr>
        <p:spPr bwMode="auto">
          <a:xfrm>
            <a:off x="2873375" y="5595938"/>
            <a:ext cx="196850"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3F5AA174-B546-49F0-BEAF-EBE3B266F84E}" type="datetime'''''''''J''''''''''''''''''''''''''''''u''''''''''l'''''">
              <a:rPr lang="en-US" altLang="en-US" sz="1000" smtClean="0"/>
              <a:pPr marL="0" lvl="0" indent="0" algn="ctr">
                <a:spcBef>
                  <a:spcPct val="0"/>
                </a:spcBef>
                <a:buNone/>
              </a:pPr>
              <a:t>Jul</a:t>
            </a:fld>
            <a:endParaRPr lang="en-US" altLang="en-US" sz="1000"/>
          </a:p>
        </p:txBody>
      </p:sp>
      <p:sp>
        <p:nvSpPr>
          <p:cNvPr id="157" name="Text Placeholder 2">
            <a:extLst>
              <a:ext uri="{FF2B5EF4-FFF2-40B4-BE49-F238E27FC236}">
                <a16:creationId xmlns:a16="http://schemas.microsoft.com/office/drawing/2014/main" id="{558C8C79-C21C-3B57-AB51-B7B4CEA9233A}"/>
              </a:ext>
            </a:extLst>
          </p:cNvPr>
          <p:cNvSpPr>
            <a:spLocks noGrp="1" noChangeArrowheads="1"/>
          </p:cNvSpPr>
          <p:nvPr>
            <p:custDataLst>
              <p:tags r:id="rId5"/>
            </p:custDataLst>
          </p:nvPr>
        </p:nvSpPr>
        <p:spPr bwMode="auto">
          <a:xfrm>
            <a:off x="3444875" y="5595938"/>
            <a:ext cx="276225"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37D8B2FD-56BF-4D02-A183-802F3C5EC15F}" type="datetime'''''''''''''A''''''''''''''''''''''u''''''''''''''''''''''g'''">
              <a:rPr lang="en-US" altLang="en-US" sz="1000" smtClean="0"/>
              <a:pPr marL="0" lvl="0" indent="0" algn="ctr">
                <a:spcBef>
                  <a:spcPct val="0"/>
                </a:spcBef>
                <a:buNone/>
              </a:pPr>
              <a:t>Aug</a:t>
            </a:fld>
            <a:endParaRPr lang="en-US" altLang="en-US" sz="1000"/>
          </a:p>
        </p:txBody>
      </p:sp>
      <p:sp>
        <p:nvSpPr>
          <p:cNvPr id="13" name="Text Placeholder 2">
            <a:extLst>
              <a:ext uri="{FF2B5EF4-FFF2-40B4-BE49-F238E27FC236}">
                <a16:creationId xmlns:a16="http://schemas.microsoft.com/office/drawing/2014/main" id="{FDDE2178-A972-9BF8-E6C6-AC3F0699408E}"/>
              </a:ext>
            </a:extLst>
          </p:cNvPr>
          <p:cNvSpPr>
            <a:spLocks noGrp="1" noChangeArrowheads="1"/>
          </p:cNvSpPr>
          <p:nvPr>
            <p:custDataLst>
              <p:tags r:id="rId6"/>
            </p:custDataLst>
          </p:nvPr>
        </p:nvSpPr>
        <p:spPr bwMode="auto">
          <a:xfrm>
            <a:off x="4067175" y="5595938"/>
            <a:ext cx="252413"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5E706CA0-49C8-4C62-B7B8-BD153A1A756A}" type="datetime'''''''''''''S''''''''''ep'''''''''''''''''''''''''''''">
              <a:rPr lang="en-US" altLang="en-US" sz="1000" smtClean="0"/>
              <a:pPr marL="0" lvl="0" indent="0" algn="ctr">
                <a:spcBef>
                  <a:spcPct val="0"/>
                </a:spcBef>
                <a:buNone/>
              </a:pPr>
              <a:t>Sep</a:t>
            </a:fld>
            <a:endParaRPr lang="en-US" altLang="en-US" sz="1000"/>
          </a:p>
        </p:txBody>
      </p:sp>
      <p:sp>
        <p:nvSpPr>
          <p:cNvPr id="93" name="Text Placeholder 2">
            <a:extLst>
              <a:ext uri="{FF2B5EF4-FFF2-40B4-BE49-F238E27FC236}">
                <a16:creationId xmlns:a16="http://schemas.microsoft.com/office/drawing/2014/main" id="{AD23648E-4B26-4C01-A249-371F73ADE948}"/>
              </a:ext>
            </a:extLst>
          </p:cNvPr>
          <p:cNvSpPr>
            <a:spLocks noGrp="1" noChangeArrowheads="1"/>
          </p:cNvSpPr>
          <p:nvPr>
            <p:custDataLst>
              <p:tags r:id="rId7"/>
            </p:custDataLst>
          </p:nvPr>
        </p:nvSpPr>
        <p:spPr bwMode="auto">
          <a:xfrm>
            <a:off x="1612900" y="5595938"/>
            <a:ext cx="276225"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943DD42C-E1A5-4DEB-A019-48B805F66831}" type="datetime'''''''''M''''''''''a''''y'''''''''''''''''">
              <a:rPr lang="en-US" altLang="en-US" sz="1000" smtClean="0"/>
              <a:pPr marL="0" lvl="0" indent="0" algn="ctr">
                <a:spcBef>
                  <a:spcPct val="0"/>
                </a:spcBef>
                <a:buNone/>
              </a:pPr>
              <a:t>May</a:t>
            </a:fld>
            <a:endParaRPr lang="en-US" altLang="en-US" sz="1000"/>
          </a:p>
        </p:txBody>
      </p:sp>
      <p:sp>
        <p:nvSpPr>
          <p:cNvPr id="2" name="Text Placeholder 2">
            <a:extLst>
              <a:ext uri="{FF2B5EF4-FFF2-40B4-BE49-F238E27FC236}">
                <a16:creationId xmlns:a16="http://schemas.microsoft.com/office/drawing/2014/main" id="{6540A56E-EE2D-F3BF-EBB7-CF0ABA49A398}"/>
              </a:ext>
            </a:extLst>
          </p:cNvPr>
          <p:cNvSpPr>
            <a:spLocks noGrp="1" noChangeArrowheads="1"/>
          </p:cNvSpPr>
          <p:nvPr>
            <p:custDataLst>
              <p:tags r:id="rId8"/>
            </p:custDataLst>
          </p:nvPr>
        </p:nvSpPr>
        <p:spPr bwMode="auto">
          <a:xfrm>
            <a:off x="4683125" y="5595938"/>
            <a:ext cx="241300"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58E3A965-781F-49F9-B5E5-E99D35553962}" type="datetime'''O''''''c''''''''t'''''">
              <a:rPr lang="en-US" altLang="en-US" sz="1000" smtClean="0"/>
              <a:pPr marL="0" lvl="0" indent="0" algn="ctr">
                <a:spcBef>
                  <a:spcPct val="0"/>
                </a:spcBef>
                <a:buNone/>
              </a:pPr>
              <a:t>Oct</a:t>
            </a:fld>
            <a:endParaRPr lang="en-US" altLang="en-US" sz="1000"/>
          </a:p>
        </p:txBody>
      </p:sp>
      <p:sp>
        <p:nvSpPr>
          <p:cNvPr id="173" name="Rectangle 172">
            <a:extLst>
              <a:ext uri="{FF2B5EF4-FFF2-40B4-BE49-F238E27FC236}">
                <a16:creationId xmlns:a16="http://schemas.microsoft.com/office/drawing/2014/main" id="{4060E8E7-7D0A-B01E-00E4-A7A16B561FCE}"/>
              </a:ext>
            </a:extLst>
          </p:cNvPr>
          <p:cNvSpPr/>
          <p:nvPr>
            <p:custDataLst>
              <p:tags r:id="rId9"/>
            </p:custDataLst>
          </p:nvPr>
        </p:nvSpPr>
        <p:spPr bwMode="gray">
          <a:xfrm>
            <a:off x="5226050" y="4781550"/>
            <a:ext cx="376238" cy="136525"/>
          </a:xfrm>
          <a:prstGeom prst="rect">
            <a:avLst/>
          </a:prstGeom>
          <a:solidFill>
            <a:schemeClr val="accent4"/>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ctr"/>
          <a:lstStyle/>
          <a:p>
            <a:pPr algn="ctr">
              <a:lnSpc>
                <a:spcPct val="90000"/>
              </a:lnSpc>
              <a:spcBef>
                <a:spcPct val="0"/>
              </a:spcBef>
              <a:spcAft>
                <a:spcPct val="0"/>
              </a:spcAft>
            </a:pPr>
            <a:fld id="{12BA2E90-3D42-44B6-8207-45FC985985D8}" type="datetime'''''3'',''''''7''''''''00'''''''''''''''''''''''''''''">
              <a:rPr lang="en-US" altLang="en-US" sz="1000" smtClean="0">
                <a:solidFill>
                  <a:schemeClr val="tx1"/>
                </a:solidFill>
                <a:effectLst/>
              </a:rPr>
              <a:pPr algn="ctr">
                <a:lnSpc>
                  <a:spcPct val="90000"/>
                </a:lnSpc>
                <a:spcBef>
                  <a:spcPct val="0"/>
                </a:spcBef>
                <a:spcAft>
                  <a:spcPct val="0"/>
                </a:spcAft>
              </a:pPr>
              <a:t>3,700</a:t>
            </a:fld>
            <a:endParaRPr lang="en-US" sz="1000">
              <a:solidFill>
                <a:schemeClr val="tx1"/>
              </a:solidFill>
            </a:endParaRPr>
          </a:p>
        </p:txBody>
      </p:sp>
      <p:sp>
        <p:nvSpPr>
          <p:cNvPr id="5" name="Text Placeholder 2">
            <a:extLst>
              <a:ext uri="{FF2B5EF4-FFF2-40B4-BE49-F238E27FC236}">
                <a16:creationId xmlns:a16="http://schemas.microsoft.com/office/drawing/2014/main" id="{518A6B09-538F-5A58-5318-B1C4B79BA99F}"/>
              </a:ext>
            </a:extLst>
          </p:cNvPr>
          <p:cNvSpPr>
            <a:spLocks noGrp="1" noChangeArrowheads="1"/>
          </p:cNvSpPr>
          <p:nvPr>
            <p:custDataLst>
              <p:tags r:id="rId10"/>
            </p:custDataLst>
          </p:nvPr>
        </p:nvSpPr>
        <p:spPr bwMode="auto">
          <a:xfrm>
            <a:off x="5281613" y="5595938"/>
            <a:ext cx="263525"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AF5AFB26-62B8-4166-B5E5-7934ACFE6766}" type="datetime'N''''''''''''''''''''''''''''''o''''''''''''''v'">
              <a:rPr lang="en-US" altLang="en-US" sz="1000" smtClean="0"/>
              <a:pPr marL="0" lvl="0" indent="0" algn="ctr">
                <a:spcBef>
                  <a:spcPct val="0"/>
                </a:spcBef>
                <a:buNone/>
              </a:pPr>
              <a:t>Nov</a:t>
            </a:fld>
            <a:endParaRPr lang="en-US" altLang="en-US" sz="1000"/>
          </a:p>
        </p:txBody>
      </p:sp>
      <p:sp>
        <p:nvSpPr>
          <p:cNvPr id="12" name="Text Placeholder 2">
            <a:extLst>
              <a:ext uri="{FF2B5EF4-FFF2-40B4-BE49-F238E27FC236}">
                <a16:creationId xmlns:a16="http://schemas.microsoft.com/office/drawing/2014/main" id="{05294495-F750-B9D1-042E-F002ADA90326}"/>
              </a:ext>
            </a:extLst>
          </p:cNvPr>
          <p:cNvSpPr>
            <a:spLocks noGrp="1" noChangeArrowheads="1"/>
          </p:cNvSpPr>
          <p:nvPr>
            <p:custDataLst>
              <p:tags r:id="rId11"/>
            </p:custDataLst>
          </p:nvPr>
        </p:nvSpPr>
        <p:spPr bwMode="auto">
          <a:xfrm>
            <a:off x="5892800" y="5595938"/>
            <a:ext cx="265113"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688AB810-B057-49CD-BCF3-CBFC26B0C737}" type="datetime'''''''''''''''''''''''''''''D''''''e''''''''''c'''''">
              <a:rPr lang="en-US" altLang="en-US" sz="1000" smtClean="0"/>
              <a:pPr marL="0" lvl="0" indent="0" algn="ctr">
                <a:spcBef>
                  <a:spcPct val="0"/>
                </a:spcBef>
                <a:buNone/>
              </a:pPr>
              <a:t>Dec</a:t>
            </a:fld>
            <a:endParaRPr lang="en-US" altLang="en-US" sz="1000"/>
          </a:p>
        </p:txBody>
      </p:sp>
      <p:sp>
        <p:nvSpPr>
          <p:cNvPr id="43" name="Text Placeholder 2">
            <a:extLst>
              <a:ext uri="{FF2B5EF4-FFF2-40B4-BE49-F238E27FC236}">
                <a16:creationId xmlns:a16="http://schemas.microsoft.com/office/drawing/2014/main" id="{7C245A03-C66F-EC7C-DF5F-C2130BE62C33}"/>
              </a:ext>
            </a:extLst>
          </p:cNvPr>
          <p:cNvSpPr>
            <a:spLocks noGrp="1" noChangeArrowheads="1"/>
          </p:cNvSpPr>
          <p:nvPr>
            <p:custDataLst>
              <p:tags r:id="rId12"/>
            </p:custDataLst>
          </p:nvPr>
        </p:nvSpPr>
        <p:spPr bwMode="auto">
          <a:xfrm>
            <a:off x="6424613" y="5595938"/>
            <a:ext cx="419100"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364C4A51-A655-45C1-AA75-02B684A75404}" type="datetime'''''''''''''J''''''''''''a''''''n''’24'''''''''''''''">
              <a:rPr lang="en-US" altLang="en-US" sz="1000" smtClean="0"/>
              <a:pPr marL="0" lvl="0" indent="0" algn="ctr">
                <a:spcBef>
                  <a:spcPct val="0"/>
                </a:spcBef>
                <a:buNone/>
              </a:pPr>
              <a:t>Jan’24</a:t>
            </a:fld>
            <a:endParaRPr lang="en-US" altLang="en-US" sz="1000"/>
          </a:p>
        </p:txBody>
      </p:sp>
      <p:sp>
        <p:nvSpPr>
          <p:cNvPr id="9" name="Text Placeholder 2">
            <a:extLst>
              <a:ext uri="{FF2B5EF4-FFF2-40B4-BE49-F238E27FC236}">
                <a16:creationId xmlns:a16="http://schemas.microsoft.com/office/drawing/2014/main" id="{F496B0F8-06A6-E50F-A5F0-BDBD85785A7C}"/>
              </a:ext>
            </a:extLst>
          </p:cNvPr>
          <p:cNvSpPr>
            <a:spLocks noGrp="1" noChangeArrowheads="1"/>
          </p:cNvSpPr>
          <p:nvPr>
            <p:custDataLst>
              <p:tags r:id="rId13"/>
            </p:custDataLst>
          </p:nvPr>
        </p:nvSpPr>
        <p:spPr bwMode="auto">
          <a:xfrm>
            <a:off x="7118350" y="5595938"/>
            <a:ext cx="255588"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43545A8B-E5BE-47F8-8CF1-73E7E19C505A}" type="datetime'''''''''''''''''''F''''''''''e''''''b'''''''''''''">
              <a:rPr lang="en-US" altLang="en-US" sz="1000" smtClean="0"/>
              <a:pPr/>
              <a:t>Feb</a:t>
            </a:fld>
            <a:endParaRPr lang="en-US" altLang="en-US" sz="1000"/>
          </a:p>
        </p:txBody>
      </p:sp>
      <p:sp>
        <p:nvSpPr>
          <p:cNvPr id="15" name="Text Placeholder 2">
            <a:extLst>
              <a:ext uri="{FF2B5EF4-FFF2-40B4-BE49-F238E27FC236}">
                <a16:creationId xmlns:a16="http://schemas.microsoft.com/office/drawing/2014/main" id="{7C6ADF59-4DA7-CA16-1386-88BC9F077905}"/>
              </a:ext>
            </a:extLst>
          </p:cNvPr>
          <p:cNvSpPr>
            <a:spLocks noGrp="1" noChangeArrowheads="1"/>
          </p:cNvSpPr>
          <p:nvPr>
            <p:custDataLst>
              <p:tags r:id="rId14"/>
            </p:custDataLst>
          </p:nvPr>
        </p:nvSpPr>
        <p:spPr bwMode="auto">
          <a:xfrm>
            <a:off x="7726363" y="5595938"/>
            <a:ext cx="258763"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000DDE2D-0B6A-469D-9A6A-03A6610B7D26}" type="datetime'''''''''''''Ma''''''''''''''r'''''''''''''''''''''''''''''">
              <a:rPr lang="en-US" altLang="en-US" sz="1000" smtClean="0"/>
              <a:pPr/>
              <a:t>Mar</a:t>
            </a:fld>
            <a:endParaRPr lang="en-US" altLang="en-US" sz="1000"/>
          </a:p>
        </p:txBody>
      </p:sp>
      <p:sp>
        <p:nvSpPr>
          <p:cNvPr id="8" name="Text Placeholder 2">
            <a:extLst>
              <a:ext uri="{FF2B5EF4-FFF2-40B4-BE49-F238E27FC236}">
                <a16:creationId xmlns:a16="http://schemas.microsoft.com/office/drawing/2014/main" id="{48E04CB1-2114-597D-A939-8FF3981A71BA}"/>
              </a:ext>
            </a:extLst>
          </p:cNvPr>
          <p:cNvSpPr>
            <a:spLocks noGrp="1" noChangeArrowheads="1"/>
          </p:cNvSpPr>
          <p:nvPr>
            <p:custDataLst>
              <p:tags r:id="rId15"/>
            </p:custDataLst>
          </p:nvPr>
        </p:nvSpPr>
        <p:spPr bwMode="auto">
          <a:xfrm>
            <a:off x="8347075" y="5595938"/>
            <a:ext cx="239713"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BD50A2FC-7195-4901-9C8B-C3B90C7C6818}" type="datetime'''''''''''''''''''''''''''''''''''''''''A''''''p''''''''r'''">
              <a:rPr lang="en-US" altLang="en-US" sz="1000" smtClean="0"/>
              <a:pPr/>
              <a:t>Apr</a:t>
            </a:fld>
            <a:endParaRPr lang="en-US" altLang="en-US" sz="1000"/>
          </a:p>
        </p:txBody>
      </p:sp>
      <p:sp>
        <p:nvSpPr>
          <p:cNvPr id="58" name="Text Placeholder 2">
            <a:extLst>
              <a:ext uri="{FF2B5EF4-FFF2-40B4-BE49-F238E27FC236}">
                <a16:creationId xmlns:a16="http://schemas.microsoft.com/office/drawing/2014/main" id="{E748C337-A1D4-0542-E510-FC1938726B4B}"/>
              </a:ext>
            </a:extLst>
          </p:cNvPr>
          <p:cNvSpPr>
            <a:spLocks noGrp="1" noChangeArrowheads="1"/>
          </p:cNvSpPr>
          <p:nvPr>
            <p:custDataLst>
              <p:tags r:id="rId16"/>
            </p:custDataLst>
          </p:nvPr>
        </p:nvSpPr>
        <p:spPr bwMode="auto">
          <a:xfrm>
            <a:off x="8937625" y="5595938"/>
            <a:ext cx="276225"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F86A7A94-92EE-4187-BDF5-204D7CF8E9E7}" type="datetime'''''''''''''''''''''''M''''a''''''''y'''''''''''''''''''''''''">
              <a:rPr lang="en-US" altLang="en-US" sz="1000" smtClean="0"/>
              <a:pPr/>
              <a:t>May</a:t>
            </a:fld>
            <a:endParaRPr lang="en-US" altLang="en-US" sz="1000"/>
          </a:p>
        </p:txBody>
      </p:sp>
      <p:sp>
        <p:nvSpPr>
          <p:cNvPr id="3981" name="Rectangle 3980">
            <a:extLst>
              <a:ext uri="{FF2B5EF4-FFF2-40B4-BE49-F238E27FC236}">
                <a16:creationId xmlns:a16="http://schemas.microsoft.com/office/drawing/2014/main" id="{03FBDC89-EDE1-AE3F-4B2B-242BC7669015}"/>
              </a:ext>
            </a:extLst>
          </p:cNvPr>
          <p:cNvSpPr/>
          <p:nvPr>
            <p:custDataLst>
              <p:tags r:id="rId17"/>
            </p:custDataLst>
          </p:nvPr>
        </p:nvSpPr>
        <p:spPr bwMode="gray">
          <a:xfrm>
            <a:off x="1535113" y="3406775"/>
            <a:ext cx="43180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518B5970-FC59-430F-ABD0-9B1A8655722D}" type="datetime'25,''''''''''''''''''8''''''5''''''''''''''7'">
              <a:rPr lang="en-US" altLang="en-US" sz="1000" smtClean="0">
                <a:solidFill>
                  <a:schemeClr val="tx1"/>
                </a:solidFill>
              </a:rPr>
              <a:pPr/>
              <a:t>25,857</a:t>
            </a:fld>
            <a:endParaRPr lang="en-US" sz="1000">
              <a:solidFill>
                <a:schemeClr val="tx1"/>
              </a:solidFill>
            </a:endParaRPr>
          </a:p>
        </p:txBody>
      </p:sp>
      <p:sp>
        <p:nvSpPr>
          <p:cNvPr id="3982" name="Rectangle 3981">
            <a:extLst>
              <a:ext uri="{FF2B5EF4-FFF2-40B4-BE49-F238E27FC236}">
                <a16:creationId xmlns:a16="http://schemas.microsoft.com/office/drawing/2014/main" id="{A2ECBB9A-92AA-E0D3-E9F0-743486C70592}"/>
              </a:ext>
            </a:extLst>
          </p:cNvPr>
          <p:cNvSpPr/>
          <p:nvPr>
            <p:custDataLst>
              <p:tags r:id="rId18"/>
            </p:custDataLst>
          </p:nvPr>
        </p:nvSpPr>
        <p:spPr bwMode="gray">
          <a:xfrm>
            <a:off x="2138363" y="3313113"/>
            <a:ext cx="447675"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F6E3052F-B88E-43B3-A23F-5F9F6EF32BC6}" type="datetime'''''''''''2''''7'''''''',0''6''''''''''''''''6'''''''''''">
              <a:rPr lang="en-US" altLang="en-US" sz="1000" smtClean="0">
                <a:solidFill>
                  <a:schemeClr val="tx1"/>
                </a:solidFill>
              </a:rPr>
              <a:pPr/>
              <a:t>27,066</a:t>
            </a:fld>
            <a:endParaRPr lang="en-US" sz="1000">
              <a:solidFill>
                <a:schemeClr val="tx1"/>
              </a:solidFill>
            </a:endParaRPr>
          </a:p>
        </p:txBody>
      </p:sp>
      <p:sp>
        <p:nvSpPr>
          <p:cNvPr id="3983" name="Rectangle 3982">
            <a:extLst>
              <a:ext uri="{FF2B5EF4-FFF2-40B4-BE49-F238E27FC236}">
                <a16:creationId xmlns:a16="http://schemas.microsoft.com/office/drawing/2014/main" id="{4499DC53-4013-1C8C-0074-30381CDBB94B}"/>
              </a:ext>
            </a:extLst>
          </p:cNvPr>
          <p:cNvSpPr/>
          <p:nvPr>
            <p:custDataLst>
              <p:tags r:id="rId19"/>
            </p:custDataLst>
          </p:nvPr>
        </p:nvSpPr>
        <p:spPr bwMode="gray">
          <a:xfrm>
            <a:off x="2770188" y="3375025"/>
            <a:ext cx="403225"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6FFED86B-E166-45E2-A07B-CE0B8C6EF16D}" type="datetime'''''''''''''''2''''''''''''''6'''''''''''''''',''''''''271'">
              <a:rPr lang="en-US" altLang="en-US" sz="1000" smtClean="0">
                <a:solidFill>
                  <a:schemeClr val="tx1"/>
                </a:solidFill>
              </a:rPr>
              <a:pPr/>
              <a:t>26,271</a:t>
            </a:fld>
            <a:endParaRPr lang="en-US" sz="1000">
              <a:solidFill>
                <a:schemeClr val="tx1"/>
              </a:solidFill>
            </a:endParaRPr>
          </a:p>
        </p:txBody>
      </p:sp>
      <p:sp>
        <p:nvSpPr>
          <p:cNvPr id="3984" name="Rectangle 3983">
            <a:extLst>
              <a:ext uri="{FF2B5EF4-FFF2-40B4-BE49-F238E27FC236}">
                <a16:creationId xmlns:a16="http://schemas.microsoft.com/office/drawing/2014/main" id="{7BB4B2BE-41D9-025B-E2FF-9632D11CE477}"/>
              </a:ext>
            </a:extLst>
          </p:cNvPr>
          <p:cNvSpPr/>
          <p:nvPr>
            <p:custDataLst>
              <p:tags r:id="rId20"/>
            </p:custDataLst>
          </p:nvPr>
        </p:nvSpPr>
        <p:spPr bwMode="gray">
          <a:xfrm>
            <a:off x="3365500" y="3168650"/>
            <a:ext cx="434975"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E09FC73A-F8AB-4482-B1E1-51862F13CDEF}" type="datetime'''''''28'''''',''''''''''''''''''9''''''''''''''''''5''2'''''">
              <a:rPr lang="en-US" altLang="en-US" sz="1000" smtClean="0">
                <a:solidFill>
                  <a:schemeClr val="tx1"/>
                </a:solidFill>
              </a:rPr>
              <a:pPr/>
              <a:t>28,952</a:t>
            </a:fld>
            <a:endParaRPr lang="en-US" sz="1000">
              <a:solidFill>
                <a:schemeClr val="tx1"/>
              </a:solidFill>
            </a:endParaRPr>
          </a:p>
        </p:txBody>
      </p:sp>
      <p:sp>
        <p:nvSpPr>
          <p:cNvPr id="3985" name="Rectangle 3984">
            <a:extLst>
              <a:ext uri="{FF2B5EF4-FFF2-40B4-BE49-F238E27FC236}">
                <a16:creationId xmlns:a16="http://schemas.microsoft.com/office/drawing/2014/main" id="{F129C4E6-877B-293C-AF55-6C881CBDAB69}"/>
              </a:ext>
            </a:extLst>
          </p:cNvPr>
          <p:cNvSpPr/>
          <p:nvPr>
            <p:custDataLst>
              <p:tags r:id="rId21"/>
            </p:custDataLst>
          </p:nvPr>
        </p:nvSpPr>
        <p:spPr bwMode="gray">
          <a:xfrm>
            <a:off x="3971925" y="2800350"/>
            <a:ext cx="441325"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45C315C5-5886-4531-8E4C-44ABD34468E0}" type="datetime'''''33,''''7''''4''''6'''''''''''''''''''''''''''''''''''">
              <a:rPr lang="en-US" altLang="en-US" sz="1000" smtClean="0">
                <a:solidFill>
                  <a:schemeClr val="tx1"/>
                </a:solidFill>
              </a:rPr>
              <a:pPr/>
              <a:t>33,746</a:t>
            </a:fld>
            <a:endParaRPr lang="en-US" sz="1000">
              <a:solidFill>
                <a:schemeClr val="tx1"/>
              </a:solidFill>
            </a:endParaRPr>
          </a:p>
        </p:txBody>
      </p:sp>
      <p:sp>
        <p:nvSpPr>
          <p:cNvPr id="3986" name="Rectangle 3985">
            <a:extLst>
              <a:ext uri="{FF2B5EF4-FFF2-40B4-BE49-F238E27FC236}">
                <a16:creationId xmlns:a16="http://schemas.microsoft.com/office/drawing/2014/main" id="{B9AE2E79-DE85-8103-0778-1A7B29E38BB8}"/>
              </a:ext>
            </a:extLst>
          </p:cNvPr>
          <p:cNvSpPr/>
          <p:nvPr>
            <p:custDataLst>
              <p:tags r:id="rId22"/>
            </p:custDataLst>
          </p:nvPr>
        </p:nvSpPr>
        <p:spPr bwMode="gray">
          <a:xfrm>
            <a:off x="4589463" y="2501900"/>
            <a:ext cx="428625"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A79D59A6-229A-4F30-A5F2-B3261E08D2D6}" type="datetime'3''''''''''''7'''''''',''''63''''''''2'''''''">
              <a:rPr lang="en-US" altLang="en-US" sz="1000" smtClean="0">
                <a:solidFill>
                  <a:schemeClr val="tx1"/>
                </a:solidFill>
              </a:rPr>
              <a:pPr/>
              <a:t>37,632</a:t>
            </a:fld>
            <a:endParaRPr lang="en-US" sz="1000">
              <a:solidFill>
                <a:schemeClr val="tx1"/>
              </a:solidFill>
            </a:endParaRPr>
          </a:p>
        </p:txBody>
      </p:sp>
      <p:sp>
        <p:nvSpPr>
          <p:cNvPr id="3987" name="Rectangle 3986">
            <a:extLst>
              <a:ext uri="{FF2B5EF4-FFF2-40B4-BE49-F238E27FC236}">
                <a16:creationId xmlns:a16="http://schemas.microsoft.com/office/drawing/2014/main" id="{F57B4FC9-4F4F-89CE-1A1A-4B7027FAC4C2}"/>
              </a:ext>
            </a:extLst>
          </p:cNvPr>
          <p:cNvSpPr/>
          <p:nvPr>
            <p:custDataLst>
              <p:tags r:id="rId23"/>
            </p:custDataLst>
          </p:nvPr>
        </p:nvSpPr>
        <p:spPr bwMode="gray">
          <a:xfrm>
            <a:off x="5195888" y="3365500"/>
            <a:ext cx="434975"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12A08301-CF0D-44B8-BDAD-B3B800F505C1}" type="datetime'''''2''''''6'''''''',''''37''''''''''''''''9'''''''''''''">
              <a:rPr lang="en-US" altLang="en-US" sz="1000" smtClean="0">
                <a:solidFill>
                  <a:schemeClr val="tx1"/>
                </a:solidFill>
              </a:rPr>
              <a:pPr/>
              <a:t>26,379</a:t>
            </a:fld>
            <a:endParaRPr lang="en-US" sz="1000">
              <a:solidFill>
                <a:schemeClr val="tx1"/>
              </a:solidFill>
            </a:endParaRPr>
          </a:p>
        </p:txBody>
      </p:sp>
      <p:sp>
        <p:nvSpPr>
          <p:cNvPr id="3988" name="Rectangle 3987">
            <a:extLst>
              <a:ext uri="{FF2B5EF4-FFF2-40B4-BE49-F238E27FC236}">
                <a16:creationId xmlns:a16="http://schemas.microsoft.com/office/drawing/2014/main" id="{79311D7E-805F-AB6A-5F75-FB6C18758C70}"/>
              </a:ext>
            </a:extLst>
          </p:cNvPr>
          <p:cNvSpPr/>
          <p:nvPr>
            <p:custDataLst>
              <p:tags r:id="rId24"/>
            </p:custDataLst>
          </p:nvPr>
        </p:nvSpPr>
        <p:spPr bwMode="gray">
          <a:xfrm>
            <a:off x="5818188" y="2978150"/>
            <a:ext cx="41275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25BDE6C5-9812-4301-B320-FD6AF3BAE52D}" type="datetime'''''''''''''''''''''''3''''''''''1'''''''''',4''2''''6'">
              <a:rPr lang="en-US" altLang="en-US" sz="1000" smtClean="0">
                <a:solidFill>
                  <a:schemeClr val="tx1"/>
                </a:solidFill>
              </a:rPr>
              <a:pPr/>
              <a:t>31,426</a:t>
            </a:fld>
            <a:endParaRPr lang="en-US" sz="1000">
              <a:solidFill>
                <a:schemeClr val="tx1"/>
              </a:solidFill>
            </a:endParaRPr>
          </a:p>
        </p:txBody>
      </p:sp>
      <p:sp>
        <p:nvSpPr>
          <p:cNvPr id="3989" name="Rectangle 3988">
            <a:extLst>
              <a:ext uri="{FF2B5EF4-FFF2-40B4-BE49-F238E27FC236}">
                <a16:creationId xmlns:a16="http://schemas.microsoft.com/office/drawing/2014/main" id="{804D1F0C-E2EB-1910-A968-43231BDB1D57}"/>
              </a:ext>
            </a:extLst>
          </p:cNvPr>
          <p:cNvSpPr/>
          <p:nvPr>
            <p:custDataLst>
              <p:tags r:id="rId25"/>
            </p:custDataLst>
          </p:nvPr>
        </p:nvSpPr>
        <p:spPr bwMode="gray">
          <a:xfrm>
            <a:off x="6413500" y="3032125"/>
            <a:ext cx="441325"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23BEB624-C7E7-4C95-9B97-AA66A7A10F5E}" type="datetime'''''''3''''''''''''''''''''''''0'''''''',7''''''''29'''''''''">
              <a:rPr lang="en-US" altLang="en-US" sz="1000" smtClean="0">
                <a:solidFill>
                  <a:schemeClr val="tx1"/>
                </a:solidFill>
              </a:rPr>
              <a:pPr/>
              <a:t>30,729</a:t>
            </a:fld>
            <a:endParaRPr lang="en-US" sz="1000">
              <a:solidFill>
                <a:schemeClr val="tx1"/>
              </a:solidFill>
            </a:endParaRPr>
          </a:p>
        </p:txBody>
      </p:sp>
      <p:sp>
        <p:nvSpPr>
          <p:cNvPr id="3990" name="Rectangle 3989">
            <a:extLst>
              <a:ext uri="{FF2B5EF4-FFF2-40B4-BE49-F238E27FC236}">
                <a16:creationId xmlns:a16="http://schemas.microsoft.com/office/drawing/2014/main" id="{84A8CB46-4E50-B9E5-3A2D-748346A663CC}"/>
              </a:ext>
            </a:extLst>
          </p:cNvPr>
          <p:cNvSpPr/>
          <p:nvPr>
            <p:custDataLst>
              <p:tags r:id="rId26"/>
            </p:custDataLst>
          </p:nvPr>
        </p:nvSpPr>
        <p:spPr bwMode="gray">
          <a:xfrm>
            <a:off x="7026275" y="3421063"/>
            <a:ext cx="43815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EC97B4A2-9D94-4EAE-9B83-D09067477171}" type="datetime'''''''''''''''''''''25'''''',''66''''''''''''''''''''''''6'''">
              <a:rPr lang="en-US" altLang="en-US" sz="1000" smtClean="0">
                <a:solidFill>
                  <a:schemeClr val="tx1"/>
                </a:solidFill>
              </a:rPr>
              <a:pPr/>
              <a:t>25,666</a:t>
            </a:fld>
            <a:endParaRPr lang="en-US" sz="1000">
              <a:solidFill>
                <a:schemeClr val="tx1"/>
              </a:solidFill>
            </a:endParaRPr>
          </a:p>
        </p:txBody>
      </p:sp>
      <p:sp>
        <p:nvSpPr>
          <p:cNvPr id="16" name="Rectangle 15">
            <a:extLst>
              <a:ext uri="{FF2B5EF4-FFF2-40B4-BE49-F238E27FC236}">
                <a16:creationId xmlns:a16="http://schemas.microsoft.com/office/drawing/2014/main" id="{53FC2730-A8A3-B330-86F6-2CE3F991BE6F}"/>
              </a:ext>
            </a:extLst>
          </p:cNvPr>
          <p:cNvSpPr/>
          <p:nvPr>
            <p:custDataLst>
              <p:tags r:id="rId27"/>
            </p:custDataLst>
          </p:nvPr>
        </p:nvSpPr>
        <p:spPr bwMode="gray">
          <a:xfrm>
            <a:off x="7632700" y="3317875"/>
            <a:ext cx="44450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2F4A294C-37D4-4F58-8E3D-2642C455006B}" type="datetime'''''2''''''6'''''''''''',''9''''96'''''''''">
              <a:rPr lang="en-US" altLang="en-US" sz="1000" smtClean="0">
                <a:solidFill>
                  <a:schemeClr val="tx1"/>
                </a:solidFill>
              </a:rPr>
              <a:pPr/>
              <a:t>26,996</a:t>
            </a:fld>
            <a:endParaRPr lang="en-US" sz="1000">
              <a:solidFill>
                <a:schemeClr val="tx1"/>
              </a:solidFill>
            </a:endParaRPr>
          </a:p>
        </p:txBody>
      </p:sp>
      <p:sp>
        <p:nvSpPr>
          <p:cNvPr id="30" name="Rectangle 29">
            <a:extLst>
              <a:ext uri="{FF2B5EF4-FFF2-40B4-BE49-F238E27FC236}">
                <a16:creationId xmlns:a16="http://schemas.microsoft.com/office/drawing/2014/main" id="{6A1348DF-3F63-042E-F660-304F2C5A6DD6}"/>
              </a:ext>
            </a:extLst>
          </p:cNvPr>
          <p:cNvSpPr/>
          <p:nvPr>
            <p:custDataLst>
              <p:tags r:id="rId28"/>
            </p:custDataLst>
          </p:nvPr>
        </p:nvSpPr>
        <p:spPr bwMode="gray">
          <a:xfrm>
            <a:off x="8261350" y="3570288"/>
            <a:ext cx="409575"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44DC5DB4-6886-457E-973A-A4ADC3908846}" type="datetime'''''2''''''''''''''''''''''''''''''3,''''71''''''''0'''">
              <a:rPr lang="en-US" altLang="en-US" sz="1000" smtClean="0">
                <a:solidFill>
                  <a:schemeClr val="tx1"/>
                </a:solidFill>
              </a:rPr>
              <a:pPr/>
              <a:t>23,710</a:t>
            </a:fld>
            <a:endParaRPr lang="en-US" sz="1000">
              <a:solidFill>
                <a:schemeClr val="tx1"/>
              </a:solidFill>
            </a:endParaRPr>
          </a:p>
        </p:txBody>
      </p:sp>
      <p:sp>
        <p:nvSpPr>
          <p:cNvPr id="111" name="Rectangle 110">
            <a:extLst>
              <a:ext uri="{FF2B5EF4-FFF2-40B4-BE49-F238E27FC236}">
                <a16:creationId xmlns:a16="http://schemas.microsoft.com/office/drawing/2014/main" id="{5B531891-E638-F284-3E68-7C6797CEC339}"/>
              </a:ext>
            </a:extLst>
          </p:cNvPr>
          <p:cNvSpPr/>
          <p:nvPr>
            <p:custDataLst>
              <p:tags r:id="rId29"/>
            </p:custDataLst>
          </p:nvPr>
        </p:nvSpPr>
        <p:spPr bwMode="gray">
          <a:xfrm>
            <a:off x="8858250" y="3644900"/>
            <a:ext cx="434975"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F1C3AEAC-1A4E-4E29-BA74-938C7E890473}" type="datetime'''''''''''''2''''2'''''''''''',''''7''''''''''5''0'''''''''">
              <a:rPr lang="en-US" altLang="en-US" sz="1000" smtClean="0">
                <a:solidFill>
                  <a:schemeClr val="tx1"/>
                </a:solidFill>
              </a:rPr>
              <a:pPr/>
              <a:t>22,750</a:t>
            </a:fld>
            <a:endParaRPr lang="en-US" sz="1000">
              <a:solidFill>
                <a:schemeClr val="tx1"/>
              </a:solidFill>
            </a:endParaRPr>
          </a:p>
        </p:txBody>
      </p:sp>
      <p:sp>
        <p:nvSpPr>
          <p:cNvPr id="4836" name="Rectangle 4835">
            <a:extLst>
              <a:ext uri="{FF2B5EF4-FFF2-40B4-BE49-F238E27FC236}">
                <a16:creationId xmlns:a16="http://schemas.microsoft.com/office/drawing/2014/main" id="{EF380C7D-E957-66E6-8B7A-77B242EF3C72}"/>
              </a:ext>
            </a:extLst>
          </p:cNvPr>
          <p:cNvSpPr/>
          <p:nvPr>
            <p:custDataLst>
              <p:tags r:id="rId30"/>
            </p:custDataLst>
          </p:nvPr>
        </p:nvSpPr>
        <p:spPr bwMode="gray">
          <a:xfrm>
            <a:off x="4611688" y="4721225"/>
            <a:ext cx="384175" cy="136525"/>
          </a:xfrm>
          <a:prstGeom prst="rect">
            <a:avLst/>
          </a:prstGeom>
          <a:solidFill>
            <a:schemeClr val="accent2"/>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ctr"/>
          <a:lstStyle/>
          <a:p>
            <a:pPr algn="ctr">
              <a:lnSpc>
                <a:spcPct val="90000"/>
              </a:lnSpc>
              <a:spcBef>
                <a:spcPct val="0"/>
              </a:spcBef>
              <a:spcAft>
                <a:spcPct val="0"/>
              </a:spcAft>
            </a:pPr>
            <a:fld id="{D82A6299-0292-4334-9CFE-09ABEBB435F0}" type="datetime'''''''''''''1''1,''5''''''''''''''8''6'''''''''''''''''''">
              <a:rPr lang="en-US" altLang="en-US" sz="1000" smtClean="0">
                <a:solidFill>
                  <a:schemeClr val="tx1"/>
                </a:solidFill>
                <a:effectLst/>
              </a:rPr>
              <a:pPr algn="ctr">
                <a:lnSpc>
                  <a:spcPct val="90000"/>
                </a:lnSpc>
                <a:spcBef>
                  <a:spcPct val="0"/>
                </a:spcBef>
                <a:spcAft>
                  <a:spcPct val="0"/>
                </a:spcAft>
              </a:pPr>
              <a:t>11,586</a:t>
            </a:fld>
            <a:endParaRPr lang="en-US" sz="1000">
              <a:solidFill>
                <a:schemeClr val="tx1"/>
              </a:solidFill>
            </a:endParaRPr>
          </a:p>
        </p:txBody>
      </p:sp>
      <p:sp>
        <p:nvSpPr>
          <p:cNvPr id="4840" name="Rectangle 4839">
            <a:extLst>
              <a:ext uri="{FF2B5EF4-FFF2-40B4-BE49-F238E27FC236}">
                <a16:creationId xmlns:a16="http://schemas.microsoft.com/office/drawing/2014/main" id="{C14C02DD-CB4D-70E8-B7B5-6ECD031B6D42}"/>
              </a:ext>
            </a:extLst>
          </p:cNvPr>
          <p:cNvSpPr/>
          <p:nvPr>
            <p:custDataLst>
              <p:tags r:id="rId31"/>
            </p:custDataLst>
          </p:nvPr>
        </p:nvSpPr>
        <p:spPr bwMode="gray">
          <a:xfrm>
            <a:off x="5224463" y="3902075"/>
            <a:ext cx="379413" cy="136525"/>
          </a:xfrm>
          <a:prstGeom prst="rect">
            <a:avLst/>
          </a:prstGeom>
          <a:solidFill>
            <a:schemeClr val="accent6"/>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ctr"/>
          <a:lstStyle/>
          <a:p>
            <a:pPr algn="ctr">
              <a:lnSpc>
                <a:spcPct val="90000"/>
              </a:lnSpc>
              <a:spcBef>
                <a:spcPct val="0"/>
              </a:spcBef>
              <a:spcAft>
                <a:spcPct val="0"/>
              </a:spcAft>
            </a:pPr>
            <a:fld id="{E6421E70-22C8-4D52-99BF-F1E4531515DE}" type="datetime'''''''4,''''''''''''5''''''''46'''''''''''''''''">
              <a:rPr lang="en-US" altLang="en-US" sz="1000" smtClean="0">
                <a:solidFill>
                  <a:schemeClr val="tx1"/>
                </a:solidFill>
                <a:effectLst/>
              </a:rPr>
              <a:pPr algn="ctr">
                <a:lnSpc>
                  <a:spcPct val="90000"/>
                </a:lnSpc>
                <a:spcBef>
                  <a:spcPct val="0"/>
                </a:spcBef>
                <a:spcAft>
                  <a:spcPct val="0"/>
                </a:spcAft>
              </a:pPr>
              <a:t>4,546</a:t>
            </a:fld>
            <a:endParaRPr lang="en-US" sz="1000">
              <a:solidFill>
                <a:schemeClr val="tx1"/>
              </a:solidFill>
            </a:endParaRPr>
          </a:p>
        </p:txBody>
      </p:sp>
      <p:sp>
        <p:nvSpPr>
          <p:cNvPr id="4841" name="Rectangle 4840">
            <a:extLst>
              <a:ext uri="{FF2B5EF4-FFF2-40B4-BE49-F238E27FC236}">
                <a16:creationId xmlns:a16="http://schemas.microsoft.com/office/drawing/2014/main" id="{C3DC7AC5-1EB8-ADB4-6B15-C47042458205}"/>
              </a:ext>
            </a:extLst>
          </p:cNvPr>
          <p:cNvSpPr/>
          <p:nvPr>
            <p:custDataLst>
              <p:tags r:id="rId32"/>
            </p:custDataLst>
          </p:nvPr>
        </p:nvSpPr>
        <p:spPr bwMode="gray">
          <a:xfrm>
            <a:off x="5837238" y="4911725"/>
            <a:ext cx="376238" cy="136525"/>
          </a:xfrm>
          <a:prstGeom prst="rect">
            <a:avLst/>
          </a:prstGeom>
          <a:solidFill>
            <a:schemeClr val="accent2"/>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ctr"/>
          <a:lstStyle/>
          <a:p>
            <a:pPr algn="ctr">
              <a:lnSpc>
                <a:spcPct val="90000"/>
              </a:lnSpc>
              <a:spcBef>
                <a:spcPct val="0"/>
              </a:spcBef>
              <a:spcAft>
                <a:spcPct val="0"/>
              </a:spcAft>
            </a:pPr>
            <a:fld id="{26CF8662-CDB1-4923-B1DB-4B00EA093ADB}" type="datetime'''''''''''7,''9''''94'''''''''">
              <a:rPr lang="en-US" altLang="en-US" sz="1000" smtClean="0">
                <a:solidFill>
                  <a:schemeClr val="tx1"/>
                </a:solidFill>
                <a:effectLst/>
              </a:rPr>
              <a:pPr algn="ctr">
                <a:lnSpc>
                  <a:spcPct val="90000"/>
                </a:lnSpc>
                <a:spcBef>
                  <a:spcPct val="0"/>
                </a:spcBef>
                <a:spcAft>
                  <a:spcPct val="0"/>
                </a:spcAft>
              </a:pPr>
              <a:t>7,994</a:t>
            </a:fld>
            <a:endParaRPr lang="en-US" sz="1000">
              <a:solidFill>
                <a:schemeClr val="tx1"/>
              </a:solidFill>
            </a:endParaRPr>
          </a:p>
        </p:txBody>
      </p:sp>
      <p:sp>
        <p:nvSpPr>
          <p:cNvPr id="4842" name="Rectangle 4841">
            <a:extLst>
              <a:ext uri="{FF2B5EF4-FFF2-40B4-BE49-F238E27FC236}">
                <a16:creationId xmlns:a16="http://schemas.microsoft.com/office/drawing/2014/main" id="{F2ACF72C-258B-4CFB-0965-2882E5E065E9}"/>
              </a:ext>
            </a:extLst>
          </p:cNvPr>
          <p:cNvSpPr/>
          <p:nvPr>
            <p:custDataLst>
              <p:tags r:id="rId33"/>
            </p:custDataLst>
          </p:nvPr>
        </p:nvSpPr>
        <p:spPr bwMode="gray">
          <a:xfrm>
            <a:off x="6446838" y="3670300"/>
            <a:ext cx="376238" cy="136525"/>
          </a:xfrm>
          <a:prstGeom prst="rect">
            <a:avLst/>
          </a:prstGeom>
          <a:solidFill>
            <a:schemeClr val="accent6"/>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ctr"/>
          <a:lstStyle/>
          <a:p>
            <a:pPr algn="ctr">
              <a:lnSpc>
                <a:spcPct val="90000"/>
              </a:lnSpc>
              <a:spcBef>
                <a:spcPct val="0"/>
              </a:spcBef>
              <a:spcAft>
                <a:spcPct val="0"/>
              </a:spcAft>
            </a:pPr>
            <a:fld id="{315BDA4A-533E-4D70-91BC-6F4818078D08}" type="datetime'''''''''''''''''''''5'''''''',''''''''''''''''8''9''4'''''">
              <a:rPr lang="en-US" altLang="en-US" sz="1000" smtClean="0">
                <a:solidFill>
                  <a:schemeClr val="tx1"/>
                </a:solidFill>
                <a:effectLst/>
              </a:rPr>
              <a:pPr algn="ctr">
                <a:lnSpc>
                  <a:spcPct val="90000"/>
                </a:lnSpc>
                <a:spcBef>
                  <a:spcPct val="0"/>
                </a:spcBef>
                <a:spcAft>
                  <a:spcPct val="0"/>
                </a:spcAft>
              </a:pPr>
              <a:t>5,894</a:t>
            </a:fld>
            <a:endParaRPr lang="en-US" sz="1000">
              <a:solidFill>
                <a:schemeClr val="tx1"/>
              </a:solidFill>
            </a:endParaRPr>
          </a:p>
        </p:txBody>
      </p:sp>
      <p:sp>
        <p:nvSpPr>
          <p:cNvPr id="4843" name="Rectangle 4842">
            <a:extLst>
              <a:ext uri="{FF2B5EF4-FFF2-40B4-BE49-F238E27FC236}">
                <a16:creationId xmlns:a16="http://schemas.microsoft.com/office/drawing/2014/main" id="{90EE4B1D-BC5D-F96E-8379-5EB2F12C20AA}"/>
              </a:ext>
            </a:extLst>
          </p:cNvPr>
          <p:cNvSpPr/>
          <p:nvPr>
            <p:custDataLst>
              <p:tags r:id="rId34"/>
            </p:custDataLst>
          </p:nvPr>
        </p:nvSpPr>
        <p:spPr bwMode="gray">
          <a:xfrm>
            <a:off x="6443663" y="4962525"/>
            <a:ext cx="382588" cy="136525"/>
          </a:xfrm>
          <a:prstGeom prst="rect">
            <a:avLst/>
          </a:prstGeom>
          <a:solidFill>
            <a:schemeClr val="accent2"/>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ctr"/>
          <a:lstStyle/>
          <a:p>
            <a:pPr algn="ctr">
              <a:lnSpc>
                <a:spcPct val="90000"/>
              </a:lnSpc>
              <a:spcBef>
                <a:spcPct val="0"/>
              </a:spcBef>
              <a:spcAft>
                <a:spcPct val="0"/>
              </a:spcAft>
            </a:pPr>
            <a:fld id="{748A6F04-F99C-45D2-B5E7-B98B1C9202EC}" type="datetime'''''''''''''''''''''4'',7''''''0''''''''''6'''''">
              <a:rPr lang="en-US" altLang="en-US" sz="1000" smtClean="0">
                <a:solidFill>
                  <a:schemeClr val="tx1"/>
                </a:solidFill>
                <a:effectLst/>
              </a:rPr>
              <a:pPr algn="ctr">
                <a:lnSpc>
                  <a:spcPct val="90000"/>
                </a:lnSpc>
                <a:spcBef>
                  <a:spcPct val="0"/>
                </a:spcBef>
                <a:spcAft>
                  <a:spcPct val="0"/>
                </a:spcAft>
              </a:pPr>
              <a:t>4,706</a:t>
            </a:fld>
            <a:endParaRPr lang="en-US" sz="1000">
              <a:solidFill>
                <a:schemeClr val="tx1"/>
              </a:solidFill>
            </a:endParaRPr>
          </a:p>
        </p:txBody>
      </p:sp>
      <p:sp>
        <p:nvSpPr>
          <p:cNvPr id="4844" name="Rectangle 4843">
            <a:extLst>
              <a:ext uri="{FF2B5EF4-FFF2-40B4-BE49-F238E27FC236}">
                <a16:creationId xmlns:a16="http://schemas.microsoft.com/office/drawing/2014/main" id="{0FD46137-5E2F-0BB0-1C6A-FBEE67725F6B}"/>
              </a:ext>
            </a:extLst>
          </p:cNvPr>
          <p:cNvSpPr/>
          <p:nvPr>
            <p:custDataLst>
              <p:tags r:id="rId35"/>
            </p:custDataLst>
          </p:nvPr>
        </p:nvSpPr>
        <p:spPr bwMode="gray">
          <a:xfrm>
            <a:off x="6442075" y="5313363"/>
            <a:ext cx="385763" cy="136525"/>
          </a:xfrm>
          <a:prstGeom prst="rect">
            <a:avLst/>
          </a:prstGeom>
          <a:solidFill>
            <a:srgbClr val="4C6C9C"/>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ctr"/>
          <a:lstStyle/>
          <a:p>
            <a:pPr algn="ctr">
              <a:lnSpc>
                <a:spcPct val="90000"/>
              </a:lnSpc>
              <a:spcBef>
                <a:spcPct val="0"/>
              </a:spcBef>
              <a:spcAft>
                <a:spcPct val="0"/>
              </a:spcAft>
            </a:pPr>
            <a:fld id="{F7D0E80B-C406-4678-87E5-6B4561167802}" type="datetime'''''''''''4'''''''''''''''',''4''''''''''''42'">
              <a:rPr lang="en-US" altLang="en-US" sz="1000" smtClean="0">
                <a:solidFill>
                  <a:schemeClr val="bg1"/>
                </a:solidFill>
                <a:effectLst/>
              </a:rPr>
              <a:pPr algn="ctr">
                <a:lnSpc>
                  <a:spcPct val="90000"/>
                </a:lnSpc>
                <a:spcBef>
                  <a:spcPct val="0"/>
                </a:spcBef>
                <a:spcAft>
                  <a:spcPct val="0"/>
                </a:spcAft>
              </a:pPr>
              <a:t>4,442</a:t>
            </a:fld>
            <a:endParaRPr lang="en-US" sz="1000">
              <a:solidFill>
                <a:schemeClr val="bg1"/>
              </a:solidFill>
            </a:endParaRPr>
          </a:p>
        </p:txBody>
      </p:sp>
      <p:sp>
        <p:nvSpPr>
          <p:cNvPr id="4845" name="Rectangle 4844">
            <a:extLst>
              <a:ext uri="{FF2B5EF4-FFF2-40B4-BE49-F238E27FC236}">
                <a16:creationId xmlns:a16="http://schemas.microsoft.com/office/drawing/2014/main" id="{85E855C6-AC7B-4C48-55E4-5B8D834FB7D0}"/>
              </a:ext>
            </a:extLst>
          </p:cNvPr>
          <p:cNvSpPr/>
          <p:nvPr>
            <p:custDataLst>
              <p:tags r:id="rId36"/>
            </p:custDataLst>
          </p:nvPr>
        </p:nvSpPr>
        <p:spPr bwMode="gray">
          <a:xfrm>
            <a:off x="7058025" y="4432300"/>
            <a:ext cx="376238" cy="136525"/>
          </a:xfrm>
          <a:prstGeom prst="rect">
            <a:avLst/>
          </a:prstGeom>
          <a:solidFill>
            <a:schemeClr val="accent5"/>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ctr"/>
          <a:lstStyle/>
          <a:p>
            <a:pPr algn="ctr">
              <a:lnSpc>
                <a:spcPct val="90000"/>
              </a:lnSpc>
              <a:spcBef>
                <a:spcPct val="0"/>
              </a:spcBef>
              <a:spcAft>
                <a:spcPct val="0"/>
              </a:spcAft>
            </a:pPr>
            <a:fld id="{783B2D0F-3EAE-47D0-BB7D-F8D42492C549}" type="datetime'''''5'''',''''''''''''''''0''''''7''''''''4'">
              <a:rPr lang="en-US" altLang="en-US" sz="1000" smtClean="0">
                <a:solidFill>
                  <a:schemeClr val="tx1"/>
                </a:solidFill>
                <a:effectLst/>
              </a:rPr>
              <a:pPr algn="ctr">
                <a:lnSpc>
                  <a:spcPct val="90000"/>
                </a:lnSpc>
                <a:spcBef>
                  <a:spcPct val="0"/>
                </a:spcBef>
                <a:spcAft>
                  <a:spcPct val="0"/>
                </a:spcAft>
              </a:pPr>
              <a:t>5,074</a:t>
            </a:fld>
            <a:endParaRPr lang="en-US" sz="1000">
              <a:solidFill>
                <a:schemeClr val="tx1"/>
              </a:solidFill>
            </a:endParaRPr>
          </a:p>
        </p:txBody>
      </p:sp>
      <p:sp>
        <p:nvSpPr>
          <p:cNvPr id="94" name="Text Placeholder 2">
            <a:extLst>
              <a:ext uri="{FF2B5EF4-FFF2-40B4-BE49-F238E27FC236}">
                <a16:creationId xmlns:a16="http://schemas.microsoft.com/office/drawing/2014/main" id="{B752CB7A-8F0E-4680-841A-2725D44B7EDB}"/>
              </a:ext>
            </a:extLst>
          </p:cNvPr>
          <p:cNvSpPr>
            <a:spLocks noGrp="1" noChangeArrowheads="1"/>
          </p:cNvSpPr>
          <p:nvPr>
            <p:custDataLst>
              <p:tags r:id="rId37"/>
            </p:custDataLst>
          </p:nvPr>
        </p:nvSpPr>
        <p:spPr bwMode="auto">
          <a:xfrm>
            <a:off x="2238375" y="5595938"/>
            <a:ext cx="247650"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B6EBCA8A-3BD6-4ABD-B040-E5177EECAFD6}" type="datetime'''''''''''''''''''''''''''J''''''''''''''''''''''un'''''''">
              <a:rPr lang="en-US" altLang="en-US" sz="1000" smtClean="0"/>
              <a:pPr marL="0" lvl="0" indent="0" algn="ctr">
                <a:spcBef>
                  <a:spcPct val="0"/>
                </a:spcBef>
                <a:buNone/>
              </a:pPr>
              <a:t>Jun</a:t>
            </a:fld>
            <a:endParaRPr lang="en-US" altLang="en-US" sz="1000"/>
          </a:p>
        </p:txBody>
      </p:sp>
      <p:sp>
        <p:nvSpPr>
          <p:cNvPr id="4847" name="Rectangle 4846">
            <a:extLst>
              <a:ext uri="{FF2B5EF4-FFF2-40B4-BE49-F238E27FC236}">
                <a16:creationId xmlns:a16="http://schemas.microsoft.com/office/drawing/2014/main" id="{1BB745FB-1581-E888-14DF-C64A74064C7C}"/>
              </a:ext>
            </a:extLst>
          </p:cNvPr>
          <p:cNvSpPr/>
          <p:nvPr>
            <p:custDataLst>
              <p:tags r:id="rId38"/>
            </p:custDataLst>
          </p:nvPr>
        </p:nvSpPr>
        <p:spPr bwMode="gray">
          <a:xfrm>
            <a:off x="7667625" y="4602163"/>
            <a:ext cx="376238" cy="136525"/>
          </a:xfrm>
          <a:prstGeom prst="rect">
            <a:avLst/>
          </a:prstGeom>
          <a:solidFill>
            <a:schemeClr val="accent4"/>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ctr"/>
          <a:lstStyle/>
          <a:p>
            <a:pPr algn="ctr">
              <a:lnSpc>
                <a:spcPct val="90000"/>
              </a:lnSpc>
              <a:spcBef>
                <a:spcPct val="0"/>
              </a:spcBef>
              <a:spcAft>
                <a:spcPct val="0"/>
              </a:spcAft>
            </a:pPr>
            <a:fld id="{E0A4C314-07BC-4EB0-BC53-621ACFDC2786}" type="datetime'''''3'''''''''''''''''''''''',6''''''0''''''''''''''''8'''''''">
              <a:rPr lang="en-US" altLang="en-US" sz="1000" smtClean="0">
                <a:solidFill>
                  <a:schemeClr val="tx1"/>
                </a:solidFill>
                <a:effectLst/>
              </a:rPr>
              <a:pPr algn="ctr">
                <a:lnSpc>
                  <a:spcPct val="90000"/>
                </a:lnSpc>
                <a:spcBef>
                  <a:spcPct val="0"/>
                </a:spcBef>
                <a:spcAft>
                  <a:spcPct val="0"/>
                </a:spcAft>
              </a:pPr>
              <a:t>3,608</a:t>
            </a:fld>
            <a:endParaRPr lang="en-US" sz="1000">
              <a:solidFill>
                <a:schemeClr val="tx1"/>
              </a:solidFill>
            </a:endParaRPr>
          </a:p>
        </p:txBody>
      </p:sp>
      <p:sp>
        <p:nvSpPr>
          <p:cNvPr id="4848" name="Rectangle 4847">
            <a:extLst>
              <a:ext uri="{FF2B5EF4-FFF2-40B4-BE49-F238E27FC236}">
                <a16:creationId xmlns:a16="http://schemas.microsoft.com/office/drawing/2014/main" id="{9B8C575C-8538-DBC4-40B4-EDE987AF1EC0}"/>
              </a:ext>
            </a:extLst>
          </p:cNvPr>
          <p:cNvSpPr/>
          <p:nvPr>
            <p:custDataLst>
              <p:tags r:id="rId39"/>
            </p:custDataLst>
          </p:nvPr>
        </p:nvSpPr>
        <p:spPr bwMode="gray">
          <a:xfrm>
            <a:off x="8278813" y="4121150"/>
            <a:ext cx="376238" cy="136525"/>
          </a:xfrm>
          <a:prstGeom prst="rect">
            <a:avLst/>
          </a:prstGeom>
          <a:solidFill>
            <a:schemeClr val="accent6"/>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ctr"/>
          <a:lstStyle/>
          <a:p>
            <a:pPr algn="ctr">
              <a:lnSpc>
                <a:spcPct val="90000"/>
              </a:lnSpc>
              <a:spcBef>
                <a:spcPct val="0"/>
              </a:spcBef>
              <a:spcAft>
                <a:spcPct val="0"/>
              </a:spcAft>
            </a:pPr>
            <a:fld id="{6B01BB97-E8F5-42BA-BEB1-93431EC78EB0}" type="datetime'''''''''''''''''''''''''4,''''7''''''''''03'''''''''''''''''">
              <a:rPr lang="en-US" altLang="en-US" sz="1000" smtClean="0">
                <a:solidFill>
                  <a:schemeClr val="tx1"/>
                </a:solidFill>
                <a:effectLst/>
              </a:rPr>
              <a:pPr algn="ctr">
                <a:lnSpc>
                  <a:spcPct val="90000"/>
                </a:lnSpc>
                <a:spcBef>
                  <a:spcPct val="0"/>
                </a:spcBef>
                <a:spcAft>
                  <a:spcPct val="0"/>
                </a:spcAft>
              </a:pPr>
              <a:t>4,703</a:t>
            </a:fld>
            <a:endParaRPr lang="en-US" sz="1000">
              <a:solidFill>
                <a:schemeClr val="tx1"/>
              </a:solidFill>
            </a:endParaRPr>
          </a:p>
        </p:txBody>
      </p:sp>
      <p:sp>
        <p:nvSpPr>
          <p:cNvPr id="4849" name="Rectangle 4848">
            <a:extLst>
              <a:ext uri="{FF2B5EF4-FFF2-40B4-BE49-F238E27FC236}">
                <a16:creationId xmlns:a16="http://schemas.microsoft.com/office/drawing/2014/main" id="{94249625-5462-F218-A2D9-343461472941}"/>
              </a:ext>
            </a:extLst>
          </p:cNvPr>
          <p:cNvSpPr/>
          <p:nvPr>
            <p:custDataLst>
              <p:tags r:id="rId40"/>
            </p:custDataLst>
          </p:nvPr>
        </p:nvSpPr>
        <p:spPr bwMode="gray">
          <a:xfrm>
            <a:off x="8886825" y="4525963"/>
            <a:ext cx="379413" cy="136525"/>
          </a:xfrm>
          <a:prstGeom prst="rect">
            <a:avLst/>
          </a:prstGeom>
          <a:solidFill>
            <a:schemeClr val="accent5"/>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ctr"/>
          <a:lstStyle/>
          <a:p>
            <a:pPr algn="ctr">
              <a:lnSpc>
                <a:spcPct val="90000"/>
              </a:lnSpc>
              <a:spcBef>
                <a:spcPct val="0"/>
              </a:spcBef>
              <a:spcAft>
                <a:spcPct val="0"/>
              </a:spcAft>
            </a:pPr>
            <a:fld id="{4BF02FF7-2696-44AB-BF07-BB748576E662}" type="datetime'''''''''''4,4''''''''''''9''''''''2'''''''''''''''">
              <a:rPr lang="en-US" altLang="en-US" sz="1000" smtClean="0">
                <a:solidFill>
                  <a:schemeClr val="tx1"/>
                </a:solidFill>
                <a:effectLst/>
              </a:rPr>
              <a:pPr algn="ctr">
                <a:lnSpc>
                  <a:spcPct val="90000"/>
                </a:lnSpc>
                <a:spcBef>
                  <a:spcPct val="0"/>
                </a:spcBef>
                <a:spcAft>
                  <a:spcPct val="0"/>
                </a:spcAft>
              </a:pPr>
              <a:t>4,492</a:t>
            </a:fld>
            <a:endParaRPr lang="en-US" sz="1000">
              <a:solidFill>
                <a:schemeClr val="tx1"/>
              </a:solidFill>
            </a:endParaRPr>
          </a:p>
        </p:txBody>
      </p:sp>
      <p:sp>
        <p:nvSpPr>
          <p:cNvPr id="4850" name="Rectangle 4849">
            <a:extLst>
              <a:ext uri="{FF2B5EF4-FFF2-40B4-BE49-F238E27FC236}">
                <a16:creationId xmlns:a16="http://schemas.microsoft.com/office/drawing/2014/main" id="{187DBD4F-52C7-A581-FB9E-ECD4048ED7CB}"/>
              </a:ext>
            </a:extLst>
          </p:cNvPr>
          <p:cNvSpPr/>
          <p:nvPr>
            <p:custDataLst>
              <p:tags r:id="rId41"/>
            </p:custDataLst>
          </p:nvPr>
        </p:nvSpPr>
        <p:spPr bwMode="gray">
          <a:xfrm>
            <a:off x="8886825" y="5095875"/>
            <a:ext cx="379413" cy="136525"/>
          </a:xfrm>
          <a:prstGeom prst="rect">
            <a:avLst/>
          </a:prstGeom>
          <a:solidFill>
            <a:schemeClr val="accent2"/>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ctr"/>
          <a:lstStyle/>
          <a:p>
            <a:pPr algn="ctr">
              <a:lnSpc>
                <a:spcPct val="90000"/>
              </a:lnSpc>
              <a:spcBef>
                <a:spcPct val="0"/>
              </a:spcBef>
              <a:spcAft>
                <a:spcPct val="0"/>
              </a:spcAft>
            </a:pPr>
            <a:fld id="{1C8EBC92-D5E2-4009-843E-1C5761E8DEE3}" type="datetime'''''''3'''',6''''''''''''''''''''''''0''0'''''''''''''''''''''">
              <a:rPr lang="en-US" altLang="en-US" sz="1000" smtClean="0">
                <a:solidFill>
                  <a:schemeClr val="tx1"/>
                </a:solidFill>
                <a:effectLst/>
              </a:rPr>
              <a:pPr algn="ctr">
                <a:lnSpc>
                  <a:spcPct val="90000"/>
                </a:lnSpc>
                <a:spcBef>
                  <a:spcPct val="0"/>
                </a:spcBef>
                <a:spcAft>
                  <a:spcPct val="0"/>
                </a:spcAft>
              </a:pPr>
              <a:t>3,600</a:t>
            </a:fld>
            <a:endParaRPr lang="en-US" sz="1000">
              <a:solidFill>
                <a:schemeClr val="tx1"/>
              </a:solidFill>
            </a:endParaRPr>
          </a:p>
        </p:txBody>
      </p:sp>
      <p:sp>
        <p:nvSpPr>
          <p:cNvPr id="4846" name="Rectangle 4845">
            <a:extLst>
              <a:ext uri="{FF2B5EF4-FFF2-40B4-BE49-F238E27FC236}">
                <a16:creationId xmlns:a16="http://schemas.microsoft.com/office/drawing/2014/main" id="{7DD548EA-1B6C-EEBA-183B-A66A125F4B98}"/>
              </a:ext>
            </a:extLst>
          </p:cNvPr>
          <p:cNvSpPr/>
          <p:nvPr>
            <p:custDataLst>
              <p:tags r:id="rId42"/>
            </p:custDataLst>
          </p:nvPr>
        </p:nvSpPr>
        <p:spPr bwMode="gray">
          <a:xfrm>
            <a:off x="7666038" y="4286250"/>
            <a:ext cx="379413" cy="136525"/>
          </a:xfrm>
          <a:prstGeom prst="rect">
            <a:avLst/>
          </a:prstGeom>
          <a:solidFill>
            <a:schemeClr val="accent5"/>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ctr"/>
          <a:lstStyle/>
          <a:p>
            <a:pPr algn="ctr">
              <a:lnSpc>
                <a:spcPct val="90000"/>
              </a:lnSpc>
              <a:spcBef>
                <a:spcPct val="0"/>
              </a:spcBef>
              <a:spcAft>
                <a:spcPct val="0"/>
              </a:spcAft>
            </a:pPr>
            <a:fld id="{3E7B8751-B5E8-4556-822B-3AB4AF538567}" type="datetime'''''''''''''''''4'''''',''''6''''2''''''0'''''''''''''''''''''">
              <a:rPr lang="en-US" altLang="en-US" sz="1000" smtClean="0">
                <a:solidFill>
                  <a:schemeClr val="tx1"/>
                </a:solidFill>
                <a:effectLst/>
              </a:rPr>
              <a:pPr algn="ctr">
                <a:lnSpc>
                  <a:spcPct val="90000"/>
                </a:lnSpc>
                <a:spcBef>
                  <a:spcPct val="0"/>
                </a:spcBef>
                <a:spcAft>
                  <a:spcPct val="0"/>
                </a:spcAft>
              </a:pPr>
              <a:t>4,620</a:t>
            </a:fld>
            <a:endParaRPr lang="en-US" sz="1000">
              <a:solidFill>
                <a:schemeClr val="tx1"/>
              </a:solidFill>
            </a:endParaRPr>
          </a:p>
        </p:txBody>
      </p:sp>
      <p:sp>
        <p:nvSpPr>
          <p:cNvPr id="4856" name="Rectangle 4855">
            <a:extLst>
              <a:ext uri="{FF2B5EF4-FFF2-40B4-BE49-F238E27FC236}">
                <a16:creationId xmlns:a16="http://schemas.microsoft.com/office/drawing/2014/main" id="{92F07FA5-57DF-5E4C-73AD-C600ECA4C111}"/>
              </a:ext>
            </a:extLst>
          </p:cNvPr>
          <p:cNvSpPr/>
          <p:nvPr>
            <p:custDataLst>
              <p:tags r:id="rId43"/>
            </p:custDataLst>
          </p:nvPr>
        </p:nvSpPr>
        <p:spPr bwMode="gray">
          <a:xfrm>
            <a:off x="3394075" y="3686175"/>
            <a:ext cx="379413" cy="136525"/>
          </a:xfrm>
          <a:prstGeom prst="rect">
            <a:avLst/>
          </a:prstGeom>
          <a:solidFill>
            <a:schemeClr val="accent6"/>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ctr"/>
          <a:lstStyle/>
          <a:p>
            <a:pPr algn="ctr">
              <a:lnSpc>
                <a:spcPct val="90000"/>
              </a:lnSpc>
              <a:spcBef>
                <a:spcPct val="0"/>
              </a:spcBef>
              <a:spcAft>
                <a:spcPct val="0"/>
              </a:spcAft>
            </a:pPr>
            <a:fld id="{6B3D614C-90C7-4027-B2C9-249C65738D96}" type="datetime'''''''4'',''''''''''''''6''''''''''''''''87'''''''''">
              <a:rPr lang="en-US" altLang="en-US" sz="1000" smtClean="0">
                <a:solidFill>
                  <a:schemeClr val="tx1"/>
                </a:solidFill>
                <a:effectLst/>
              </a:rPr>
              <a:pPr algn="ctr">
                <a:lnSpc>
                  <a:spcPct val="90000"/>
                </a:lnSpc>
                <a:spcBef>
                  <a:spcPct val="0"/>
                </a:spcBef>
                <a:spcAft>
                  <a:spcPct val="0"/>
                </a:spcAft>
              </a:pPr>
              <a:t>4,687</a:t>
            </a:fld>
            <a:endParaRPr lang="en-US" sz="1000">
              <a:solidFill>
                <a:schemeClr val="tx1"/>
              </a:solidFill>
            </a:endParaRPr>
          </a:p>
        </p:txBody>
      </p:sp>
      <p:sp>
        <p:nvSpPr>
          <p:cNvPr id="4857" name="Rectangle 4856">
            <a:extLst>
              <a:ext uri="{FF2B5EF4-FFF2-40B4-BE49-F238E27FC236}">
                <a16:creationId xmlns:a16="http://schemas.microsoft.com/office/drawing/2014/main" id="{FB9A6F29-C32F-5BE1-57DF-04A5FF24873E}"/>
              </a:ext>
            </a:extLst>
          </p:cNvPr>
          <p:cNvSpPr/>
          <p:nvPr>
            <p:custDataLst>
              <p:tags r:id="rId44"/>
            </p:custDataLst>
          </p:nvPr>
        </p:nvSpPr>
        <p:spPr bwMode="gray">
          <a:xfrm>
            <a:off x="3394075" y="4213225"/>
            <a:ext cx="379413" cy="136525"/>
          </a:xfrm>
          <a:prstGeom prst="rect">
            <a:avLst/>
          </a:prstGeom>
          <a:solidFill>
            <a:schemeClr val="accent5"/>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ctr"/>
          <a:lstStyle/>
          <a:p>
            <a:pPr algn="ctr">
              <a:lnSpc>
                <a:spcPct val="90000"/>
              </a:lnSpc>
              <a:spcBef>
                <a:spcPct val="0"/>
              </a:spcBef>
              <a:spcAft>
                <a:spcPct val="0"/>
              </a:spcAft>
            </a:pPr>
            <a:fld id="{FC7EFC86-2EC0-4201-914C-4BADE0B163B9}" type="datetime'''''9'''''''',''''''''''''''''''''0''4''''''''5'''''''''''">
              <a:rPr lang="en-US" altLang="en-US" sz="1000" smtClean="0">
                <a:solidFill>
                  <a:schemeClr val="tx1"/>
                </a:solidFill>
                <a:effectLst/>
              </a:rPr>
              <a:pPr algn="ctr">
                <a:lnSpc>
                  <a:spcPct val="90000"/>
                </a:lnSpc>
                <a:spcBef>
                  <a:spcPct val="0"/>
                </a:spcBef>
                <a:spcAft>
                  <a:spcPct val="0"/>
                </a:spcAft>
              </a:pPr>
              <a:t>9,045</a:t>
            </a:fld>
            <a:endParaRPr lang="en-US" sz="1000">
              <a:solidFill>
                <a:schemeClr val="tx1"/>
              </a:solidFill>
            </a:endParaRPr>
          </a:p>
        </p:txBody>
      </p:sp>
      <p:sp>
        <p:nvSpPr>
          <p:cNvPr id="4858" name="Rectangle 4857">
            <a:extLst>
              <a:ext uri="{FF2B5EF4-FFF2-40B4-BE49-F238E27FC236}">
                <a16:creationId xmlns:a16="http://schemas.microsoft.com/office/drawing/2014/main" id="{C502243C-271E-87C8-912E-B1965C304B43}"/>
              </a:ext>
            </a:extLst>
          </p:cNvPr>
          <p:cNvSpPr/>
          <p:nvPr>
            <p:custDataLst>
              <p:tags r:id="rId45"/>
            </p:custDataLst>
          </p:nvPr>
        </p:nvSpPr>
        <p:spPr bwMode="gray">
          <a:xfrm>
            <a:off x="3392488" y="5056188"/>
            <a:ext cx="382588" cy="136525"/>
          </a:xfrm>
          <a:prstGeom prst="rect">
            <a:avLst/>
          </a:prstGeom>
          <a:solidFill>
            <a:schemeClr val="accent2"/>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ctr"/>
          <a:lstStyle/>
          <a:p>
            <a:pPr algn="ctr">
              <a:lnSpc>
                <a:spcPct val="90000"/>
              </a:lnSpc>
              <a:spcBef>
                <a:spcPct val="0"/>
              </a:spcBef>
              <a:spcAft>
                <a:spcPct val="0"/>
              </a:spcAft>
            </a:pPr>
            <a:fld id="{7752535C-AD84-49C0-AF16-4957AA69C015}" type="datetime'''''6'''''',''''''''''''8''''''''''''''''''''''6''4'''''''">
              <a:rPr lang="en-US" altLang="en-US" sz="1000" smtClean="0">
                <a:solidFill>
                  <a:schemeClr val="tx1"/>
                </a:solidFill>
                <a:effectLst/>
              </a:rPr>
              <a:pPr algn="ctr">
                <a:lnSpc>
                  <a:spcPct val="90000"/>
                </a:lnSpc>
                <a:spcBef>
                  <a:spcPct val="0"/>
                </a:spcBef>
                <a:spcAft>
                  <a:spcPct val="0"/>
                </a:spcAft>
              </a:pPr>
              <a:t>6,864</a:t>
            </a:fld>
            <a:endParaRPr lang="en-US" sz="1000">
              <a:solidFill>
                <a:schemeClr val="tx1"/>
              </a:solidFill>
            </a:endParaRPr>
          </a:p>
        </p:txBody>
      </p:sp>
      <p:sp>
        <p:nvSpPr>
          <p:cNvPr id="4859" name="Rectangle 4858">
            <a:extLst>
              <a:ext uri="{FF2B5EF4-FFF2-40B4-BE49-F238E27FC236}">
                <a16:creationId xmlns:a16="http://schemas.microsoft.com/office/drawing/2014/main" id="{B88145A4-AE35-AFD0-77E7-9A4DBB910C7F}"/>
              </a:ext>
            </a:extLst>
          </p:cNvPr>
          <p:cNvSpPr/>
          <p:nvPr>
            <p:custDataLst>
              <p:tags r:id="rId46"/>
            </p:custDataLst>
          </p:nvPr>
        </p:nvSpPr>
        <p:spPr bwMode="gray">
          <a:xfrm>
            <a:off x="5226050" y="3592513"/>
            <a:ext cx="376238" cy="136525"/>
          </a:xfrm>
          <a:prstGeom prst="rect">
            <a:avLst/>
          </a:prstGeom>
          <a:solidFill>
            <a:schemeClr val="accent1"/>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ctr"/>
          <a:lstStyle/>
          <a:p>
            <a:pPr algn="ctr">
              <a:lnSpc>
                <a:spcPct val="90000"/>
              </a:lnSpc>
              <a:spcBef>
                <a:spcPct val="0"/>
              </a:spcBef>
              <a:spcAft>
                <a:spcPct val="0"/>
              </a:spcAft>
            </a:pPr>
            <a:fld id="{60C44255-72C3-4776-BF21-57F3BEE3CDFC}" type="datetime'''''''''3'',''''4''''89'''''''''''''''''''''''''''''''''''''''">
              <a:rPr lang="en-US" altLang="en-US" sz="1000" smtClean="0">
                <a:solidFill>
                  <a:schemeClr val="bg1"/>
                </a:solidFill>
                <a:effectLst/>
              </a:rPr>
              <a:pPr algn="ctr">
                <a:lnSpc>
                  <a:spcPct val="90000"/>
                </a:lnSpc>
                <a:spcBef>
                  <a:spcPct val="0"/>
                </a:spcBef>
                <a:spcAft>
                  <a:spcPct val="0"/>
                </a:spcAft>
              </a:pPr>
              <a:t>3,489</a:t>
            </a:fld>
            <a:endParaRPr lang="en-US" sz="1000">
              <a:solidFill>
                <a:schemeClr val="bg1"/>
              </a:solidFill>
            </a:endParaRPr>
          </a:p>
        </p:txBody>
      </p:sp>
      <p:sp>
        <p:nvSpPr>
          <p:cNvPr id="4854" name="Rectangle 4853">
            <a:extLst>
              <a:ext uri="{FF2B5EF4-FFF2-40B4-BE49-F238E27FC236}">
                <a16:creationId xmlns:a16="http://schemas.microsoft.com/office/drawing/2014/main" id="{012790C9-79D8-5BAC-81F1-2B3F0336904B}"/>
              </a:ext>
            </a:extLst>
          </p:cNvPr>
          <p:cNvSpPr/>
          <p:nvPr>
            <p:custDataLst>
              <p:tags r:id="rId47"/>
            </p:custDataLst>
          </p:nvPr>
        </p:nvSpPr>
        <p:spPr bwMode="gray">
          <a:xfrm>
            <a:off x="2779713" y="5133975"/>
            <a:ext cx="385763" cy="136525"/>
          </a:xfrm>
          <a:prstGeom prst="rect">
            <a:avLst/>
          </a:prstGeom>
          <a:solidFill>
            <a:schemeClr val="accent2"/>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ctr"/>
          <a:lstStyle/>
          <a:p>
            <a:pPr algn="ctr">
              <a:lnSpc>
                <a:spcPct val="90000"/>
              </a:lnSpc>
              <a:spcBef>
                <a:spcPct val="0"/>
              </a:spcBef>
              <a:spcAft>
                <a:spcPct val="0"/>
              </a:spcAft>
            </a:pPr>
            <a:fld id="{1F9D5EE8-1684-4CEE-AAA5-A40AEC53011A}" type="datetime'''''4'''''',''5''''''''0''''''''''''''''''0'''''''''''''''''">
              <a:rPr lang="en-US" altLang="en-US" sz="1000" smtClean="0">
                <a:solidFill>
                  <a:schemeClr val="tx1"/>
                </a:solidFill>
                <a:effectLst/>
              </a:rPr>
              <a:pPr algn="ctr">
                <a:lnSpc>
                  <a:spcPct val="90000"/>
                </a:lnSpc>
                <a:spcBef>
                  <a:spcPct val="0"/>
                </a:spcBef>
                <a:spcAft>
                  <a:spcPct val="0"/>
                </a:spcAft>
              </a:pPr>
              <a:t>4,500</a:t>
            </a:fld>
            <a:endParaRPr lang="en-US" sz="1000">
              <a:solidFill>
                <a:schemeClr val="tx1"/>
              </a:solidFill>
            </a:endParaRPr>
          </a:p>
        </p:txBody>
      </p:sp>
      <mc:AlternateContent xmlns:mc="http://schemas.openxmlformats.org/markup-compatibility/2006" xmlns:p14="http://schemas.microsoft.com/office/powerpoint/2010/main">
        <mc:Choice Requires="p14">
          <p:contentPart p14:bwMode="auto" r:id="rId67">
            <p14:nvContentPartPr>
              <p14:cNvPr id="11" name="Ink 10">
                <a:extLst>
                  <a:ext uri="{FF2B5EF4-FFF2-40B4-BE49-F238E27FC236}">
                    <a16:creationId xmlns:a16="http://schemas.microsoft.com/office/drawing/2014/main" id="{A1717E1F-5CAE-4EB7-079D-DF353316C1AF}"/>
                  </a:ext>
                </a:extLst>
              </p14:cNvPr>
              <p14:cNvContentPartPr/>
              <p14:nvPr/>
            </p14:nvContentPartPr>
            <p14:xfrm>
              <a:off x="-444500" y="6036400"/>
              <a:ext cx="0" cy="360"/>
            </p14:xfrm>
          </p:contentPart>
        </mc:Choice>
        <mc:Fallback xmlns="">
          <p:pic>
            <p:nvPicPr>
              <p:cNvPr id="11" name="Ink 10">
                <a:extLst>
                  <a:ext uri="{FF2B5EF4-FFF2-40B4-BE49-F238E27FC236}">
                    <a16:creationId xmlns:a16="http://schemas.microsoft.com/office/drawing/2014/main" id="{A1717E1F-5CAE-4EB7-079D-DF353316C1AF}"/>
                  </a:ext>
                </a:extLst>
              </p:cNvPr>
              <p:cNvPicPr/>
              <p:nvPr/>
            </p:nvPicPr>
            <p:blipFill>
              <a:blip r:embed="rId98"/>
              <a:stretch>
                <a:fillRect/>
              </a:stretch>
            </p:blipFill>
            <p:spPr>
              <a:xfrm>
                <a:off x="-444500" y="6027400"/>
                <a:ext cx="0" cy="18000"/>
              </a:xfrm>
              <a:prstGeom prst="rect">
                <a:avLst/>
              </a:prstGeom>
            </p:spPr>
          </p:pic>
        </mc:Fallback>
      </mc:AlternateContent>
      <p:graphicFrame>
        <p:nvGraphicFramePr>
          <p:cNvPr id="611" name="Table 610">
            <a:extLst>
              <a:ext uri="{FF2B5EF4-FFF2-40B4-BE49-F238E27FC236}">
                <a16:creationId xmlns:a16="http://schemas.microsoft.com/office/drawing/2014/main" id="{04340CDA-A6B0-3E67-5236-D669C22F6FC1}"/>
              </a:ext>
            </a:extLst>
          </p:cNvPr>
          <p:cNvGraphicFramePr>
            <a:graphicFrameLocks noGrp="1"/>
          </p:cNvGraphicFramePr>
          <p:nvPr>
            <p:extLst>
              <p:ext uri="{D42A27DB-BD31-4B8C-83A1-F6EECF244321}">
                <p14:modId xmlns:p14="http://schemas.microsoft.com/office/powerpoint/2010/main" val="1042196906"/>
              </p:ext>
            </p:extLst>
          </p:nvPr>
        </p:nvGraphicFramePr>
        <p:xfrm>
          <a:off x="102232" y="5836477"/>
          <a:ext cx="9362442" cy="243840"/>
        </p:xfrm>
        <a:graphic>
          <a:graphicData uri="http://schemas.openxmlformats.org/drawingml/2006/table">
            <a:tbl>
              <a:tblPr firstRow="1" bandRow="1">
                <a:tableStyleId>{5C22544A-7EE6-4342-B048-85BDC9FD1C3A}</a:tableStyleId>
              </a:tblPr>
              <a:tblGrid>
                <a:gridCol w="1339115">
                  <a:extLst>
                    <a:ext uri="{9D8B030D-6E8A-4147-A177-3AD203B41FA5}">
                      <a16:colId xmlns:a16="http://schemas.microsoft.com/office/drawing/2014/main" val="2997376671"/>
                    </a:ext>
                  </a:extLst>
                </a:gridCol>
                <a:gridCol w="617179">
                  <a:extLst>
                    <a:ext uri="{9D8B030D-6E8A-4147-A177-3AD203B41FA5}">
                      <a16:colId xmlns:a16="http://schemas.microsoft.com/office/drawing/2014/main" val="1238834530"/>
                    </a:ext>
                  </a:extLst>
                </a:gridCol>
                <a:gridCol w="617179">
                  <a:extLst>
                    <a:ext uri="{9D8B030D-6E8A-4147-A177-3AD203B41FA5}">
                      <a16:colId xmlns:a16="http://schemas.microsoft.com/office/drawing/2014/main" val="3401552384"/>
                    </a:ext>
                  </a:extLst>
                </a:gridCol>
                <a:gridCol w="617179">
                  <a:extLst>
                    <a:ext uri="{9D8B030D-6E8A-4147-A177-3AD203B41FA5}">
                      <a16:colId xmlns:a16="http://schemas.microsoft.com/office/drawing/2014/main" val="2546961156"/>
                    </a:ext>
                  </a:extLst>
                </a:gridCol>
                <a:gridCol w="617179">
                  <a:extLst>
                    <a:ext uri="{9D8B030D-6E8A-4147-A177-3AD203B41FA5}">
                      <a16:colId xmlns:a16="http://schemas.microsoft.com/office/drawing/2014/main" val="880873670"/>
                    </a:ext>
                  </a:extLst>
                </a:gridCol>
                <a:gridCol w="617179">
                  <a:extLst>
                    <a:ext uri="{9D8B030D-6E8A-4147-A177-3AD203B41FA5}">
                      <a16:colId xmlns:a16="http://schemas.microsoft.com/office/drawing/2014/main" val="2540011566"/>
                    </a:ext>
                  </a:extLst>
                </a:gridCol>
                <a:gridCol w="617179">
                  <a:extLst>
                    <a:ext uri="{9D8B030D-6E8A-4147-A177-3AD203B41FA5}">
                      <a16:colId xmlns:a16="http://schemas.microsoft.com/office/drawing/2014/main" val="3595651951"/>
                    </a:ext>
                  </a:extLst>
                </a:gridCol>
                <a:gridCol w="617179">
                  <a:extLst>
                    <a:ext uri="{9D8B030D-6E8A-4147-A177-3AD203B41FA5}">
                      <a16:colId xmlns:a16="http://schemas.microsoft.com/office/drawing/2014/main" val="2172065342"/>
                    </a:ext>
                  </a:extLst>
                </a:gridCol>
                <a:gridCol w="617179">
                  <a:extLst>
                    <a:ext uri="{9D8B030D-6E8A-4147-A177-3AD203B41FA5}">
                      <a16:colId xmlns:a16="http://schemas.microsoft.com/office/drawing/2014/main" val="2884502692"/>
                    </a:ext>
                  </a:extLst>
                </a:gridCol>
                <a:gridCol w="617179">
                  <a:extLst>
                    <a:ext uri="{9D8B030D-6E8A-4147-A177-3AD203B41FA5}">
                      <a16:colId xmlns:a16="http://schemas.microsoft.com/office/drawing/2014/main" val="3644145503"/>
                    </a:ext>
                  </a:extLst>
                </a:gridCol>
                <a:gridCol w="617179">
                  <a:extLst>
                    <a:ext uri="{9D8B030D-6E8A-4147-A177-3AD203B41FA5}">
                      <a16:colId xmlns:a16="http://schemas.microsoft.com/office/drawing/2014/main" val="2896418738"/>
                    </a:ext>
                  </a:extLst>
                </a:gridCol>
                <a:gridCol w="617179">
                  <a:extLst>
                    <a:ext uri="{9D8B030D-6E8A-4147-A177-3AD203B41FA5}">
                      <a16:colId xmlns:a16="http://schemas.microsoft.com/office/drawing/2014/main" val="3153156177"/>
                    </a:ext>
                  </a:extLst>
                </a:gridCol>
                <a:gridCol w="617179">
                  <a:extLst>
                    <a:ext uri="{9D8B030D-6E8A-4147-A177-3AD203B41FA5}">
                      <a16:colId xmlns:a16="http://schemas.microsoft.com/office/drawing/2014/main" val="3492790880"/>
                    </a:ext>
                  </a:extLst>
                </a:gridCol>
                <a:gridCol w="617179">
                  <a:extLst>
                    <a:ext uri="{9D8B030D-6E8A-4147-A177-3AD203B41FA5}">
                      <a16:colId xmlns:a16="http://schemas.microsoft.com/office/drawing/2014/main" val="3455624599"/>
                    </a:ext>
                  </a:extLst>
                </a:gridCol>
              </a:tblGrid>
              <a:tr h="209936">
                <a:tc>
                  <a:txBody>
                    <a:bodyPr/>
                    <a:lstStyle/>
                    <a:p>
                      <a:pPr algn="r"/>
                      <a:r>
                        <a:rPr lang="en-US" sz="1000" b="1" i="0">
                          <a:solidFill>
                            <a:schemeClr val="tx1"/>
                          </a:solidFill>
                          <a:latin typeface="+mn-lt"/>
                        </a:rPr>
                        <a:t>SMB Media $</a:t>
                      </a:r>
                    </a:p>
                  </a:txBody>
                  <a:tcPr anchor="ctr">
                    <a:lnL w="12700" cmpd="sng">
                      <a:noFill/>
                    </a:lnL>
                    <a:lnR w="12700" cmpd="sng">
                      <a:noFill/>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000" b="1" i="0" u="none" strike="noStrike" dirty="0">
                          <a:solidFill>
                            <a:srgbClr val="000000"/>
                          </a:solidFill>
                          <a:effectLst/>
                          <a:latin typeface="+mn-lt"/>
                        </a:rPr>
                        <a:t>$16.2</a:t>
                      </a:r>
                    </a:p>
                  </a:txBody>
                  <a:tcPr marL="7620" marR="7620" marT="7620" marB="0" anchor="ctr">
                    <a:lnL w="12700" cmpd="sng">
                      <a:noFill/>
                    </a:lnL>
                    <a:lnR w="12700" cmpd="sng">
                      <a:noFill/>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000" b="1" i="0" u="none" strike="noStrike" dirty="0">
                          <a:solidFill>
                            <a:srgbClr val="000000"/>
                          </a:solidFill>
                          <a:effectLst/>
                          <a:latin typeface="+mn-lt"/>
                        </a:rPr>
                        <a:t>$14.7</a:t>
                      </a:r>
                    </a:p>
                  </a:txBody>
                  <a:tcPr marL="7620" marR="7620" marT="7620" marB="0" anchor="ctr">
                    <a:lnL w="12700" cmpd="sng">
                      <a:noFill/>
                    </a:lnL>
                    <a:lnR w="12700" cmpd="sng">
                      <a:noFill/>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000" b="1" i="0" u="none" strike="noStrike">
                          <a:solidFill>
                            <a:srgbClr val="000000"/>
                          </a:solidFill>
                          <a:effectLst/>
                          <a:latin typeface="+mn-lt"/>
                        </a:rPr>
                        <a:t>$13.6</a:t>
                      </a:r>
                      <a:endParaRPr lang="en-US" sz="1000" b="1" i="0" u="none" strike="noStrike" dirty="0">
                        <a:solidFill>
                          <a:srgbClr val="000000"/>
                        </a:solidFill>
                        <a:effectLst/>
                        <a:latin typeface="+mn-lt"/>
                      </a:endParaRPr>
                    </a:p>
                  </a:txBody>
                  <a:tcPr marL="7620" marR="7620" marT="7620" marB="0" anchor="ctr">
                    <a:lnL w="12700" cmpd="sng">
                      <a:noFill/>
                    </a:lnL>
                    <a:lnR w="12700" cmpd="sng">
                      <a:noFill/>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000" b="1" i="0" u="none" strike="noStrike">
                          <a:solidFill>
                            <a:srgbClr val="000000"/>
                          </a:solidFill>
                          <a:effectLst/>
                          <a:latin typeface="+mn-lt"/>
                        </a:rPr>
                        <a:t>$13.7</a:t>
                      </a:r>
                    </a:p>
                  </a:txBody>
                  <a:tcPr marL="7620" marR="7620" marT="7620" marB="0" anchor="ctr">
                    <a:lnL w="12700" cmpd="sng">
                      <a:noFill/>
                    </a:lnL>
                    <a:lnR w="12700" cmpd="sng">
                      <a:noFill/>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000" b="1" i="0" u="none" strike="noStrike" dirty="0">
                          <a:solidFill>
                            <a:srgbClr val="000000"/>
                          </a:solidFill>
                          <a:effectLst/>
                          <a:latin typeface="+mn-lt"/>
                        </a:rPr>
                        <a:t>$14.1</a:t>
                      </a:r>
                    </a:p>
                  </a:txBody>
                  <a:tcPr marL="7620" marR="7620" marT="7620" marB="0" anchor="ctr">
                    <a:lnL w="12700" cmpd="sng">
                      <a:noFill/>
                    </a:lnL>
                    <a:lnR w="12700" cmpd="sng">
                      <a:noFill/>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000" b="1" i="0" u="none" strike="noStrike">
                          <a:solidFill>
                            <a:srgbClr val="000000"/>
                          </a:solidFill>
                          <a:effectLst/>
                          <a:latin typeface="+mn-lt"/>
                        </a:rPr>
                        <a:t>$14.6</a:t>
                      </a:r>
                      <a:endParaRPr lang="en-US" sz="1000" b="1" i="0" u="none" strike="noStrike" dirty="0">
                        <a:solidFill>
                          <a:srgbClr val="000000"/>
                        </a:solidFill>
                        <a:effectLst/>
                        <a:latin typeface="+mn-lt"/>
                      </a:endParaRPr>
                    </a:p>
                  </a:txBody>
                  <a:tcPr marL="7620" marR="7620" marT="7620" marB="0" anchor="ctr">
                    <a:lnL w="12700" cmpd="sng">
                      <a:noFill/>
                    </a:lnL>
                    <a:lnR w="12700" cmpd="sng">
                      <a:noFill/>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000" b="1" i="0" u="none" strike="noStrike" dirty="0">
                          <a:solidFill>
                            <a:srgbClr val="000000"/>
                          </a:solidFill>
                          <a:effectLst/>
                          <a:latin typeface="+mn-lt"/>
                        </a:rPr>
                        <a:t>$14.2</a:t>
                      </a:r>
                    </a:p>
                  </a:txBody>
                  <a:tcPr marL="7620" marR="7620" marT="7620" marB="0" anchor="ctr">
                    <a:lnL w="12700" cmpd="sng">
                      <a:noFill/>
                    </a:lnL>
                    <a:lnR w="12700" cmpd="sng">
                      <a:noFill/>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000" b="1" i="0" u="none" strike="noStrike">
                          <a:solidFill>
                            <a:srgbClr val="000000"/>
                          </a:solidFill>
                          <a:effectLst/>
                          <a:latin typeface="+mn-lt"/>
                        </a:rPr>
                        <a:t>$14.3</a:t>
                      </a:r>
                    </a:p>
                  </a:txBody>
                  <a:tcPr marL="7620" marR="7620" marT="7620" marB="0" anchor="ctr">
                    <a:lnL w="12700" cmpd="sng">
                      <a:noFill/>
                    </a:lnL>
                    <a:lnR w="12700" cmpd="sng">
                      <a:noFill/>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000" b="1" i="0" u="none" strike="noStrike" dirty="0">
                          <a:solidFill>
                            <a:srgbClr val="000000"/>
                          </a:solidFill>
                          <a:effectLst/>
                          <a:latin typeface="+mn-lt"/>
                        </a:rPr>
                        <a:t>$13.3</a:t>
                      </a:r>
                    </a:p>
                  </a:txBody>
                  <a:tcPr marL="7620" marR="7620" marT="7620" marB="0" anchor="ctr">
                    <a:lnL w="12700" cmpd="sng">
                      <a:noFill/>
                    </a:lnL>
                    <a:lnR w="12700" cmpd="sng">
                      <a:noFill/>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000" b="1" i="0" u="none" strike="noStrike" dirty="0">
                          <a:solidFill>
                            <a:schemeClr val="accent6">
                              <a:lumMod val="10000"/>
                            </a:schemeClr>
                          </a:solidFill>
                          <a:effectLst/>
                          <a:latin typeface="+mn-lt"/>
                        </a:rPr>
                        <a:t>$16.3</a:t>
                      </a:r>
                    </a:p>
                  </a:txBody>
                  <a:tcPr marL="7620" marR="7620" marT="7620" marB="0" anchor="ctr">
                    <a:lnL w="12700" cmpd="sng">
                      <a:noFill/>
                    </a:lnL>
                    <a:lnR w="12700" cmpd="sng">
                      <a:noFill/>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000" b="1" i="0" u="none" strike="noStrike" dirty="0">
                          <a:solidFill>
                            <a:schemeClr val="tx1"/>
                          </a:solidFill>
                          <a:effectLst/>
                          <a:latin typeface="+mn-lt"/>
                        </a:rPr>
                        <a:t>$12.5</a:t>
                      </a:r>
                    </a:p>
                  </a:txBody>
                  <a:tcPr marL="7620" marR="7620" marT="7620" marB="0" anchor="ctr">
                    <a:lnL w="12700" cmpd="sng">
                      <a:noFill/>
                    </a:lnL>
                    <a:lnR w="12700" cmpd="sng">
                      <a:noFill/>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000" b="1" i="0" u="none" strike="noStrike" dirty="0">
                          <a:solidFill>
                            <a:schemeClr val="tx1"/>
                          </a:solidFill>
                          <a:effectLst/>
                          <a:latin typeface="+mn-lt"/>
                        </a:rPr>
                        <a:t>$14.4</a:t>
                      </a:r>
                    </a:p>
                  </a:txBody>
                  <a:tcPr marL="7620" marR="7620" marT="7620" marB="0" anchor="ctr">
                    <a:lnL w="12700" cmpd="sng">
                      <a:noFill/>
                    </a:lnL>
                    <a:lnR w="12700" cmpd="sng">
                      <a:noFill/>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000" b="1" i="0" u="none" strike="noStrike" dirty="0">
                          <a:solidFill>
                            <a:schemeClr val="tx1"/>
                          </a:solidFill>
                          <a:effectLst/>
                          <a:latin typeface="+mn-lt"/>
                        </a:rPr>
                        <a:t>$$$</a:t>
                      </a:r>
                    </a:p>
                  </a:txBody>
                  <a:tcPr marL="7620" marR="7620" marT="7620" marB="0" anchor="ctr">
                    <a:lnL w="12700" cmpd="sng">
                      <a:noFill/>
                    </a:lnL>
                    <a:lnR w="12700" cmpd="sng">
                      <a:noFill/>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98858647"/>
                  </a:ext>
                </a:extLst>
              </a:tr>
            </a:tbl>
          </a:graphicData>
        </a:graphic>
      </p:graphicFrame>
      <p:sp>
        <p:nvSpPr>
          <p:cNvPr id="798" name="TextBox 797">
            <a:extLst>
              <a:ext uri="{FF2B5EF4-FFF2-40B4-BE49-F238E27FC236}">
                <a16:creationId xmlns:a16="http://schemas.microsoft.com/office/drawing/2014/main" id="{8744D80D-DFDD-007E-4E53-B34791B480A8}"/>
              </a:ext>
            </a:extLst>
          </p:cNvPr>
          <p:cNvSpPr txBox="1"/>
          <p:nvPr/>
        </p:nvSpPr>
        <p:spPr>
          <a:xfrm>
            <a:off x="365125" y="1605127"/>
            <a:ext cx="1081631" cy="261466"/>
          </a:xfrm>
          <a:prstGeom prst="rect">
            <a:avLst/>
          </a:prstGeom>
          <a:noFill/>
        </p:spPr>
        <p:txBody>
          <a:bodyPr wrap="square" lIns="0" tIns="0" rIns="0" bIns="0" rtlCol="0">
            <a:noAutofit/>
          </a:bodyPr>
          <a:lstStyle/>
          <a:p>
            <a:pPr algn="r"/>
            <a:r>
              <a:rPr lang="en-US" sz="900" b="1"/>
              <a:t>Eng. Visit Rate (Excl. Display)</a:t>
            </a:r>
          </a:p>
        </p:txBody>
      </p:sp>
      <p:sp>
        <p:nvSpPr>
          <p:cNvPr id="799" name="TextBox 798">
            <a:extLst>
              <a:ext uri="{FF2B5EF4-FFF2-40B4-BE49-F238E27FC236}">
                <a16:creationId xmlns:a16="http://schemas.microsoft.com/office/drawing/2014/main" id="{2634EC4E-1D1D-ECAB-E1B4-FB4A91FD329A}"/>
              </a:ext>
            </a:extLst>
          </p:cNvPr>
          <p:cNvSpPr txBox="1"/>
          <p:nvPr/>
        </p:nvSpPr>
        <p:spPr>
          <a:xfrm>
            <a:off x="365125" y="2391111"/>
            <a:ext cx="1081631" cy="261466"/>
          </a:xfrm>
          <a:prstGeom prst="rect">
            <a:avLst/>
          </a:prstGeom>
          <a:noFill/>
        </p:spPr>
        <p:txBody>
          <a:bodyPr wrap="square" lIns="0" tIns="0" rIns="0" bIns="0" rtlCol="0">
            <a:noAutofit/>
          </a:bodyPr>
          <a:lstStyle/>
          <a:p>
            <a:pPr algn="r"/>
            <a:r>
              <a:rPr lang="en-US" sz="900" b="1"/>
              <a:t>Eng. Visit Rate</a:t>
            </a:r>
          </a:p>
        </p:txBody>
      </p:sp>
      <p:sp>
        <p:nvSpPr>
          <p:cNvPr id="1489" name="TextBox 1488">
            <a:extLst>
              <a:ext uri="{FF2B5EF4-FFF2-40B4-BE49-F238E27FC236}">
                <a16:creationId xmlns:a16="http://schemas.microsoft.com/office/drawing/2014/main" id="{53011F2B-6AFF-EB92-6A9A-89798C71F726}"/>
              </a:ext>
            </a:extLst>
          </p:cNvPr>
          <p:cNvSpPr txBox="1"/>
          <p:nvPr/>
        </p:nvSpPr>
        <p:spPr>
          <a:xfrm>
            <a:off x="748108" y="3429000"/>
            <a:ext cx="701676" cy="158280"/>
          </a:xfrm>
          <a:prstGeom prst="rect">
            <a:avLst/>
          </a:prstGeom>
          <a:noFill/>
        </p:spPr>
        <p:txBody>
          <a:bodyPr wrap="square" lIns="0" tIns="0" rIns="0" bIns="0" rtlCol="0">
            <a:noAutofit/>
          </a:bodyPr>
          <a:lstStyle/>
          <a:p>
            <a:pPr algn="r"/>
            <a:r>
              <a:rPr lang="en-US" sz="900" b="1" dirty="0"/>
              <a:t>Eng. Traffic</a:t>
            </a:r>
          </a:p>
        </p:txBody>
      </p:sp>
      <p:sp>
        <p:nvSpPr>
          <p:cNvPr id="1497" name="TextBox 1496">
            <a:extLst>
              <a:ext uri="{FF2B5EF4-FFF2-40B4-BE49-F238E27FC236}">
                <a16:creationId xmlns:a16="http://schemas.microsoft.com/office/drawing/2014/main" id="{D0BDB443-A359-A511-E96C-B94ABC7946D7}"/>
              </a:ext>
            </a:extLst>
          </p:cNvPr>
          <p:cNvSpPr txBox="1"/>
          <p:nvPr/>
        </p:nvSpPr>
        <p:spPr>
          <a:xfrm>
            <a:off x="463549" y="6283325"/>
            <a:ext cx="2414590" cy="195261"/>
          </a:xfrm>
          <a:prstGeom prst="rect">
            <a:avLst/>
          </a:prstGeom>
          <a:noFill/>
        </p:spPr>
        <p:txBody>
          <a:bodyPr wrap="square" lIns="0" tIns="0" rIns="0" bIns="0" rtlCol="0">
            <a:noAutofit/>
          </a:bodyPr>
          <a:lstStyle/>
          <a:p>
            <a:pPr algn="l"/>
            <a:r>
              <a:rPr lang="en-US" sz="800"/>
              <a:t>Data Source: CBMA Weekly Leads Summary</a:t>
            </a:r>
          </a:p>
        </p:txBody>
      </p:sp>
      <p:sp>
        <p:nvSpPr>
          <p:cNvPr id="3444" name="Rectangle 3443">
            <a:extLst>
              <a:ext uri="{FF2B5EF4-FFF2-40B4-BE49-F238E27FC236}">
                <a16:creationId xmlns:a16="http://schemas.microsoft.com/office/drawing/2014/main" id="{A17A47E1-FCA5-115D-008D-EB68A5CC12E6}"/>
              </a:ext>
            </a:extLst>
          </p:cNvPr>
          <p:cNvSpPr/>
          <p:nvPr>
            <p:custDataLst>
              <p:tags r:id="rId48"/>
            </p:custDataLst>
          </p:nvPr>
        </p:nvSpPr>
        <p:spPr bwMode="auto">
          <a:xfrm>
            <a:off x="215900" y="4249738"/>
            <a:ext cx="160338" cy="120650"/>
          </a:xfrm>
          <a:prstGeom prst="rect">
            <a:avLst/>
          </a:prstGeom>
          <a:solidFill>
            <a:schemeClr val="accent1"/>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45" name="Rectangle 3444">
            <a:extLst>
              <a:ext uri="{FF2B5EF4-FFF2-40B4-BE49-F238E27FC236}">
                <a16:creationId xmlns:a16="http://schemas.microsoft.com/office/drawing/2014/main" id="{9828FAE8-B180-596F-DFE4-98410152D281}"/>
              </a:ext>
            </a:extLst>
          </p:cNvPr>
          <p:cNvSpPr/>
          <p:nvPr>
            <p:custDataLst>
              <p:tags r:id="rId49"/>
            </p:custDataLst>
          </p:nvPr>
        </p:nvSpPr>
        <p:spPr bwMode="auto">
          <a:xfrm>
            <a:off x="215900" y="4437063"/>
            <a:ext cx="160338" cy="120650"/>
          </a:xfrm>
          <a:prstGeom prst="rect">
            <a:avLst/>
          </a:prstGeom>
          <a:solidFill>
            <a:schemeClr val="accent6"/>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46" name="Rectangle 3445">
            <a:extLst>
              <a:ext uri="{FF2B5EF4-FFF2-40B4-BE49-F238E27FC236}">
                <a16:creationId xmlns:a16="http://schemas.microsoft.com/office/drawing/2014/main" id="{DA971673-3D98-A560-416D-647091A3B647}"/>
              </a:ext>
            </a:extLst>
          </p:cNvPr>
          <p:cNvSpPr/>
          <p:nvPr>
            <p:custDataLst>
              <p:tags r:id="rId50"/>
            </p:custDataLst>
          </p:nvPr>
        </p:nvSpPr>
        <p:spPr bwMode="auto">
          <a:xfrm>
            <a:off x="215900" y="4624388"/>
            <a:ext cx="160338" cy="120650"/>
          </a:xfrm>
          <a:prstGeom prst="rect">
            <a:avLst/>
          </a:prstGeom>
          <a:solidFill>
            <a:schemeClr val="accent5"/>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47" name="Rectangle 3446">
            <a:extLst>
              <a:ext uri="{FF2B5EF4-FFF2-40B4-BE49-F238E27FC236}">
                <a16:creationId xmlns:a16="http://schemas.microsoft.com/office/drawing/2014/main" id="{8C213DD1-D437-CB48-68F1-09C5146A85D8}"/>
              </a:ext>
            </a:extLst>
          </p:cNvPr>
          <p:cNvSpPr/>
          <p:nvPr>
            <p:custDataLst>
              <p:tags r:id="rId51"/>
            </p:custDataLst>
          </p:nvPr>
        </p:nvSpPr>
        <p:spPr bwMode="auto">
          <a:xfrm>
            <a:off x="215900" y="4811713"/>
            <a:ext cx="160338" cy="120650"/>
          </a:xfrm>
          <a:prstGeom prst="rect">
            <a:avLst/>
          </a:prstGeom>
          <a:solidFill>
            <a:schemeClr val="accent4"/>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48" name="Rectangle 3447">
            <a:extLst>
              <a:ext uri="{FF2B5EF4-FFF2-40B4-BE49-F238E27FC236}">
                <a16:creationId xmlns:a16="http://schemas.microsoft.com/office/drawing/2014/main" id="{731C1D07-E797-7155-5A2B-1D9B06AC774B}"/>
              </a:ext>
            </a:extLst>
          </p:cNvPr>
          <p:cNvSpPr/>
          <p:nvPr>
            <p:custDataLst>
              <p:tags r:id="rId52"/>
            </p:custDataLst>
          </p:nvPr>
        </p:nvSpPr>
        <p:spPr bwMode="auto">
          <a:xfrm>
            <a:off x="215900" y="4999038"/>
            <a:ext cx="160338" cy="120650"/>
          </a:xfrm>
          <a:prstGeom prst="rect">
            <a:avLst/>
          </a:prstGeom>
          <a:solidFill>
            <a:schemeClr val="accent3"/>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49" name="Rectangle 3448">
            <a:extLst>
              <a:ext uri="{FF2B5EF4-FFF2-40B4-BE49-F238E27FC236}">
                <a16:creationId xmlns:a16="http://schemas.microsoft.com/office/drawing/2014/main" id="{2EAC46D0-8896-22B3-B297-7EE718FE3D33}"/>
              </a:ext>
            </a:extLst>
          </p:cNvPr>
          <p:cNvSpPr/>
          <p:nvPr>
            <p:custDataLst>
              <p:tags r:id="rId53"/>
            </p:custDataLst>
          </p:nvPr>
        </p:nvSpPr>
        <p:spPr bwMode="auto">
          <a:xfrm>
            <a:off x="215900" y="5186363"/>
            <a:ext cx="160338" cy="120650"/>
          </a:xfrm>
          <a:prstGeom prst="rect">
            <a:avLst/>
          </a:prstGeom>
          <a:solidFill>
            <a:schemeClr val="accent2"/>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50" name="Rectangle 3449">
            <a:extLst>
              <a:ext uri="{FF2B5EF4-FFF2-40B4-BE49-F238E27FC236}">
                <a16:creationId xmlns:a16="http://schemas.microsoft.com/office/drawing/2014/main" id="{C1CA1CEC-CF5D-D43A-A4E4-750EE823C4AF}"/>
              </a:ext>
            </a:extLst>
          </p:cNvPr>
          <p:cNvSpPr/>
          <p:nvPr>
            <p:custDataLst>
              <p:tags r:id="rId54"/>
            </p:custDataLst>
          </p:nvPr>
        </p:nvSpPr>
        <p:spPr bwMode="auto">
          <a:xfrm>
            <a:off x="215900" y="5373688"/>
            <a:ext cx="160338" cy="120650"/>
          </a:xfrm>
          <a:prstGeom prst="rect">
            <a:avLst/>
          </a:prstGeom>
          <a:solidFill>
            <a:srgbClr val="4C6C9C"/>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63" name="Rectangle 3062">
            <a:extLst>
              <a:ext uri="{FF2B5EF4-FFF2-40B4-BE49-F238E27FC236}">
                <a16:creationId xmlns:a16="http://schemas.microsoft.com/office/drawing/2014/main" id="{F77FE5D2-3C50-9073-CE63-2CC6B5E638BC}"/>
              </a:ext>
            </a:extLst>
          </p:cNvPr>
          <p:cNvSpPr/>
          <p:nvPr>
            <p:custDataLst>
              <p:tags r:id="rId55"/>
            </p:custDataLst>
          </p:nvPr>
        </p:nvSpPr>
        <p:spPr bwMode="auto">
          <a:xfrm>
            <a:off x="427038" y="4246563"/>
            <a:ext cx="458788"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A9D6659C-9229-459D-88AA-6E74B37703BB}" type="datetime'''''O''rg''a''n''i''''''''''''c'''''''">
              <a:rPr lang="en-US" altLang="en-US" sz="900" smtClean="0">
                <a:solidFill>
                  <a:schemeClr val="tx1"/>
                </a:solidFill>
              </a:rPr>
              <a:pPr>
                <a:spcBef>
                  <a:spcPct val="0"/>
                </a:spcBef>
                <a:spcAft>
                  <a:spcPct val="0"/>
                </a:spcAft>
              </a:pPr>
              <a:t>Organic</a:t>
            </a:fld>
            <a:endParaRPr lang="en-US" sz="900">
              <a:solidFill>
                <a:schemeClr val="tx1"/>
              </a:solidFill>
            </a:endParaRPr>
          </a:p>
        </p:txBody>
      </p:sp>
      <p:sp>
        <p:nvSpPr>
          <p:cNvPr id="3064" name="Rectangle 3063">
            <a:extLst>
              <a:ext uri="{FF2B5EF4-FFF2-40B4-BE49-F238E27FC236}">
                <a16:creationId xmlns:a16="http://schemas.microsoft.com/office/drawing/2014/main" id="{18058117-097A-49B1-B084-BE06FAE90013}"/>
              </a:ext>
            </a:extLst>
          </p:cNvPr>
          <p:cNvSpPr/>
          <p:nvPr>
            <p:custDataLst>
              <p:tags r:id="rId56"/>
            </p:custDataLst>
          </p:nvPr>
        </p:nvSpPr>
        <p:spPr bwMode="auto">
          <a:xfrm>
            <a:off x="427038" y="4433888"/>
            <a:ext cx="681038"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125BEE80-AA22-42DC-BF6B-E2363CAFA912}" type="datetime'''P''''a''i''''''d'''' ''S''''e''a''''''''''''r''''c''''h'''">
              <a:rPr lang="en-US" altLang="en-US" sz="900" smtClean="0">
                <a:solidFill>
                  <a:schemeClr val="tx1"/>
                </a:solidFill>
              </a:rPr>
              <a:pPr>
                <a:spcBef>
                  <a:spcPct val="0"/>
                </a:spcBef>
                <a:spcAft>
                  <a:spcPct val="0"/>
                </a:spcAft>
              </a:pPr>
              <a:t>Paid Search</a:t>
            </a:fld>
            <a:endParaRPr lang="en-US" sz="900">
              <a:solidFill>
                <a:schemeClr val="tx1"/>
              </a:solidFill>
            </a:endParaRPr>
          </a:p>
        </p:txBody>
      </p:sp>
      <p:sp>
        <p:nvSpPr>
          <p:cNvPr id="3065" name="Rectangle 3064">
            <a:extLst>
              <a:ext uri="{FF2B5EF4-FFF2-40B4-BE49-F238E27FC236}">
                <a16:creationId xmlns:a16="http://schemas.microsoft.com/office/drawing/2014/main" id="{812CF267-7D08-6042-0CA3-D0C81DB8291B}"/>
              </a:ext>
            </a:extLst>
          </p:cNvPr>
          <p:cNvSpPr/>
          <p:nvPr>
            <p:custDataLst>
              <p:tags r:id="rId57"/>
            </p:custDataLst>
          </p:nvPr>
        </p:nvSpPr>
        <p:spPr bwMode="auto">
          <a:xfrm>
            <a:off x="427038" y="4621213"/>
            <a:ext cx="34925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F911ACC3-A460-4309-B6B3-805AC3341D94}" type="datetime'''''''''''''''D''''''''ir''''''e''''c''''''''''''t'''''''''">
              <a:rPr lang="en-US" altLang="en-US" sz="900" smtClean="0">
                <a:solidFill>
                  <a:schemeClr val="tx1"/>
                </a:solidFill>
              </a:rPr>
              <a:pPr>
                <a:spcBef>
                  <a:spcPct val="0"/>
                </a:spcBef>
                <a:spcAft>
                  <a:spcPct val="0"/>
                </a:spcAft>
              </a:pPr>
              <a:t>Direct</a:t>
            </a:fld>
            <a:endParaRPr lang="en-US" sz="900">
              <a:solidFill>
                <a:schemeClr val="tx1"/>
              </a:solidFill>
            </a:endParaRPr>
          </a:p>
        </p:txBody>
      </p:sp>
      <p:sp>
        <p:nvSpPr>
          <p:cNvPr id="3066" name="Rectangle 3065">
            <a:extLst>
              <a:ext uri="{FF2B5EF4-FFF2-40B4-BE49-F238E27FC236}">
                <a16:creationId xmlns:a16="http://schemas.microsoft.com/office/drawing/2014/main" id="{43C6B206-FFEE-FA56-745D-3AAFFB74B71B}"/>
              </a:ext>
            </a:extLst>
          </p:cNvPr>
          <p:cNvSpPr/>
          <p:nvPr>
            <p:custDataLst>
              <p:tags r:id="rId58"/>
            </p:custDataLst>
          </p:nvPr>
        </p:nvSpPr>
        <p:spPr bwMode="auto">
          <a:xfrm>
            <a:off x="427038" y="4808538"/>
            <a:ext cx="358775"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F36E21D6-8BD1-4A25-87C4-567402C2BD54}" type="datetime'''''''X''''''''''''f''''in''''''''i''''t''''''''''y'">
              <a:rPr lang="en-US" altLang="en-US" sz="900" smtClean="0">
                <a:solidFill>
                  <a:schemeClr val="tx1"/>
                </a:solidFill>
              </a:rPr>
              <a:pPr>
                <a:spcBef>
                  <a:spcPct val="0"/>
                </a:spcBef>
                <a:spcAft>
                  <a:spcPct val="0"/>
                </a:spcAft>
              </a:pPr>
              <a:t>Xfinity</a:t>
            </a:fld>
            <a:endParaRPr lang="en-US" sz="900">
              <a:solidFill>
                <a:schemeClr val="tx1"/>
              </a:solidFill>
            </a:endParaRPr>
          </a:p>
        </p:txBody>
      </p:sp>
      <p:sp>
        <p:nvSpPr>
          <p:cNvPr id="3067" name="Rectangle 3066">
            <a:extLst>
              <a:ext uri="{FF2B5EF4-FFF2-40B4-BE49-F238E27FC236}">
                <a16:creationId xmlns:a16="http://schemas.microsoft.com/office/drawing/2014/main" id="{C66FD117-A3C7-5E04-E931-FEE96646F9E5}"/>
              </a:ext>
            </a:extLst>
          </p:cNvPr>
          <p:cNvSpPr/>
          <p:nvPr>
            <p:custDataLst>
              <p:tags r:id="rId59"/>
            </p:custDataLst>
          </p:nvPr>
        </p:nvSpPr>
        <p:spPr bwMode="auto">
          <a:xfrm>
            <a:off x="427038" y="4995863"/>
            <a:ext cx="32385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FA142223-56E4-4C51-AEEE-774A60445AC0}" type="datetime'''''''''''''E''''''''''''''''''ma''''''''''''''''''''''il'''''">
              <a:rPr lang="en-US" altLang="en-US" sz="900" smtClean="0">
                <a:solidFill>
                  <a:schemeClr val="tx1"/>
                </a:solidFill>
              </a:rPr>
              <a:pPr>
                <a:spcBef>
                  <a:spcPct val="0"/>
                </a:spcBef>
                <a:spcAft>
                  <a:spcPct val="0"/>
                </a:spcAft>
              </a:pPr>
              <a:t>Email</a:t>
            </a:fld>
            <a:endParaRPr lang="en-US" sz="900">
              <a:solidFill>
                <a:schemeClr val="tx1"/>
              </a:solidFill>
            </a:endParaRPr>
          </a:p>
        </p:txBody>
      </p:sp>
      <p:sp>
        <p:nvSpPr>
          <p:cNvPr id="3068" name="Rectangle 3067">
            <a:extLst>
              <a:ext uri="{FF2B5EF4-FFF2-40B4-BE49-F238E27FC236}">
                <a16:creationId xmlns:a16="http://schemas.microsoft.com/office/drawing/2014/main" id="{3C17472B-8DC7-C77C-F043-8F8E7C288583}"/>
              </a:ext>
            </a:extLst>
          </p:cNvPr>
          <p:cNvSpPr/>
          <p:nvPr>
            <p:custDataLst>
              <p:tags r:id="rId60"/>
            </p:custDataLst>
          </p:nvPr>
        </p:nvSpPr>
        <p:spPr bwMode="auto">
          <a:xfrm>
            <a:off x="427038" y="5183188"/>
            <a:ext cx="415925"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70550C95-4BC1-409F-BCB1-A2E514010746}" type="datetime'D''''''''''''''''''''''i''s''''''p''''''''''''l''''a''y'">
              <a:rPr lang="en-US" altLang="en-US" sz="900" smtClean="0">
                <a:solidFill>
                  <a:schemeClr val="tx1"/>
                </a:solidFill>
              </a:rPr>
              <a:pPr>
                <a:spcBef>
                  <a:spcPct val="0"/>
                </a:spcBef>
                <a:spcAft>
                  <a:spcPct val="0"/>
                </a:spcAft>
              </a:pPr>
              <a:t>Display</a:t>
            </a:fld>
            <a:endParaRPr lang="en-US" sz="900">
              <a:solidFill>
                <a:schemeClr val="tx1"/>
              </a:solidFill>
            </a:endParaRPr>
          </a:p>
        </p:txBody>
      </p:sp>
      <p:sp>
        <p:nvSpPr>
          <p:cNvPr id="3069" name="Rectangle 3068">
            <a:extLst>
              <a:ext uri="{FF2B5EF4-FFF2-40B4-BE49-F238E27FC236}">
                <a16:creationId xmlns:a16="http://schemas.microsoft.com/office/drawing/2014/main" id="{660ECA94-92E1-F2BC-2253-6FD7F137A4CE}"/>
              </a:ext>
            </a:extLst>
          </p:cNvPr>
          <p:cNvSpPr/>
          <p:nvPr>
            <p:custDataLst>
              <p:tags r:id="rId61"/>
            </p:custDataLst>
          </p:nvPr>
        </p:nvSpPr>
        <p:spPr bwMode="auto">
          <a:xfrm>
            <a:off x="427038" y="5370513"/>
            <a:ext cx="701675"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C090C7BB-EE09-464C-8958-BF7166D8D0C5}" type="datetime'O''''th''''er T''''''''ac''''''ti''c'''''''''''''''''''''''''">
              <a:rPr lang="en-US" altLang="en-US" sz="900" smtClean="0">
                <a:solidFill>
                  <a:schemeClr val="tx1"/>
                </a:solidFill>
              </a:rPr>
              <a:pPr>
                <a:spcBef>
                  <a:spcPct val="0"/>
                </a:spcBef>
                <a:spcAft>
                  <a:spcPct val="0"/>
                </a:spcAft>
              </a:pPr>
              <a:t>Other Tactic</a:t>
            </a:fld>
            <a:endParaRPr lang="en-US" sz="900">
              <a:solidFill>
                <a:schemeClr val="tx1"/>
              </a:solidFill>
            </a:endParaRPr>
          </a:p>
        </p:txBody>
      </p:sp>
      <p:sp>
        <p:nvSpPr>
          <p:cNvPr id="10" name="Text Placeholder 3">
            <a:extLst>
              <a:ext uri="{FF2B5EF4-FFF2-40B4-BE49-F238E27FC236}">
                <a16:creationId xmlns:a16="http://schemas.microsoft.com/office/drawing/2014/main" id="{35C90F1C-17BB-74FC-143E-A4C0E5B4E164}"/>
              </a:ext>
            </a:extLst>
          </p:cNvPr>
          <p:cNvSpPr>
            <a:spLocks noGrp="1"/>
          </p:cNvSpPr>
          <p:nvPr>
            <p:ph type="body" sz="quarter" idx="25"/>
          </p:nvPr>
        </p:nvSpPr>
        <p:spPr>
          <a:xfrm>
            <a:off x="463548" y="255612"/>
            <a:ext cx="11271251" cy="201168"/>
          </a:xfrm>
        </p:spPr>
        <p:txBody>
          <a:bodyPr/>
          <a:lstStyle/>
          <a:p>
            <a:r>
              <a:rPr lang="en-US" dirty="0"/>
              <a:t>CB Site Performance</a:t>
            </a:r>
          </a:p>
        </p:txBody>
      </p:sp>
      <p:sp>
        <p:nvSpPr>
          <p:cNvPr id="59" name="Rectangle 58">
            <a:extLst>
              <a:ext uri="{FF2B5EF4-FFF2-40B4-BE49-F238E27FC236}">
                <a16:creationId xmlns:a16="http://schemas.microsoft.com/office/drawing/2014/main" id="{9FA91BC3-B8DF-075E-1400-EB82D1659767}"/>
              </a:ext>
            </a:extLst>
          </p:cNvPr>
          <p:cNvSpPr/>
          <p:nvPr/>
        </p:nvSpPr>
        <p:spPr>
          <a:xfrm>
            <a:off x="9617869" y="2615234"/>
            <a:ext cx="2236788" cy="685800"/>
          </a:xfrm>
          <a:prstGeom prst="rect">
            <a:avLst/>
          </a:prstGeom>
          <a:solidFill>
            <a:schemeClr val="bg2"/>
          </a:solidFill>
          <a:ln w="9525">
            <a:solidFill>
              <a:schemeClr val="bg2">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050" b="1">
                <a:solidFill>
                  <a:schemeClr val="tx1"/>
                </a:solidFill>
              </a:rPr>
              <a:t>vs. BUD</a:t>
            </a:r>
          </a:p>
        </p:txBody>
      </p:sp>
      <p:grpSp>
        <p:nvGrpSpPr>
          <p:cNvPr id="60" name="Group 59">
            <a:extLst>
              <a:ext uri="{FF2B5EF4-FFF2-40B4-BE49-F238E27FC236}">
                <a16:creationId xmlns:a16="http://schemas.microsoft.com/office/drawing/2014/main" id="{A15F32AA-59D9-29EE-ACA0-D6883A7D8336}"/>
              </a:ext>
            </a:extLst>
          </p:cNvPr>
          <p:cNvGrpSpPr/>
          <p:nvPr/>
        </p:nvGrpSpPr>
        <p:grpSpPr>
          <a:xfrm>
            <a:off x="10246518" y="2589834"/>
            <a:ext cx="1682749" cy="750888"/>
            <a:chOff x="10106556" y="4845052"/>
            <a:chExt cx="1682296" cy="750818"/>
          </a:xfrm>
        </p:grpSpPr>
        <p:sp>
          <p:nvSpPr>
            <p:cNvPr id="61" name="Rectangle 60">
              <a:extLst>
                <a:ext uri="{FF2B5EF4-FFF2-40B4-BE49-F238E27FC236}">
                  <a16:creationId xmlns:a16="http://schemas.microsoft.com/office/drawing/2014/main" id="{786F7960-4233-BA76-A364-DCDDFAA1778C}"/>
                </a:ext>
              </a:extLst>
            </p:cNvPr>
            <p:cNvSpPr/>
            <p:nvPr/>
          </p:nvSpPr>
          <p:spPr>
            <a:xfrm>
              <a:off x="10106556" y="5246620"/>
              <a:ext cx="586217"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C00000"/>
                  </a:solidFill>
                  <a:highlight>
                    <a:srgbClr val="FFFFFF"/>
                  </a:highlight>
                </a:rPr>
                <a:t> 85%</a:t>
              </a:r>
            </a:p>
          </p:txBody>
        </p:sp>
        <p:sp>
          <p:nvSpPr>
            <p:cNvPr id="62" name="Rectangle 61">
              <a:extLst>
                <a:ext uri="{FF2B5EF4-FFF2-40B4-BE49-F238E27FC236}">
                  <a16:creationId xmlns:a16="http://schemas.microsoft.com/office/drawing/2014/main" id="{32332A9A-9065-2696-5964-2B5D8B58A928}"/>
                </a:ext>
              </a:extLst>
            </p:cNvPr>
            <p:cNvSpPr/>
            <p:nvPr/>
          </p:nvSpPr>
          <p:spPr>
            <a:xfrm>
              <a:off x="10633986" y="5246620"/>
              <a:ext cx="586217"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accent3">
                      <a:lumMod val="50000"/>
                    </a:schemeClr>
                  </a:solidFill>
                  <a:highlight>
                    <a:srgbClr val="FFFFFF"/>
                  </a:highlight>
                </a:rPr>
                <a:t> </a:t>
              </a:r>
              <a:r>
                <a:rPr lang="en-US" sz="1050" dirty="0">
                  <a:solidFill>
                    <a:srgbClr val="C00000"/>
                  </a:solidFill>
                  <a:highlight>
                    <a:srgbClr val="FFFFFF"/>
                  </a:highlight>
                </a:rPr>
                <a:t>78%</a:t>
              </a:r>
            </a:p>
          </p:txBody>
        </p:sp>
        <p:sp>
          <p:nvSpPr>
            <p:cNvPr id="63" name="Rectangle 62">
              <a:extLst>
                <a:ext uri="{FF2B5EF4-FFF2-40B4-BE49-F238E27FC236}">
                  <a16:creationId xmlns:a16="http://schemas.microsoft.com/office/drawing/2014/main" id="{47417373-26F6-0919-B46B-8D595E11BD28}"/>
                </a:ext>
              </a:extLst>
            </p:cNvPr>
            <p:cNvSpPr/>
            <p:nvPr/>
          </p:nvSpPr>
          <p:spPr>
            <a:xfrm>
              <a:off x="11153248" y="5246620"/>
              <a:ext cx="586217"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C00000"/>
                  </a:solidFill>
                  <a:highlight>
                    <a:srgbClr val="FFFFFF"/>
                  </a:highlight>
                </a:rPr>
                <a:t>55%</a:t>
              </a:r>
            </a:p>
          </p:txBody>
        </p:sp>
        <p:cxnSp>
          <p:nvCxnSpPr>
            <p:cNvPr id="64" name="Straight Connector 63">
              <a:extLst>
                <a:ext uri="{FF2B5EF4-FFF2-40B4-BE49-F238E27FC236}">
                  <a16:creationId xmlns:a16="http://schemas.microsoft.com/office/drawing/2014/main" id="{A2E9A9F3-C411-8F80-067D-53B1FA1A9F6F}"/>
                </a:ext>
              </a:extLst>
            </p:cNvPr>
            <p:cNvCxnSpPr>
              <a:cxnSpLocks/>
            </p:cNvCxnSpPr>
            <p:nvPr/>
          </p:nvCxnSpPr>
          <p:spPr>
            <a:xfrm>
              <a:off x="10217648" y="5158793"/>
              <a:ext cx="1418892" cy="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3F852805-49CE-E0A0-147E-1F95EFB0AD5F}"/>
                </a:ext>
              </a:extLst>
            </p:cNvPr>
            <p:cNvCxnSpPr>
              <a:cxnSpLocks/>
            </p:cNvCxnSpPr>
            <p:nvPr/>
          </p:nvCxnSpPr>
          <p:spPr>
            <a:xfrm>
              <a:off x="11181972" y="5155618"/>
              <a:ext cx="0" cy="265113"/>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347B5AE3-E350-0F10-B5CA-B64F9CB6DD18}"/>
                </a:ext>
              </a:extLst>
            </p:cNvPr>
            <p:cNvCxnSpPr>
              <a:cxnSpLocks/>
            </p:cNvCxnSpPr>
            <p:nvPr/>
          </p:nvCxnSpPr>
          <p:spPr>
            <a:xfrm>
              <a:off x="10672217" y="5158793"/>
              <a:ext cx="0" cy="274638"/>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sp>
          <p:nvSpPr>
            <p:cNvPr id="67" name="Rectangle 66">
              <a:extLst>
                <a:ext uri="{FF2B5EF4-FFF2-40B4-BE49-F238E27FC236}">
                  <a16:creationId xmlns:a16="http://schemas.microsoft.com/office/drawing/2014/main" id="{0E4E7278-B3E0-EFD6-90B4-25CB54B0891A}"/>
                </a:ext>
              </a:extLst>
            </p:cNvPr>
            <p:cNvSpPr/>
            <p:nvPr/>
          </p:nvSpPr>
          <p:spPr>
            <a:xfrm>
              <a:off x="10515614" y="4845052"/>
              <a:ext cx="822960"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200" b="1" dirty="0">
                  <a:solidFill>
                    <a:srgbClr val="C00000"/>
                  </a:solidFill>
                  <a:highlight>
                    <a:srgbClr val="FFFFFF"/>
                  </a:highlight>
                </a:rPr>
                <a:t>71%</a:t>
              </a:r>
            </a:p>
          </p:txBody>
        </p:sp>
        <p:sp>
          <p:nvSpPr>
            <p:cNvPr id="68" name="Rectangle 67">
              <a:extLst>
                <a:ext uri="{FF2B5EF4-FFF2-40B4-BE49-F238E27FC236}">
                  <a16:creationId xmlns:a16="http://schemas.microsoft.com/office/drawing/2014/main" id="{918672FE-157A-2404-D3E3-49D6B1FFD608}"/>
                </a:ext>
              </a:extLst>
            </p:cNvPr>
            <p:cNvSpPr/>
            <p:nvPr/>
          </p:nvSpPr>
          <p:spPr>
            <a:xfrm>
              <a:off x="10106556" y="5080724"/>
              <a:ext cx="586217" cy="349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highlight>
                    <a:srgbClr val="FFFFFF"/>
                  </a:highlight>
                </a:rPr>
                <a:t>NED</a:t>
              </a:r>
            </a:p>
          </p:txBody>
        </p:sp>
        <p:sp>
          <p:nvSpPr>
            <p:cNvPr id="69" name="Rectangle 68">
              <a:extLst>
                <a:ext uri="{FF2B5EF4-FFF2-40B4-BE49-F238E27FC236}">
                  <a16:creationId xmlns:a16="http://schemas.microsoft.com/office/drawing/2014/main" id="{0E313A1B-152C-C5B2-5882-3F56388F6D2B}"/>
                </a:ext>
              </a:extLst>
            </p:cNvPr>
            <p:cNvSpPr/>
            <p:nvPr/>
          </p:nvSpPr>
          <p:spPr>
            <a:xfrm>
              <a:off x="10633986" y="5085817"/>
              <a:ext cx="586217" cy="349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highlight>
                    <a:srgbClr val="FFFFFF"/>
                  </a:highlight>
                </a:rPr>
                <a:t>CEN</a:t>
              </a:r>
            </a:p>
          </p:txBody>
        </p:sp>
        <p:sp>
          <p:nvSpPr>
            <p:cNvPr id="70" name="Rectangle 69">
              <a:extLst>
                <a:ext uri="{FF2B5EF4-FFF2-40B4-BE49-F238E27FC236}">
                  <a16:creationId xmlns:a16="http://schemas.microsoft.com/office/drawing/2014/main" id="{1DF19A50-DDE3-B313-2E88-6E007D9E74A5}"/>
                </a:ext>
              </a:extLst>
            </p:cNvPr>
            <p:cNvSpPr/>
            <p:nvPr/>
          </p:nvSpPr>
          <p:spPr>
            <a:xfrm>
              <a:off x="11103861" y="5080724"/>
              <a:ext cx="684991" cy="349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highlight>
                    <a:srgbClr val="FFFFFF"/>
                  </a:highlight>
                </a:rPr>
                <a:t>WEST</a:t>
              </a:r>
            </a:p>
          </p:txBody>
        </p:sp>
      </p:grpSp>
      <p:sp>
        <p:nvSpPr>
          <p:cNvPr id="71" name="Rectangle 70">
            <a:extLst>
              <a:ext uri="{FF2B5EF4-FFF2-40B4-BE49-F238E27FC236}">
                <a16:creationId xmlns:a16="http://schemas.microsoft.com/office/drawing/2014/main" id="{6B986320-66A6-69EF-83B8-381F63BF2782}"/>
              </a:ext>
            </a:extLst>
          </p:cNvPr>
          <p:cNvSpPr/>
          <p:nvPr/>
        </p:nvSpPr>
        <p:spPr>
          <a:xfrm>
            <a:off x="9617869" y="3553447"/>
            <a:ext cx="2236788" cy="685800"/>
          </a:xfrm>
          <a:prstGeom prst="rect">
            <a:avLst/>
          </a:prstGeom>
          <a:solidFill>
            <a:schemeClr val="bg2"/>
          </a:solidFill>
          <a:ln w="9525">
            <a:solidFill>
              <a:schemeClr val="bg2">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050" b="1" dirty="0">
                <a:solidFill>
                  <a:schemeClr val="tx1"/>
                </a:solidFill>
              </a:rPr>
              <a:t>vs. PM</a:t>
            </a:r>
          </a:p>
          <a:p>
            <a:r>
              <a:rPr lang="en-US" sz="800" dirty="0">
                <a:solidFill>
                  <a:schemeClr val="tx1"/>
                </a:solidFill>
              </a:rPr>
              <a:t>Apr ’24</a:t>
            </a:r>
          </a:p>
        </p:txBody>
      </p:sp>
      <p:grpSp>
        <p:nvGrpSpPr>
          <p:cNvPr id="72" name="Group 71">
            <a:extLst>
              <a:ext uri="{FF2B5EF4-FFF2-40B4-BE49-F238E27FC236}">
                <a16:creationId xmlns:a16="http://schemas.microsoft.com/office/drawing/2014/main" id="{4C4107B6-80CC-EC86-12C5-E38933F3C3CB}"/>
              </a:ext>
            </a:extLst>
          </p:cNvPr>
          <p:cNvGrpSpPr/>
          <p:nvPr/>
        </p:nvGrpSpPr>
        <p:grpSpPr>
          <a:xfrm>
            <a:off x="10263987" y="3535985"/>
            <a:ext cx="1681163" cy="750888"/>
            <a:chOff x="10100487" y="5518068"/>
            <a:chExt cx="1682296" cy="750818"/>
          </a:xfrm>
        </p:grpSpPr>
        <p:sp>
          <p:nvSpPr>
            <p:cNvPr id="73" name="Rectangle 72">
              <a:extLst>
                <a:ext uri="{FF2B5EF4-FFF2-40B4-BE49-F238E27FC236}">
                  <a16:creationId xmlns:a16="http://schemas.microsoft.com/office/drawing/2014/main" id="{1D682D04-59EA-CA68-82D6-0135F9268451}"/>
                </a:ext>
              </a:extLst>
            </p:cNvPr>
            <p:cNvSpPr/>
            <p:nvPr/>
          </p:nvSpPr>
          <p:spPr>
            <a:xfrm>
              <a:off x="10100487" y="5919636"/>
              <a:ext cx="586217"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accent3">
                      <a:lumMod val="50000"/>
                    </a:schemeClr>
                  </a:solidFill>
                  <a:highlight>
                    <a:srgbClr val="FFFFFF"/>
                  </a:highlight>
                </a:rPr>
                <a:t>98%</a:t>
              </a:r>
            </a:p>
          </p:txBody>
        </p:sp>
        <p:sp>
          <p:nvSpPr>
            <p:cNvPr id="74" name="Rectangle 73">
              <a:extLst>
                <a:ext uri="{FF2B5EF4-FFF2-40B4-BE49-F238E27FC236}">
                  <a16:creationId xmlns:a16="http://schemas.microsoft.com/office/drawing/2014/main" id="{0F29266A-9EEE-0BF6-9224-FCD225257F37}"/>
                </a:ext>
              </a:extLst>
            </p:cNvPr>
            <p:cNvSpPr/>
            <p:nvPr/>
          </p:nvSpPr>
          <p:spPr>
            <a:xfrm>
              <a:off x="10627917" y="5919636"/>
              <a:ext cx="586217"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accent3">
                      <a:lumMod val="50000"/>
                    </a:schemeClr>
                  </a:solidFill>
                  <a:highlight>
                    <a:srgbClr val="FFFFFF"/>
                  </a:highlight>
                </a:rPr>
                <a:t>93%</a:t>
              </a:r>
            </a:p>
          </p:txBody>
        </p:sp>
        <p:sp>
          <p:nvSpPr>
            <p:cNvPr id="75" name="Rectangle 74">
              <a:extLst>
                <a:ext uri="{FF2B5EF4-FFF2-40B4-BE49-F238E27FC236}">
                  <a16:creationId xmlns:a16="http://schemas.microsoft.com/office/drawing/2014/main" id="{0846076E-9C4E-39E8-5DF7-835174BCCD34}"/>
                </a:ext>
              </a:extLst>
            </p:cNvPr>
            <p:cNvSpPr/>
            <p:nvPr/>
          </p:nvSpPr>
          <p:spPr>
            <a:xfrm>
              <a:off x="11147179" y="5919636"/>
              <a:ext cx="586217"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C00000"/>
                  </a:solidFill>
                  <a:highlight>
                    <a:srgbClr val="FFFFFF"/>
                  </a:highlight>
                </a:rPr>
                <a:t> 98%</a:t>
              </a:r>
            </a:p>
          </p:txBody>
        </p:sp>
        <p:cxnSp>
          <p:nvCxnSpPr>
            <p:cNvPr id="76" name="Straight Connector 75">
              <a:extLst>
                <a:ext uri="{FF2B5EF4-FFF2-40B4-BE49-F238E27FC236}">
                  <a16:creationId xmlns:a16="http://schemas.microsoft.com/office/drawing/2014/main" id="{0033AE81-5DBF-0969-0FF1-479473B6C161}"/>
                </a:ext>
              </a:extLst>
            </p:cNvPr>
            <p:cNvCxnSpPr>
              <a:cxnSpLocks/>
            </p:cNvCxnSpPr>
            <p:nvPr/>
          </p:nvCxnSpPr>
          <p:spPr>
            <a:xfrm>
              <a:off x="10211579" y="5831809"/>
              <a:ext cx="1418892" cy="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FF2DADFC-84C2-B7F6-89F8-FED798DE82F2}"/>
                </a:ext>
              </a:extLst>
            </p:cNvPr>
            <p:cNvCxnSpPr>
              <a:cxnSpLocks/>
            </p:cNvCxnSpPr>
            <p:nvPr/>
          </p:nvCxnSpPr>
          <p:spPr>
            <a:xfrm>
              <a:off x="11175903" y="5828634"/>
              <a:ext cx="0" cy="265113"/>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1E18A5ED-700A-F591-EC06-DD88B4B60C1B}"/>
                </a:ext>
              </a:extLst>
            </p:cNvPr>
            <p:cNvCxnSpPr>
              <a:cxnSpLocks/>
            </p:cNvCxnSpPr>
            <p:nvPr/>
          </p:nvCxnSpPr>
          <p:spPr>
            <a:xfrm>
              <a:off x="10666148" y="5831809"/>
              <a:ext cx="0" cy="274638"/>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sp>
          <p:nvSpPr>
            <p:cNvPr id="79" name="Rectangle 78">
              <a:extLst>
                <a:ext uri="{FF2B5EF4-FFF2-40B4-BE49-F238E27FC236}">
                  <a16:creationId xmlns:a16="http://schemas.microsoft.com/office/drawing/2014/main" id="{08B75157-191D-633A-F334-33D8389F16E8}"/>
                </a:ext>
              </a:extLst>
            </p:cNvPr>
            <p:cNvSpPr/>
            <p:nvPr/>
          </p:nvSpPr>
          <p:spPr>
            <a:xfrm>
              <a:off x="10509545" y="5518068"/>
              <a:ext cx="822960"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accent3">
                      <a:lumMod val="50000"/>
                    </a:schemeClr>
                  </a:solidFill>
                  <a:highlight>
                    <a:srgbClr val="FFFFFF"/>
                  </a:highlight>
                </a:rPr>
                <a:t>96%</a:t>
              </a:r>
            </a:p>
          </p:txBody>
        </p:sp>
        <p:sp>
          <p:nvSpPr>
            <p:cNvPr id="80" name="Rectangle 79">
              <a:extLst>
                <a:ext uri="{FF2B5EF4-FFF2-40B4-BE49-F238E27FC236}">
                  <a16:creationId xmlns:a16="http://schemas.microsoft.com/office/drawing/2014/main" id="{D91CA991-FC0A-DDE4-F03F-2D5CC501F29E}"/>
                </a:ext>
              </a:extLst>
            </p:cNvPr>
            <p:cNvSpPr/>
            <p:nvPr/>
          </p:nvSpPr>
          <p:spPr>
            <a:xfrm>
              <a:off x="10100487" y="5753740"/>
              <a:ext cx="586217" cy="349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highlight>
                    <a:srgbClr val="FFFFFF"/>
                  </a:highlight>
                </a:rPr>
                <a:t>NED</a:t>
              </a:r>
            </a:p>
          </p:txBody>
        </p:sp>
        <p:sp>
          <p:nvSpPr>
            <p:cNvPr id="81" name="Rectangle 80">
              <a:extLst>
                <a:ext uri="{FF2B5EF4-FFF2-40B4-BE49-F238E27FC236}">
                  <a16:creationId xmlns:a16="http://schemas.microsoft.com/office/drawing/2014/main" id="{5C4BABA2-3875-CD5A-30F2-C4D1ACB497DE}"/>
                </a:ext>
              </a:extLst>
            </p:cNvPr>
            <p:cNvSpPr/>
            <p:nvPr/>
          </p:nvSpPr>
          <p:spPr>
            <a:xfrm>
              <a:off x="10627917" y="5758833"/>
              <a:ext cx="586217" cy="349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highlight>
                    <a:srgbClr val="FFFFFF"/>
                  </a:highlight>
                </a:rPr>
                <a:t>CEN</a:t>
              </a:r>
            </a:p>
          </p:txBody>
        </p:sp>
        <p:sp>
          <p:nvSpPr>
            <p:cNvPr id="82" name="Rectangle 81">
              <a:extLst>
                <a:ext uri="{FF2B5EF4-FFF2-40B4-BE49-F238E27FC236}">
                  <a16:creationId xmlns:a16="http://schemas.microsoft.com/office/drawing/2014/main" id="{4DD98071-05EB-AC9D-2C7D-3636CB45C446}"/>
                </a:ext>
              </a:extLst>
            </p:cNvPr>
            <p:cNvSpPr/>
            <p:nvPr/>
          </p:nvSpPr>
          <p:spPr>
            <a:xfrm>
              <a:off x="11097792" y="5753740"/>
              <a:ext cx="684991" cy="349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highlight>
                    <a:srgbClr val="FFFFFF"/>
                  </a:highlight>
                </a:rPr>
                <a:t>WEST</a:t>
              </a:r>
            </a:p>
          </p:txBody>
        </p:sp>
      </p:grpSp>
      <p:sp>
        <p:nvSpPr>
          <p:cNvPr id="83" name="Rectangle 82">
            <a:extLst>
              <a:ext uri="{FF2B5EF4-FFF2-40B4-BE49-F238E27FC236}">
                <a16:creationId xmlns:a16="http://schemas.microsoft.com/office/drawing/2014/main" id="{B471472C-4780-3418-D2AE-2D783090D0EA}"/>
              </a:ext>
            </a:extLst>
          </p:cNvPr>
          <p:cNvSpPr/>
          <p:nvPr/>
        </p:nvSpPr>
        <p:spPr>
          <a:xfrm>
            <a:off x="9617869" y="4496422"/>
            <a:ext cx="2236788" cy="685800"/>
          </a:xfrm>
          <a:prstGeom prst="rect">
            <a:avLst/>
          </a:prstGeom>
          <a:solidFill>
            <a:schemeClr val="bg2"/>
          </a:solidFill>
          <a:ln w="9525">
            <a:solidFill>
              <a:schemeClr val="bg2">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050" b="1" dirty="0">
                <a:solidFill>
                  <a:schemeClr val="tx1"/>
                </a:solidFill>
              </a:rPr>
              <a:t>vs. PY</a:t>
            </a:r>
          </a:p>
          <a:p>
            <a:r>
              <a:rPr lang="en-US" sz="800" dirty="0">
                <a:solidFill>
                  <a:schemeClr val="tx1"/>
                </a:solidFill>
              </a:rPr>
              <a:t>May ’23</a:t>
            </a:r>
          </a:p>
        </p:txBody>
      </p:sp>
      <p:grpSp>
        <p:nvGrpSpPr>
          <p:cNvPr id="84" name="Group 83">
            <a:extLst>
              <a:ext uri="{FF2B5EF4-FFF2-40B4-BE49-F238E27FC236}">
                <a16:creationId xmlns:a16="http://schemas.microsoft.com/office/drawing/2014/main" id="{CF33DADA-F834-E624-5E62-5872B32707C3}"/>
              </a:ext>
            </a:extLst>
          </p:cNvPr>
          <p:cNvGrpSpPr/>
          <p:nvPr/>
        </p:nvGrpSpPr>
        <p:grpSpPr>
          <a:xfrm>
            <a:off x="10230649" y="4477373"/>
            <a:ext cx="1681163" cy="750888"/>
            <a:chOff x="10100487" y="5518068"/>
            <a:chExt cx="1682296" cy="750818"/>
          </a:xfrm>
        </p:grpSpPr>
        <p:sp>
          <p:nvSpPr>
            <p:cNvPr id="85" name="Rectangle 84">
              <a:extLst>
                <a:ext uri="{FF2B5EF4-FFF2-40B4-BE49-F238E27FC236}">
                  <a16:creationId xmlns:a16="http://schemas.microsoft.com/office/drawing/2014/main" id="{A66488E0-794C-0B8A-F75E-0E93CF32E868}"/>
                </a:ext>
              </a:extLst>
            </p:cNvPr>
            <p:cNvSpPr/>
            <p:nvPr/>
          </p:nvSpPr>
          <p:spPr>
            <a:xfrm>
              <a:off x="10100487" y="5919636"/>
              <a:ext cx="586217"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C00000"/>
                  </a:solidFill>
                  <a:highlight>
                    <a:srgbClr val="FFFFFF"/>
                  </a:highlight>
                </a:rPr>
                <a:t>98%</a:t>
              </a:r>
            </a:p>
          </p:txBody>
        </p:sp>
        <p:sp>
          <p:nvSpPr>
            <p:cNvPr id="86" name="Rectangle 85">
              <a:extLst>
                <a:ext uri="{FF2B5EF4-FFF2-40B4-BE49-F238E27FC236}">
                  <a16:creationId xmlns:a16="http://schemas.microsoft.com/office/drawing/2014/main" id="{E9B9A7E5-67E3-D4C8-D8B8-1B9DB51F8D7D}"/>
                </a:ext>
              </a:extLst>
            </p:cNvPr>
            <p:cNvSpPr/>
            <p:nvPr/>
          </p:nvSpPr>
          <p:spPr>
            <a:xfrm>
              <a:off x="10627917" y="5919636"/>
              <a:ext cx="586217"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C00000"/>
                  </a:solidFill>
                  <a:highlight>
                    <a:srgbClr val="FFFFFF"/>
                  </a:highlight>
                </a:rPr>
                <a:t>80%</a:t>
              </a:r>
            </a:p>
          </p:txBody>
        </p:sp>
        <p:sp>
          <p:nvSpPr>
            <p:cNvPr id="87" name="Rectangle 86">
              <a:extLst>
                <a:ext uri="{FF2B5EF4-FFF2-40B4-BE49-F238E27FC236}">
                  <a16:creationId xmlns:a16="http://schemas.microsoft.com/office/drawing/2014/main" id="{4990E7E0-3AAC-CAAA-F6C1-1F732BCFF597}"/>
                </a:ext>
              </a:extLst>
            </p:cNvPr>
            <p:cNvSpPr/>
            <p:nvPr/>
          </p:nvSpPr>
          <p:spPr>
            <a:xfrm>
              <a:off x="11147179" y="5919636"/>
              <a:ext cx="586217"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C00000"/>
                  </a:solidFill>
                  <a:highlight>
                    <a:srgbClr val="FFFFFF"/>
                  </a:highlight>
                </a:rPr>
                <a:t> 90%</a:t>
              </a:r>
            </a:p>
          </p:txBody>
        </p:sp>
        <p:cxnSp>
          <p:nvCxnSpPr>
            <p:cNvPr id="88" name="Straight Connector 87">
              <a:extLst>
                <a:ext uri="{FF2B5EF4-FFF2-40B4-BE49-F238E27FC236}">
                  <a16:creationId xmlns:a16="http://schemas.microsoft.com/office/drawing/2014/main" id="{9F65A0CC-3245-45D0-06AF-B11E72ABD76A}"/>
                </a:ext>
              </a:extLst>
            </p:cNvPr>
            <p:cNvCxnSpPr>
              <a:cxnSpLocks/>
            </p:cNvCxnSpPr>
            <p:nvPr/>
          </p:nvCxnSpPr>
          <p:spPr>
            <a:xfrm>
              <a:off x="10211579" y="5831809"/>
              <a:ext cx="1418892" cy="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DFE22A41-E5D6-4102-5CD3-0C3320487B9D}"/>
                </a:ext>
              </a:extLst>
            </p:cNvPr>
            <p:cNvCxnSpPr>
              <a:cxnSpLocks/>
            </p:cNvCxnSpPr>
            <p:nvPr/>
          </p:nvCxnSpPr>
          <p:spPr>
            <a:xfrm>
              <a:off x="11175903" y="5828634"/>
              <a:ext cx="0" cy="265113"/>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7642D3B0-F3FC-3855-BFE5-B9514918B121}"/>
                </a:ext>
              </a:extLst>
            </p:cNvPr>
            <p:cNvCxnSpPr>
              <a:cxnSpLocks/>
            </p:cNvCxnSpPr>
            <p:nvPr/>
          </p:nvCxnSpPr>
          <p:spPr>
            <a:xfrm>
              <a:off x="10666148" y="5831809"/>
              <a:ext cx="0" cy="274638"/>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sp>
          <p:nvSpPr>
            <p:cNvPr id="91" name="Rectangle 90">
              <a:extLst>
                <a:ext uri="{FF2B5EF4-FFF2-40B4-BE49-F238E27FC236}">
                  <a16:creationId xmlns:a16="http://schemas.microsoft.com/office/drawing/2014/main" id="{F5E2F00E-E791-43EB-31B1-642CCC92AE20}"/>
                </a:ext>
              </a:extLst>
            </p:cNvPr>
            <p:cNvSpPr/>
            <p:nvPr/>
          </p:nvSpPr>
          <p:spPr>
            <a:xfrm>
              <a:off x="10509545" y="5518068"/>
              <a:ext cx="822960"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rgbClr val="C00000"/>
                  </a:solidFill>
                  <a:highlight>
                    <a:srgbClr val="FFFFFF"/>
                  </a:highlight>
                </a:rPr>
                <a:t>88%</a:t>
              </a:r>
            </a:p>
          </p:txBody>
        </p:sp>
        <p:sp>
          <p:nvSpPr>
            <p:cNvPr id="96" name="Rectangle 95">
              <a:extLst>
                <a:ext uri="{FF2B5EF4-FFF2-40B4-BE49-F238E27FC236}">
                  <a16:creationId xmlns:a16="http://schemas.microsoft.com/office/drawing/2014/main" id="{09F258F2-17F0-2F51-A4F2-C066A9615E66}"/>
                </a:ext>
              </a:extLst>
            </p:cNvPr>
            <p:cNvSpPr/>
            <p:nvPr/>
          </p:nvSpPr>
          <p:spPr>
            <a:xfrm>
              <a:off x="10100487" y="5753740"/>
              <a:ext cx="586217" cy="349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highlight>
                    <a:srgbClr val="FFFFFF"/>
                  </a:highlight>
                </a:rPr>
                <a:t>NED</a:t>
              </a:r>
            </a:p>
          </p:txBody>
        </p:sp>
        <p:sp>
          <p:nvSpPr>
            <p:cNvPr id="97" name="Rectangle 96">
              <a:extLst>
                <a:ext uri="{FF2B5EF4-FFF2-40B4-BE49-F238E27FC236}">
                  <a16:creationId xmlns:a16="http://schemas.microsoft.com/office/drawing/2014/main" id="{BE6D84BC-778A-1229-6B01-675244CCBA57}"/>
                </a:ext>
              </a:extLst>
            </p:cNvPr>
            <p:cNvSpPr/>
            <p:nvPr/>
          </p:nvSpPr>
          <p:spPr>
            <a:xfrm>
              <a:off x="10627917" y="5758833"/>
              <a:ext cx="586217" cy="349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highlight>
                    <a:srgbClr val="FFFFFF"/>
                  </a:highlight>
                </a:rPr>
                <a:t>CEN</a:t>
              </a:r>
            </a:p>
          </p:txBody>
        </p:sp>
        <p:sp>
          <p:nvSpPr>
            <p:cNvPr id="98" name="Rectangle 97">
              <a:extLst>
                <a:ext uri="{FF2B5EF4-FFF2-40B4-BE49-F238E27FC236}">
                  <a16:creationId xmlns:a16="http://schemas.microsoft.com/office/drawing/2014/main" id="{E59CC92E-D9CE-9EA3-1287-82015D22EBE2}"/>
                </a:ext>
              </a:extLst>
            </p:cNvPr>
            <p:cNvSpPr/>
            <p:nvPr/>
          </p:nvSpPr>
          <p:spPr>
            <a:xfrm>
              <a:off x="11097792" y="5753740"/>
              <a:ext cx="684991" cy="349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highlight>
                    <a:srgbClr val="FFFFFF"/>
                  </a:highlight>
                </a:rPr>
                <a:t>WEST</a:t>
              </a:r>
            </a:p>
          </p:txBody>
        </p:sp>
      </p:grpSp>
    </p:spTree>
    <p:extLst>
      <p:ext uri="{BB962C8B-B14F-4D97-AF65-F5344CB8AC3E}">
        <p14:creationId xmlns:p14="http://schemas.microsoft.com/office/powerpoint/2010/main" val="2891144652"/>
      </p:ext>
    </p:extLst>
  </p:cSld>
  <p:clrMapOvr>
    <a:masterClrMapping/>
  </p:clrMapOvr>
  <p:transition spd="med"/>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37480E6-E559-4F76-AF62-08CFD224694D}"/>
              </a:ext>
            </a:extLst>
          </p:cNvPr>
          <p:cNvGraphicFramePr>
            <a:graphicFrameLocks noChangeAspect="1"/>
          </p:cNvGraphicFramePr>
          <p:nvPr>
            <p:custDataLst>
              <p:tags r:id="rId1"/>
            </p:custDataLst>
            <p:extLst>
              <p:ext uri="{D42A27DB-BD31-4B8C-83A1-F6EECF244321}">
                <p14:modId xmlns:p14="http://schemas.microsoft.com/office/powerpoint/2010/main" val="857344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7" imgW="317" imgH="318" progId="TCLayout.ActiveDocument.1">
                  <p:embed/>
                </p:oleObj>
              </mc:Choice>
              <mc:Fallback>
                <p:oleObj name="think-cell Slide" r:id="rId67" imgW="317" imgH="318" progId="TCLayout.ActiveDocument.1">
                  <p:embed/>
                  <p:pic>
                    <p:nvPicPr>
                      <p:cNvPr id="6" name="think-cell data - do not delete" hidden="1">
                        <a:extLst>
                          <a:ext uri="{FF2B5EF4-FFF2-40B4-BE49-F238E27FC236}">
                            <a16:creationId xmlns:a16="http://schemas.microsoft.com/office/drawing/2014/main" id="{837480E6-E559-4F76-AF62-08CFD224694D}"/>
                          </a:ext>
                        </a:extLst>
                      </p:cNvPr>
                      <p:cNvPicPr/>
                      <p:nvPr/>
                    </p:nvPicPr>
                    <p:blipFill>
                      <a:blip r:embed="rId68"/>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52BC261-C02D-46AB-91BF-A8AB02AC8AAC}"/>
              </a:ext>
            </a:extLst>
          </p:cNvPr>
          <p:cNvSpPr>
            <a:spLocks noGrp="1"/>
          </p:cNvSpPr>
          <p:nvPr>
            <p:ph type="title"/>
          </p:nvPr>
        </p:nvSpPr>
        <p:spPr/>
        <p:txBody>
          <a:bodyPr vert="horz"/>
          <a:lstStyle/>
          <a:p>
            <a:r>
              <a:rPr lang="en-US" dirty="0"/>
              <a:t>SB Digital Leads by Sales Tactic</a:t>
            </a:r>
          </a:p>
        </p:txBody>
      </p:sp>
      <p:sp>
        <p:nvSpPr>
          <p:cNvPr id="24" name="Text Placeholder 15">
            <a:extLst>
              <a:ext uri="{FF2B5EF4-FFF2-40B4-BE49-F238E27FC236}">
                <a16:creationId xmlns:a16="http://schemas.microsoft.com/office/drawing/2014/main" id="{A481E29C-2049-0C02-7B0D-4361290FA014}"/>
              </a:ext>
            </a:extLst>
          </p:cNvPr>
          <p:cNvSpPr txBox="1">
            <a:spLocks/>
          </p:cNvSpPr>
          <p:nvPr/>
        </p:nvSpPr>
        <p:spPr>
          <a:xfrm>
            <a:off x="463548" y="935010"/>
            <a:ext cx="11271250" cy="622327"/>
          </a:xfrm>
          <a:prstGeom prst="rect">
            <a:avLst/>
          </a:prstGeom>
        </p:spPr>
        <p:txBody>
          <a:bodyPr lIns="0" tIns="0" rIns="0" bIns="0"/>
          <a:lstStyle>
            <a:lvl1pPr marL="0" indent="0" algn="l" rtl="0" eaLnBrk="1" fontAlgn="base" hangingPunct="1">
              <a:lnSpc>
                <a:spcPct val="95000"/>
              </a:lnSpc>
              <a:spcBef>
                <a:spcPts val="1000"/>
              </a:spcBef>
              <a:spcAft>
                <a:spcPct val="0"/>
              </a:spcAft>
              <a:buFont typeface="Arial" panose="020B0604020202020204" pitchFamily="34" charset="0"/>
              <a:buNone/>
              <a:defRPr sz="1800" b="0" i="0" kern="1200">
                <a:solidFill>
                  <a:schemeClr val="tx1"/>
                </a:solidFill>
                <a:latin typeface="Montserrat Light" pitchFamily="2" charset="77"/>
                <a:ea typeface="+mn-ea"/>
                <a:cs typeface="Montserrat Light" pitchFamily="2" charset="77"/>
              </a:defRPr>
            </a:lvl1pPr>
            <a:lvl2pPr marL="174625" indent="-174625" algn="l" rtl="0" eaLnBrk="1" fontAlgn="base" hangingPunct="1">
              <a:lnSpc>
                <a:spcPct val="90000"/>
              </a:lnSpc>
              <a:spcBef>
                <a:spcPts val="1200"/>
              </a:spcBef>
              <a:spcAft>
                <a:spcPct val="0"/>
              </a:spcAft>
              <a:buFont typeface="Arial" panose="020B0604020202020204" pitchFamily="34" charset="0"/>
              <a:buChar char="•"/>
              <a:tabLst/>
              <a:defRPr sz="1800" b="0" i="0" kern="1200">
                <a:solidFill>
                  <a:schemeClr val="tx1"/>
                </a:solidFill>
                <a:latin typeface="Montserrat Light" pitchFamily="2" charset="77"/>
                <a:ea typeface="+mn-ea"/>
                <a:cs typeface="Montserrat Light" pitchFamily="2" charset="77"/>
              </a:defRPr>
            </a:lvl2pPr>
            <a:lvl3pPr marL="560070" indent="-285750" algn="l" rtl="0" eaLnBrk="1" fontAlgn="base" hangingPunct="1">
              <a:lnSpc>
                <a:spcPct val="90000"/>
              </a:lnSpc>
              <a:spcBef>
                <a:spcPts val="1200"/>
              </a:spcBef>
              <a:spcAft>
                <a:spcPct val="0"/>
              </a:spcAft>
              <a:buFont typeface="Montserrat" panose="00000500000000000000" pitchFamily="2" charset="0"/>
              <a:buChar char="–"/>
              <a:defRPr sz="1800" b="0" i="0" kern="1200">
                <a:solidFill>
                  <a:schemeClr val="tx1"/>
                </a:solidFill>
                <a:latin typeface="Montserrat Light" pitchFamily="2" charset="77"/>
                <a:ea typeface="+mn-ea"/>
                <a:cs typeface="Montserrat Light" pitchFamily="2" charset="77"/>
              </a:defRPr>
            </a:lvl3pPr>
            <a:lvl4pPr marL="834390" indent="-285750" algn="l" rtl="0" eaLnBrk="1" fontAlgn="base" hangingPunct="1">
              <a:lnSpc>
                <a:spcPct val="90000"/>
              </a:lnSpc>
              <a:spcBef>
                <a:spcPts val="1200"/>
              </a:spcBef>
              <a:spcAft>
                <a:spcPct val="0"/>
              </a:spcAft>
              <a:buFont typeface="Courier New" panose="02070309020205020404" pitchFamily="49" charset="0"/>
              <a:buChar char="o"/>
              <a:defRPr sz="1600" b="0" i="0" kern="1200">
                <a:solidFill>
                  <a:schemeClr val="tx1"/>
                </a:solidFill>
                <a:latin typeface="Montserrat Light" pitchFamily="2" charset="77"/>
                <a:ea typeface="+mn-ea"/>
                <a:cs typeface="Montserrat Light" pitchFamily="2" charset="77"/>
              </a:defRPr>
            </a:lvl4pPr>
            <a:lvl5pPr marL="1108710" indent="-285750" algn="l" rtl="0" eaLnBrk="1" fontAlgn="base" hangingPunct="1">
              <a:lnSpc>
                <a:spcPct val="90000"/>
              </a:lnSpc>
              <a:spcBef>
                <a:spcPts val="500"/>
              </a:spcBef>
              <a:spcAft>
                <a:spcPct val="0"/>
              </a:spcAft>
              <a:buFont typeface="Arial" panose="020B0604020202020204" pitchFamily="34" charset="0"/>
              <a:defRPr lang="en-US" sz="1400" b="0" i="0" u="none" strike="noStrike" kern="1200" cap="none" spc="0" baseline="0" dirty="0">
                <a:solidFill>
                  <a:srgbClr val="000000"/>
                </a:solidFill>
                <a:uFillTx/>
                <a:latin typeface="Montserrat Light" pitchFamily="2" charset="77"/>
                <a:ea typeface="Montserrat" panose="00000500000000000000" pitchFamily="2" charset="0"/>
                <a:cs typeface="Montserrat Light" pitchFamily="2" charset="77"/>
                <a:sym typeface="Montserrat" panose="000005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dirty="0">
                <a:latin typeface="+mn-lt"/>
              </a:rPr>
              <a:t>Lorem ipsum dolor sit </a:t>
            </a:r>
            <a:r>
              <a:rPr lang="en-US" sz="1400" dirty="0" err="1">
                <a:latin typeface="+mn-lt"/>
              </a:rPr>
              <a:t>amet</a:t>
            </a:r>
            <a:r>
              <a:rPr lang="en-US" sz="1400" dirty="0">
                <a:latin typeface="+mn-lt"/>
              </a:rPr>
              <a:t>, </a:t>
            </a:r>
            <a:r>
              <a:rPr lang="en-US" sz="1400" dirty="0" err="1">
                <a:latin typeface="+mn-lt"/>
              </a:rPr>
              <a:t>consectetur</a:t>
            </a:r>
            <a:r>
              <a:rPr lang="en-US" sz="1400" dirty="0">
                <a:latin typeface="+mn-lt"/>
              </a:rPr>
              <a:t> </a:t>
            </a:r>
            <a:r>
              <a:rPr lang="en-US" sz="1400" dirty="0" err="1">
                <a:latin typeface="+mn-lt"/>
              </a:rPr>
              <a:t>adipiscing</a:t>
            </a:r>
            <a:r>
              <a:rPr lang="en-US" sz="1400" dirty="0">
                <a:latin typeface="+mn-lt"/>
              </a:rPr>
              <a:t> </a:t>
            </a:r>
            <a:r>
              <a:rPr lang="en-US" sz="1400" dirty="0" err="1">
                <a:latin typeface="+mn-lt"/>
              </a:rPr>
              <a:t>elit</a:t>
            </a:r>
            <a:r>
              <a:rPr lang="en-US" sz="1400" dirty="0">
                <a:latin typeface="+mn-lt"/>
              </a:rPr>
              <a:t>, sed do </a:t>
            </a:r>
            <a:r>
              <a:rPr lang="en-US" sz="1400" dirty="0" err="1">
                <a:latin typeface="+mn-lt"/>
              </a:rPr>
              <a:t>eiusmod</a:t>
            </a:r>
            <a:r>
              <a:rPr lang="en-US" sz="1400" dirty="0">
                <a:latin typeface="+mn-lt"/>
              </a:rPr>
              <a:t> </a:t>
            </a:r>
            <a:r>
              <a:rPr lang="en-US" sz="1400" dirty="0" err="1">
                <a:latin typeface="+mn-lt"/>
              </a:rPr>
              <a:t>tempor</a:t>
            </a:r>
            <a:r>
              <a:rPr lang="en-US" sz="1400" dirty="0">
                <a:latin typeface="+mn-lt"/>
              </a:rPr>
              <a:t> </a:t>
            </a:r>
            <a:r>
              <a:rPr lang="en-US" sz="1400" dirty="0" err="1">
                <a:latin typeface="+mn-lt"/>
              </a:rPr>
              <a:t>incididunt</a:t>
            </a:r>
            <a:r>
              <a:rPr lang="en-US" sz="1400" dirty="0">
                <a:latin typeface="+mn-lt"/>
              </a:rPr>
              <a:t> </a:t>
            </a:r>
            <a:r>
              <a:rPr lang="en-US" sz="1400" dirty="0" err="1">
                <a:latin typeface="+mn-lt"/>
              </a:rPr>
              <a:t>ut</a:t>
            </a:r>
            <a:r>
              <a:rPr lang="en-US" sz="1400" dirty="0">
                <a:latin typeface="+mn-lt"/>
              </a:rPr>
              <a:t> labore et dolore magna </a:t>
            </a:r>
            <a:r>
              <a:rPr lang="en-US" sz="1400" dirty="0" err="1">
                <a:latin typeface="+mn-lt"/>
              </a:rPr>
              <a:t>aliqua</a:t>
            </a:r>
            <a:r>
              <a:rPr lang="en-US" sz="1400" dirty="0">
                <a:latin typeface="+mn-lt"/>
              </a:rPr>
              <a:t>. Ut </a:t>
            </a:r>
            <a:r>
              <a:rPr lang="en-US" sz="1400" dirty="0" err="1">
                <a:latin typeface="+mn-lt"/>
              </a:rPr>
              <a:t>enim</a:t>
            </a:r>
            <a:r>
              <a:rPr lang="en-US" sz="1400" dirty="0">
                <a:latin typeface="+mn-lt"/>
              </a:rPr>
              <a:t> ad minim </a:t>
            </a:r>
            <a:r>
              <a:rPr lang="en-US" sz="1400" dirty="0" err="1">
                <a:latin typeface="+mn-lt"/>
              </a:rPr>
              <a:t>veniam</a:t>
            </a:r>
            <a:r>
              <a:rPr lang="en-US" sz="1400" dirty="0">
                <a:latin typeface="+mn-lt"/>
              </a:rPr>
              <a:t>, </a:t>
            </a:r>
            <a:r>
              <a:rPr lang="en-US" sz="1400" dirty="0" err="1">
                <a:latin typeface="+mn-lt"/>
              </a:rPr>
              <a:t>quis</a:t>
            </a:r>
            <a:r>
              <a:rPr lang="en-US" sz="1400" dirty="0">
                <a:latin typeface="+mn-lt"/>
              </a:rPr>
              <a:t> </a:t>
            </a:r>
            <a:r>
              <a:rPr lang="en-US" sz="1400" dirty="0" err="1">
                <a:latin typeface="+mn-lt"/>
              </a:rPr>
              <a:t>nostrud</a:t>
            </a:r>
            <a:r>
              <a:rPr lang="en-US" sz="1400" dirty="0">
                <a:latin typeface="+mn-lt"/>
              </a:rPr>
              <a:t> exercitation </a:t>
            </a:r>
            <a:r>
              <a:rPr lang="en-US" sz="1400" dirty="0" err="1">
                <a:latin typeface="+mn-lt"/>
              </a:rPr>
              <a:t>ullamco</a:t>
            </a:r>
            <a:r>
              <a:rPr lang="en-US" sz="1400" dirty="0">
                <a:latin typeface="+mn-lt"/>
              </a:rPr>
              <a:t> </a:t>
            </a:r>
            <a:r>
              <a:rPr lang="en-US" sz="1400" dirty="0" err="1">
                <a:latin typeface="+mn-lt"/>
              </a:rPr>
              <a:t>laboris</a:t>
            </a:r>
            <a:r>
              <a:rPr lang="en-US" sz="1400" dirty="0">
                <a:latin typeface="+mn-lt"/>
              </a:rPr>
              <a:t> nisi </a:t>
            </a:r>
            <a:r>
              <a:rPr lang="en-US" sz="1400" dirty="0" err="1">
                <a:latin typeface="+mn-lt"/>
              </a:rPr>
              <a:t>ut</a:t>
            </a:r>
            <a:r>
              <a:rPr lang="en-US" sz="1400" dirty="0">
                <a:latin typeface="+mn-lt"/>
              </a:rPr>
              <a:t> </a:t>
            </a:r>
            <a:r>
              <a:rPr lang="en-US" sz="1400" dirty="0" err="1">
                <a:latin typeface="+mn-lt"/>
              </a:rPr>
              <a:t>aliquip</a:t>
            </a:r>
            <a:r>
              <a:rPr lang="en-US" sz="1400" dirty="0">
                <a:latin typeface="+mn-lt"/>
              </a:rPr>
              <a:t> ex </a:t>
            </a:r>
            <a:r>
              <a:rPr lang="en-US" sz="1400" dirty="0" err="1">
                <a:latin typeface="+mn-lt"/>
              </a:rPr>
              <a:t>ea</a:t>
            </a:r>
            <a:r>
              <a:rPr lang="en-US" sz="1400" dirty="0">
                <a:latin typeface="+mn-lt"/>
              </a:rPr>
              <a:t> </a:t>
            </a:r>
            <a:r>
              <a:rPr lang="en-US" sz="1400" dirty="0" err="1">
                <a:latin typeface="+mn-lt"/>
              </a:rPr>
              <a:t>commodo</a:t>
            </a:r>
            <a:r>
              <a:rPr lang="en-US" sz="1400" dirty="0">
                <a:latin typeface="+mn-lt"/>
              </a:rPr>
              <a:t> </a:t>
            </a:r>
            <a:r>
              <a:rPr lang="en-US" sz="1400" dirty="0" err="1">
                <a:latin typeface="+mn-lt"/>
              </a:rPr>
              <a:t>consequat</a:t>
            </a:r>
            <a:r>
              <a:rPr lang="en-US" sz="1400" dirty="0">
                <a:latin typeface="+mn-lt"/>
              </a:rPr>
              <a:t>.</a:t>
            </a:r>
          </a:p>
        </p:txBody>
      </p:sp>
      <p:sp>
        <p:nvSpPr>
          <p:cNvPr id="29" name="TextBox 28">
            <a:extLst>
              <a:ext uri="{FF2B5EF4-FFF2-40B4-BE49-F238E27FC236}">
                <a16:creationId xmlns:a16="http://schemas.microsoft.com/office/drawing/2014/main" id="{4B437683-D6D4-3AD1-FE60-C2C5440FC990}"/>
              </a:ext>
            </a:extLst>
          </p:cNvPr>
          <p:cNvSpPr txBox="1"/>
          <p:nvPr/>
        </p:nvSpPr>
        <p:spPr>
          <a:xfrm>
            <a:off x="463549" y="6283325"/>
            <a:ext cx="2414590" cy="195261"/>
          </a:xfrm>
          <a:prstGeom prst="rect">
            <a:avLst/>
          </a:prstGeom>
          <a:noFill/>
        </p:spPr>
        <p:txBody>
          <a:bodyPr wrap="square" lIns="0" tIns="0" rIns="0" bIns="0" rtlCol="0">
            <a:noAutofit/>
          </a:bodyPr>
          <a:lstStyle/>
          <a:p>
            <a:pPr algn="l"/>
            <a:r>
              <a:rPr lang="en-US" sz="800"/>
              <a:t>Data Source: CBMA Weekly Leads Summary</a:t>
            </a:r>
          </a:p>
        </p:txBody>
      </p:sp>
      <p:sp>
        <p:nvSpPr>
          <p:cNvPr id="155" name="Text Placeholder 3">
            <a:extLst>
              <a:ext uri="{FF2B5EF4-FFF2-40B4-BE49-F238E27FC236}">
                <a16:creationId xmlns:a16="http://schemas.microsoft.com/office/drawing/2014/main" id="{D59CDDB9-6767-6AC3-EC95-277601F8BA8D}"/>
              </a:ext>
            </a:extLst>
          </p:cNvPr>
          <p:cNvSpPr txBox="1">
            <a:spLocks/>
          </p:cNvSpPr>
          <p:nvPr/>
        </p:nvSpPr>
        <p:spPr>
          <a:xfrm>
            <a:off x="463548" y="255612"/>
            <a:ext cx="11271251" cy="201168"/>
          </a:xfrm>
          <a:prstGeom prst="rect">
            <a:avLst/>
          </a:prstGeom>
        </p:spPr>
        <p:txBody>
          <a:bodyPr lIns="0" tIns="0" rIns="0" bIns="0" anchor="ctr"/>
          <a:lstStyle>
            <a:lvl1pPr marL="0" indent="0" algn="l" rtl="0" eaLnBrk="1" fontAlgn="base" hangingPunct="1">
              <a:lnSpc>
                <a:spcPct val="95000"/>
              </a:lnSpc>
              <a:spcBef>
                <a:spcPts val="1000"/>
              </a:spcBef>
              <a:spcAft>
                <a:spcPct val="0"/>
              </a:spcAft>
              <a:buFont typeface="Arial" panose="020B0604020202020204" pitchFamily="34" charset="0"/>
              <a:buNone/>
              <a:defRPr lang="en-US" sz="1000" b="0" i="0" kern="1200" cap="all" spc="200" baseline="0" dirty="0">
                <a:solidFill>
                  <a:schemeClr val="accent1"/>
                </a:solidFill>
                <a:latin typeface="Montserrat" panose="00000500000000000000" pitchFamily="2" charset="0"/>
                <a:ea typeface="Montserrat" panose="00000500000000000000" pitchFamily="2" charset="0"/>
                <a:cs typeface="Montserrat" panose="00000500000000000000" pitchFamily="2" charset="0"/>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APR CB Site Performance</a:t>
            </a:r>
          </a:p>
        </p:txBody>
      </p:sp>
      <p:graphicFrame>
        <p:nvGraphicFramePr>
          <p:cNvPr id="7" name="Chart 6">
            <a:extLst>
              <a:ext uri="{FF2B5EF4-FFF2-40B4-BE49-F238E27FC236}">
                <a16:creationId xmlns:a16="http://schemas.microsoft.com/office/drawing/2014/main" id="{7CBECA7A-B904-98B5-2FDD-F883714DF628}"/>
              </a:ext>
            </a:extLst>
          </p:cNvPr>
          <p:cNvGraphicFramePr/>
          <p:nvPr>
            <p:custDataLst>
              <p:tags r:id="rId2"/>
            </p:custDataLst>
            <p:extLst>
              <p:ext uri="{D42A27DB-BD31-4B8C-83A1-F6EECF244321}">
                <p14:modId xmlns:p14="http://schemas.microsoft.com/office/powerpoint/2010/main" val="3874714708"/>
              </p:ext>
            </p:extLst>
          </p:nvPr>
        </p:nvGraphicFramePr>
        <p:xfrm>
          <a:off x="1333500" y="2808288"/>
          <a:ext cx="8186738" cy="3444875"/>
        </p:xfrm>
        <a:graphic>
          <a:graphicData uri="http://schemas.openxmlformats.org/drawingml/2006/chart">
            <c:chart xmlns:c="http://schemas.openxmlformats.org/drawingml/2006/chart" xmlns:r="http://schemas.openxmlformats.org/officeDocument/2006/relationships" r:id="rId69"/>
          </a:graphicData>
        </a:graphic>
      </p:graphicFrame>
      <p:sp>
        <p:nvSpPr>
          <p:cNvPr id="725" name="Rectangle 724">
            <a:extLst>
              <a:ext uri="{FF2B5EF4-FFF2-40B4-BE49-F238E27FC236}">
                <a16:creationId xmlns:a16="http://schemas.microsoft.com/office/drawing/2014/main" id="{C2F65DBA-61B1-0DCB-CC51-F97BE728E1F0}"/>
              </a:ext>
            </a:extLst>
          </p:cNvPr>
          <p:cNvSpPr/>
          <p:nvPr>
            <p:custDataLst>
              <p:tags r:id="rId3"/>
            </p:custDataLst>
          </p:nvPr>
        </p:nvSpPr>
        <p:spPr bwMode="gray">
          <a:xfrm>
            <a:off x="1566863" y="2873375"/>
            <a:ext cx="31591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CA56B793-D169-4727-BB17-F89F5BF3A1B3}" type="datetime'''''''''6''.''''3''''''''''''''''''%'''''">
              <a:rPr lang="en-US" altLang="en-US" sz="1000" smtClean="0">
                <a:solidFill>
                  <a:schemeClr val="tx1"/>
                </a:solidFill>
                <a:effectLst/>
              </a:rPr>
              <a:pPr algn="ctr">
                <a:lnSpc>
                  <a:spcPct val="90000"/>
                </a:lnSpc>
                <a:spcBef>
                  <a:spcPct val="0"/>
                </a:spcBef>
                <a:spcAft>
                  <a:spcPct val="0"/>
                </a:spcAft>
              </a:pPr>
              <a:t>6.3%</a:t>
            </a:fld>
            <a:endParaRPr lang="en-US" sz="1000">
              <a:solidFill>
                <a:schemeClr val="tx1"/>
              </a:solidFill>
            </a:endParaRPr>
          </a:p>
        </p:txBody>
      </p:sp>
      <p:sp>
        <p:nvSpPr>
          <p:cNvPr id="8" name="Text Placeholder 2">
            <a:extLst>
              <a:ext uri="{FF2B5EF4-FFF2-40B4-BE49-F238E27FC236}">
                <a16:creationId xmlns:a16="http://schemas.microsoft.com/office/drawing/2014/main" id="{058CE793-85DE-9D71-363F-2FFE80F2D299}"/>
              </a:ext>
            </a:extLst>
          </p:cNvPr>
          <p:cNvSpPr>
            <a:spLocks noGrp="1" noChangeArrowheads="1"/>
          </p:cNvSpPr>
          <p:nvPr>
            <p:custDataLst>
              <p:tags r:id="rId4"/>
            </p:custDataLst>
          </p:nvPr>
        </p:nvSpPr>
        <p:spPr bwMode="auto">
          <a:xfrm>
            <a:off x="1585913" y="6070600"/>
            <a:ext cx="276225"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AC047DF5-F791-44DB-A1FB-2790586098F7}" type="datetime'''''''''''M''''''''''''''ay'''''''''''''''''''''''''">
              <a:rPr lang="en-US" altLang="en-US" sz="1000" smtClean="0"/>
              <a:pPr/>
              <a:t>May</a:t>
            </a:fld>
            <a:endParaRPr lang="en-US" altLang="en-US" sz="1000"/>
          </a:p>
        </p:txBody>
      </p:sp>
      <p:sp>
        <p:nvSpPr>
          <p:cNvPr id="747" name="Rectangle 746">
            <a:extLst>
              <a:ext uri="{FF2B5EF4-FFF2-40B4-BE49-F238E27FC236}">
                <a16:creationId xmlns:a16="http://schemas.microsoft.com/office/drawing/2014/main" id="{FBE8E398-31CE-1597-C7DD-14C82682E42B}"/>
              </a:ext>
            </a:extLst>
          </p:cNvPr>
          <p:cNvSpPr/>
          <p:nvPr>
            <p:custDataLst>
              <p:tags r:id="rId5"/>
            </p:custDataLst>
          </p:nvPr>
        </p:nvSpPr>
        <p:spPr bwMode="gray">
          <a:xfrm>
            <a:off x="2181225" y="3313113"/>
            <a:ext cx="32226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algn="ctr">
              <a:lnSpc>
                <a:spcPct val="90000"/>
              </a:lnSpc>
              <a:spcBef>
                <a:spcPct val="0"/>
              </a:spcBef>
              <a:spcAft>
                <a:spcPct val="0"/>
              </a:spcAft>
            </a:pPr>
            <a:fld id="{0A4AAD75-7B75-417B-8000-78398FEDA48B}" type="datetime'5''''''''''''''''''.''''''''''''0''%'''''''''''">
              <a:rPr lang="en-US" altLang="en-US" sz="1000" smtClean="0">
                <a:solidFill>
                  <a:schemeClr val="tx1"/>
                </a:solidFill>
                <a:effectLst/>
              </a:rPr>
              <a:pPr algn="ctr">
                <a:lnSpc>
                  <a:spcPct val="90000"/>
                </a:lnSpc>
                <a:spcBef>
                  <a:spcPct val="0"/>
                </a:spcBef>
                <a:spcAft>
                  <a:spcPct val="0"/>
                </a:spcAft>
              </a:pPr>
              <a:t>5.0%</a:t>
            </a:fld>
            <a:endParaRPr lang="en-US" sz="1000">
              <a:solidFill>
                <a:schemeClr val="tx1"/>
              </a:solidFill>
            </a:endParaRPr>
          </a:p>
        </p:txBody>
      </p:sp>
      <p:sp>
        <p:nvSpPr>
          <p:cNvPr id="726" name="Rectangle 725">
            <a:extLst>
              <a:ext uri="{FF2B5EF4-FFF2-40B4-BE49-F238E27FC236}">
                <a16:creationId xmlns:a16="http://schemas.microsoft.com/office/drawing/2014/main" id="{B9252E9C-1BE2-E13D-5CBD-6646B047DFC5}"/>
              </a:ext>
            </a:extLst>
          </p:cNvPr>
          <p:cNvSpPr/>
          <p:nvPr>
            <p:custDataLst>
              <p:tags r:id="rId6"/>
            </p:custDataLst>
          </p:nvPr>
        </p:nvSpPr>
        <p:spPr bwMode="gray">
          <a:xfrm>
            <a:off x="2184400" y="2884488"/>
            <a:ext cx="31591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3947E976-84C9-4BCE-BBDF-31162D853C38}" type="datetime'''''''''''''''''''6''''''''''''''''.''2''''''''%'''''">
              <a:rPr lang="en-US" altLang="en-US" sz="1000" smtClean="0">
                <a:solidFill>
                  <a:schemeClr val="tx1"/>
                </a:solidFill>
                <a:effectLst/>
              </a:rPr>
              <a:pPr algn="ctr">
                <a:lnSpc>
                  <a:spcPct val="90000"/>
                </a:lnSpc>
                <a:spcBef>
                  <a:spcPct val="0"/>
                </a:spcBef>
                <a:spcAft>
                  <a:spcPct val="0"/>
                </a:spcAft>
              </a:pPr>
              <a:t>6.2%</a:t>
            </a:fld>
            <a:endParaRPr lang="en-US" sz="1000">
              <a:solidFill>
                <a:schemeClr val="tx1"/>
              </a:solidFill>
            </a:endParaRPr>
          </a:p>
        </p:txBody>
      </p:sp>
      <p:sp>
        <p:nvSpPr>
          <p:cNvPr id="10" name="Text Placeholder 2">
            <a:extLst>
              <a:ext uri="{FF2B5EF4-FFF2-40B4-BE49-F238E27FC236}">
                <a16:creationId xmlns:a16="http://schemas.microsoft.com/office/drawing/2014/main" id="{0F42FA25-9F58-116F-E3F8-6D67BDAABD12}"/>
              </a:ext>
            </a:extLst>
          </p:cNvPr>
          <p:cNvSpPr>
            <a:spLocks noGrp="1" noChangeArrowheads="1"/>
          </p:cNvSpPr>
          <p:nvPr>
            <p:custDataLst>
              <p:tags r:id="rId7"/>
            </p:custDataLst>
          </p:nvPr>
        </p:nvSpPr>
        <p:spPr bwMode="auto">
          <a:xfrm>
            <a:off x="2217738" y="6070600"/>
            <a:ext cx="247650"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FF109E48-3D95-417B-8DBE-CF5D54940E7A}" type="datetime'''J''''''''''''u''''''''''''''''n'''''''''">
              <a:rPr lang="en-US" altLang="en-US" sz="1000" smtClean="0"/>
              <a:pPr/>
              <a:t>Jun</a:t>
            </a:fld>
            <a:endParaRPr lang="en-US" altLang="en-US" sz="1000"/>
          </a:p>
        </p:txBody>
      </p:sp>
      <p:sp>
        <p:nvSpPr>
          <p:cNvPr id="748" name="Rectangle 747">
            <a:extLst>
              <a:ext uri="{FF2B5EF4-FFF2-40B4-BE49-F238E27FC236}">
                <a16:creationId xmlns:a16="http://schemas.microsoft.com/office/drawing/2014/main" id="{0D0B5122-89B8-CD83-9414-0F52AA06537F}"/>
              </a:ext>
            </a:extLst>
          </p:cNvPr>
          <p:cNvSpPr/>
          <p:nvPr>
            <p:custDataLst>
              <p:tags r:id="rId8"/>
            </p:custDataLst>
          </p:nvPr>
        </p:nvSpPr>
        <p:spPr bwMode="gray">
          <a:xfrm>
            <a:off x="2795588" y="3333750"/>
            <a:ext cx="325438"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algn="ctr">
              <a:lnSpc>
                <a:spcPct val="90000"/>
              </a:lnSpc>
              <a:spcBef>
                <a:spcPct val="0"/>
              </a:spcBef>
              <a:spcAft>
                <a:spcPct val="0"/>
              </a:spcAft>
            </a:pPr>
            <a:fld id="{8BF78ED0-FD39-4B41-AADB-B4A8173F2529}" type="datetime'''''''4''''''.''''''''7''''%'''''''''''''''''">
              <a:rPr lang="en-US" altLang="en-US" sz="1000" smtClean="0">
                <a:solidFill>
                  <a:schemeClr val="tx1"/>
                </a:solidFill>
                <a:effectLst/>
              </a:rPr>
              <a:pPr algn="ctr">
                <a:lnSpc>
                  <a:spcPct val="90000"/>
                </a:lnSpc>
                <a:spcBef>
                  <a:spcPct val="0"/>
                </a:spcBef>
                <a:spcAft>
                  <a:spcPct val="0"/>
                </a:spcAft>
              </a:pPr>
              <a:t>4.7%</a:t>
            </a:fld>
            <a:endParaRPr lang="en-US" sz="1000">
              <a:solidFill>
                <a:schemeClr val="tx1"/>
              </a:solidFill>
            </a:endParaRPr>
          </a:p>
        </p:txBody>
      </p:sp>
      <p:sp>
        <p:nvSpPr>
          <p:cNvPr id="727" name="Rectangle 726">
            <a:extLst>
              <a:ext uri="{FF2B5EF4-FFF2-40B4-BE49-F238E27FC236}">
                <a16:creationId xmlns:a16="http://schemas.microsoft.com/office/drawing/2014/main" id="{269694CC-563D-8E14-DC4E-78C09693DBB8}"/>
              </a:ext>
            </a:extLst>
          </p:cNvPr>
          <p:cNvSpPr/>
          <p:nvPr>
            <p:custDataLst>
              <p:tags r:id="rId9"/>
            </p:custDataLst>
          </p:nvPr>
        </p:nvSpPr>
        <p:spPr bwMode="gray">
          <a:xfrm>
            <a:off x="2801938" y="2927350"/>
            <a:ext cx="312738"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FF492BB5-CF2F-416A-BF00-CE5E6D44E050}" type="datetime'''5''''.''''''''''7''''''''''%'''''''''''''''''''">
              <a:rPr lang="en-US" altLang="en-US" sz="1000" smtClean="0">
                <a:solidFill>
                  <a:schemeClr val="tx1"/>
                </a:solidFill>
                <a:effectLst/>
              </a:rPr>
              <a:pPr algn="ctr">
                <a:lnSpc>
                  <a:spcPct val="90000"/>
                </a:lnSpc>
                <a:spcBef>
                  <a:spcPct val="0"/>
                </a:spcBef>
                <a:spcAft>
                  <a:spcPct val="0"/>
                </a:spcAft>
              </a:pPr>
              <a:t>5.7%</a:t>
            </a:fld>
            <a:endParaRPr lang="en-US" sz="1000">
              <a:solidFill>
                <a:schemeClr val="tx1"/>
              </a:solidFill>
            </a:endParaRPr>
          </a:p>
        </p:txBody>
      </p:sp>
      <p:sp>
        <p:nvSpPr>
          <p:cNvPr id="14" name="Text Placeholder 2">
            <a:extLst>
              <a:ext uri="{FF2B5EF4-FFF2-40B4-BE49-F238E27FC236}">
                <a16:creationId xmlns:a16="http://schemas.microsoft.com/office/drawing/2014/main" id="{12CE97CB-9D22-9336-70CC-C98676B8504C}"/>
              </a:ext>
            </a:extLst>
          </p:cNvPr>
          <p:cNvSpPr>
            <a:spLocks noGrp="1" noChangeArrowheads="1"/>
          </p:cNvSpPr>
          <p:nvPr>
            <p:custDataLst>
              <p:tags r:id="rId10"/>
            </p:custDataLst>
          </p:nvPr>
        </p:nvSpPr>
        <p:spPr bwMode="auto">
          <a:xfrm>
            <a:off x="2859088" y="6070600"/>
            <a:ext cx="196850"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DC6B4DE2-0115-48F6-91A4-8E39BF07FBAC}" type="datetime'''''''''''''''''''J''''''''u''''''''''''l'''''">
              <a:rPr lang="en-US" altLang="en-US" sz="1000" smtClean="0"/>
              <a:pPr/>
              <a:t>Jul</a:t>
            </a:fld>
            <a:endParaRPr lang="en-US" altLang="en-US" sz="1000"/>
          </a:p>
        </p:txBody>
      </p:sp>
      <p:sp>
        <p:nvSpPr>
          <p:cNvPr id="749" name="Rectangle 748">
            <a:extLst>
              <a:ext uri="{FF2B5EF4-FFF2-40B4-BE49-F238E27FC236}">
                <a16:creationId xmlns:a16="http://schemas.microsoft.com/office/drawing/2014/main" id="{6F78B425-AC91-DDD0-0BBC-E743289B4F0A}"/>
              </a:ext>
            </a:extLst>
          </p:cNvPr>
          <p:cNvSpPr/>
          <p:nvPr>
            <p:custDataLst>
              <p:tags r:id="rId11"/>
            </p:custDataLst>
          </p:nvPr>
        </p:nvSpPr>
        <p:spPr bwMode="gray">
          <a:xfrm>
            <a:off x="3413125" y="3335338"/>
            <a:ext cx="325438"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algn="ctr">
              <a:lnSpc>
                <a:spcPct val="90000"/>
              </a:lnSpc>
              <a:spcBef>
                <a:spcPct val="0"/>
              </a:spcBef>
              <a:spcAft>
                <a:spcPct val="0"/>
              </a:spcAft>
            </a:pPr>
            <a:fld id="{E3156097-5A86-40A9-800B-9468BC9BBDFA}" type="datetime'''''''''''4''''''''''''''''.''''7''''''''''%'''''''''">
              <a:rPr lang="en-US" altLang="en-US" sz="1000" smtClean="0">
                <a:solidFill>
                  <a:schemeClr val="tx1"/>
                </a:solidFill>
                <a:effectLst/>
              </a:rPr>
              <a:pPr algn="ctr">
                <a:lnSpc>
                  <a:spcPct val="90000"/>
                </a:lnSpc>
                <a:spcBef>
                  <a:spcPct val="0"/>
                </a:spcBef>
                <a:spcAft>
                  <a:spcPct val="0"/>
                </a:spcAft>
              </a:pPr>
              <a:t>4.7%</a:t>
            </a:fld>
            <a:endParaRPr lang="en-US" sz="1000">
              <a:solidFill>
                <a:schemeClr val="tx1"/>
              </a:solidFill>
            </a:endParaRPr>
          </a:p>
        </p:txBody>
      </p:sp>
      <p:sp>
        <p:nvSpPr>
          <p:cNvPr id="728" name="Rectangle 727">
            <a:extLst>
              <a:ext uri="{FF2B5EF4-FFF2-40B4-BE49-F238E27FC236}">
                <a16:creationId xmlns:a16="http://schemas.microsoft.com/office/drawing/2014/main" id="{13252FD8-B7E0-F1F4-354B-D95F49260BB4}"/>
              </a:ext>
            </a:extLst>
          </p:cNvPr>
          <p:cNvSpPr/>
          <p:nvPr>
            <p:custDataLst>
              <p:tags r:id="rId12"/>
            </p:custDataLst>
          </p:nvPr>
        </p:nvSpPr>
        <p:spPr bwMode="gray">
          <a:xfrm>
            <a:off x="3417888" y="2882900"/>
            <a:ext cx="31591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AD7DCDA3-D0DC-44B9-9B61-C8CD2AFAA8A5}" type="datetime'''''6''''''''''''''''''''''''''.''''''''''2''''''%'''''''''">
              <a:rPr lang="en-US" altLang="en-US" sz="1000" smtClean="0">
                <a:solidFill>
                  <a:schemeClr val="tx1"/>
                </a:solidFill>
                <a:effectLst/>
              </a:rPr>
              <a:pPr algn="ctr">
                <a:lnSpc>
                  <a:spcPct val="90000"/>
                </a:lnSpc>
                <a:spcBef>
                  <a:spcPct val="0"/>
                </a:spcBef>
                <a:spcAft>
                  <a:spcPct val="0"/>
                </a:spcAft>
              </a:pPr>
              <a:t>6.2%</a:t>
            </a:fld>
            <a:endParaRPr lang="en-US" sz="1000">
              <a:solidFill>
                <a:schemeClr val="tx1"/>
              </a:solidFill>
            </a:endParaRPr>
          </a:p>
        </p:txBody>
      </p:sp>
      <p:sp>
        <p:nvSpPr>
          <p:cNvPr id="16" name="Text Placeholder 2">
            <a:extLst>
              <a:ext uri="{FF2B5EF4-FFF2-40B4-BE49-F238E27FC236}">
                <a16:creationId xmlns:a16="http://schemas.microsoft.com/office/drawing/2014/main" id="{63227D4D-0934-DF67-58AD-0B1D1E0E55EB}"/>
              </a:ext>
            </a:extLst>
          </p:cNvPr>
          <p:cNvSpPr>
            <a:spLocks noGrp="1" noChangeArrowheads="1"/>
          </p:cNvSpPr>
          <p:nvPr>
            <p:custDataLst>
              <p:tags r:id="rId13"/>
            </p:custDataLst>
          </p:nvPr>
        </p:nvSpPr>
        <p:spPr bwMode="auto">
          <a:xfrm>
            <a:off x="3436938" y="6070600"/>
            <a:ext cx="276225"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A28A8ACE-E2F9-47CF-A83B-94D680C15D02}" type="datetime'''''''''''''A''''''''''''''''''''''u''''''''g'">
              <a:rPr lang="en-US" altLang="en-US" sz="1000" smtClean="0"/>
              <a:pPr/>
              <a:t>Aug</a:t>
            </a:fld>
            <a:endParaRPr lang="en-US" altLang="en-US" sz="1000"/>
          </a:p>
        </p:txBody>
      </p:sp>
      <p:sp>
        <p:nvSpPr>
          <p:cNvPr id="750" name="Rectangle 749">
            <a:extLst>
              <a:ext uri="{FF2B5EF4-FFF2-40B4-BE49-F238E27FC236}">
                <a16:creationId xmlns:a16="http://schemas.microsoft.com/office/drawing/2014/main" id="{C41BE53C-4BC7-5CE1-26A1-3248B25DA537}"/>
              </a:ext>
            </a:extLst>
          </p:cNvPr>
          <p:cNvSpPr/>
          <p:nvPr>
            <p:custDataLst>
              <p:tags r:id="rId14"/>
            </p:custDataLst>
          </p:nvPr>
        </p:nvSpPr>
        <p:spPr bwMode="gray">
          <a:xfrm>
            <a:off x="4044950" y="3395663"/>
            <a:ext cx="29686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algn="ctr">
              <a:lnSpc>
                <a:spcPct val="90000"/>
              </a:lnSpc>
              <a:spcBef>
                <a:spcPct val="0"/>
              </a:spcBef>
              <a:spcAft>
                <a:spcPct val="0"/>
              </a:spcAft>
            </a:pPr>
            <a:fld id="{26C32AAA-D2EF-4C96-BC6E-52EEB6F95F9B}" type="datetime'4''''''.''''''1''''''''''''%'''''">
              <a:rPr lang="en-US" altLang="en-US" sz="1000" smtClean="0">
                <a:solidFill>
                  <a:schemeClr val="tx1"/>
                </a:solidFill>
                <a:effectLst/>
              </a:rPr>
              <a:pPr algn="ctr">
                <a:lnSpc>
                  <a:spcPct val="90000"/>
                </a:lnSpc>
                <a:spcBef>
                  <a:spcPct val="0"/>
                </a:spcBef>
                <a:spcAft>
                  <a:spcPct val="0"/>
                </a:spcAft>
              </a:pPr>
              <a:t>4.1%</a:t>
            </a:fld>
            <a:endParaRPr lang="en-US" sz="1000">
              <a:solidFill>
                <a:schemeClr val="tx1"/>
              </a:solidFill>
            </a:endParaRPr>
          </a:p>
        </p:txBody>
      </p:sp>
      <p:sp>
        <p:nvSpPr>
          <p:cNvPr id="729" name="Rectangle 728">
            <a:extLst>
              <a:ext uri="{FF2B5EF4-FFF2-40B4-BE49-F238E27FC236}">
                <a16:creationId xmlns:a16="http://schemas.microsoft.com/office/drawing/2014/main" id="{F072FA9A-79E4-5760-F129-A19BA783A1C0}"/>
              </a:ext>
            </a:extLst>
          </p:cNvPr>
          <p:cNvSpPr/>
          <p:nvPr>
            <p:custDataLst>
              <p:tags r:id="rId15"/>
            </p:custDataLst>
          </p:nvPr>
        </p:nvSpPr>
        <p:spPr bwMode="gray">
          <a:xfrm>
            <a:off x="4033838" y="2924175"/>
            <a:ext cx="319088"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20D5F20F-2CDE-4C03-A42B-B63BB59D0000}" type="datetime'''''''5''''.''''''''''8''''''''%'">
              <a:rPr lang="en-US" altLang="en-US" sz="1000" smtClean="0">
                <a:solidFill>
                  <a:schemeClr val="tx1"/>
                </a:solidFill>
                <a:effectLst/>
              </a:rPr>
              <a:pPr algn="ctr">
                <a:lnSpc>
                  <a:spcPct val="90000"/>
                </a:lnSpc>
                <a:spcBef>
                  <a:spcPct val="0"/>
                </a:spcBef>
                <a:spcAft>
                  <a:spcPct val="0"/>
                </a:spcAft>
              </a:pPr>
              <a:t>5.8%</a:t>
            </a:fld>
            <a:endParaRPr lang="en-US" sz="1000">
              <a:solidFill>
                <a:schemeClr val="tx1"/>
              </a:solidFill>
            </a:endParaRPr>
          </a:p>
        </p:txBody>
      </p:sp>
      <p:sp>
        <p:nvSpPr>
          <p:cNvPr id="17" name="Text Placeholder 2">
            <a:extLst>
              <a:ext uri="{FF2B5EF4-FFF2-40B4-BE49-F238E27FC236}">
                <a16:creationId xmlns:a16="http://schemas.microsoft.com/office/drawing/2014/main" id="{12BA1291-0E0B-000A-1E44-3E9974794623}"/>
              </a:ext>
            </a:extLst>
          </p:cNvPr>
          <p:cNvSpPr>
            <a:spLocks noGrp="1" noChangeArrowheads="1"/>
          </p:cNvSpPr>
          <p:nvPr>
            <p:custDataLst>
              <p:tags r:id="rId16"/>
            </p:custDataLst>
          </p:nvPr>
        </p:nvSpPr>
        <p:spPr bwMode="auto">
          <a:xfrm>
            <a:off x="4067175" y="6070600"/>
            <a:ext cx="252413"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816CE3FA-DFF3-495C-81B9-488F4AA2265A}" type="datetime'''S''''''''''e''''''''''''''''''''''''''p'''''''''''''">
              <a:rPr lang="en-US" altLang="en-US" sz="1000" smtClean="0"/>
              <a:pPr/>
              <a:t>Sep</a:t>
            </a:fld>
            <a:endParaRPr lang="en-US" altLang="en-US" sz="1000"/>
          </a:p>
        </p:txBody>
      </p:sp>
      <p:sp>
        <p:nvSpPr>
          <p:cNvPr id="751" name="Rectangle 750">
            <a:extLst>
              <a:ext uri="{FF2B5EF4-FFF2-40B4-BE49-F238E27FC236}">
                <a16:creationId xmlns:a16="http://schemas.microsoft.com/office/drawing/2014/main" id="{097FCB1B-9140-FD44-549B-64174B6F2DCC}"/>
              </a:ext>
            </a:extLst>
          </p:cNvPr>
          <p:cNvSpPr/>
          <p:nvPr>
            <p:custDataLst>
              <p:tags r:id="rId17"/>
            </p:custDataLst>
          </p:nvPr>
        </p:nvSpPr>
        <p:spPr bwMode="gray">
          <a:xfrm>
            <a:off x="4648200" y="3459163"/>
            <a:ext cx="32226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algn="ctr">
              <a:lnSpc>
                <a:spcPct val="90000"/>
              </a:lnSpc>
              <a:spcBef>
                <a:spcPct val="0"/>
              </a:spcBef>
              <a:spcAft>
                <a:spcPct val="0"/>
              </a:spcAft>
            </a:pPr>
            <a:fld id="{53526039-C91E-4B97-B404-A8D852E1EDD4}" type="datetime'3''''''''''''''''''''''''''''''''''.''''''''''''''''''''4%'">
              <a:rPr lang="en-US" altLang="en-US" sz="1000" smtClean="0">
                <a:solidFill>
                  <a:schemeClr val="tx1"/>
                </a:solidFill>
                <a:effectLst/>
              </a:rPr>
              <a:pPr algn="ctr">
                <a:lnSpc>
                  <a:spcPct val="90000"/>
                </a:lnSpc>
                <a:spcBef>
                  <a:spcPct val="0"/>
                </a:spcBef>
                <a:spcAft>
                  <a:spcPct val="0"/>
                </a:spcAft>
              </a:pPr>
              <a:t>3.4%</a:t>
            </a:fld>
            <a:endParaRPr lang="en-US" sz="1000">
              <a:solidFill>
                <a:schemeClr val="tx1"/>
              </a:solidFill>
            </a:endParaRPr>
          </a:p>
        </p:txBody>
      </p:sp>
      <p:sp>
        <p:nvSpPr>
          <p:cNvPr id="730" name="Rectangle 729">
            <a:extLst>
              <a:ext uri="{FF2B5EF4-FFF2-40B4-BE49-F238E27FC236}">
                <a16:creationId xmlns:a16="http://schemas.microsoft.com/office/drawing/2014/main" id="{BDA32807-F11C-EBD8-3FFD-82305C6C0634}"/>
              </a:ext>
            </a:extLst>
          </p:cNvPr>
          <p:cNvSpPr/>
          <p:nvPr>
            <p:custDataLst>
              <p:tags r:id="rId18"/>
            </p:custDataLst>
          </p:nvPr>
        </p:nvSpPr>
        <p:spPr bwMode="gray">
          <a:xfrm>
            <a:off x="4645025" y="3003550"/>
            <a:ext cx="32861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ACFEBDCD-19F2-4063-B7A3-5D52FB515D4F}" type="datetime'''4''''''''''''''''''''.9''''%'''''''''''''''''">
              <a:rPr lang="en-US" altLang="en-US" sz="1000" smtClean="0">
                <a:solidFill>
                  <a:schemeClr val="tx1"/>
                </a:solidFill>
                <a:effectLst/>
              </a:rPr>
              <a:pPr algn="ctr">
                <a:lnSpc>
                  <a:spcPct val="90000"/>
                </a:lnSpc>
                <a:spcBef>
                  <a:spcPct val="0"/>
                </a:spcBef>
                <a:spcAft>
                  <a:spcPct val="0"/>
                </a:spcAft>
              </a:pPr>
              <a:t>4.9%</a:t>
            </a:fld>
            <a:endParaRPr lang="en-US" sz="1000">
              <a:solidFill>
                <a:schemeClr val="tx1"/>
              </a:solidFill>
            </a:endParaRPr>
          </a:p>
        </p:txBody>
      </p:sp>
      <p:sp>
        <p:nvSpPr>
          <p:cNvPr id="19" name="Text Placeholder 2">
            <a:extLst>
              <a:ext uri="{FF2B5EF4-FFF2-40B4-BE49-F238E27FC236}">
                <a16:creationId xmlns:a16="http://schemas.microsoft.com/office/drawing/2014/main" id="{4D7A8A3F-5A85-BC29-D85A-D61168AEB85B}"/>
              </a:ext>
            </a:extLst>
          </p:cNvPr>
          <p:cNvSpPr>
            <a:spLocks noGrp="1" noChangeArrowheads="1"/>
          </p:cNvSpPr>
          <p:nvPr>
            <p:custDataLst>
              <p:tags r:id="rId19"/>
            </p:custDataLst>
          </p:nvPr>
        </p:nvSpPr>
        <p:spPr bwMode="auto">
          <a:xfrm>
            <a:off x="4687888" y="6070600"/>
            <a:ext cx="241300"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FF3842FE-FE98-4E85-AC41-B970F80AA523}" type="datetime'''''''O''c''''''''''''t'''''''''''''''''''''''''''''''">
              <a:rPr lang="en-US" altLang="en-US" sz="1000" smtClean="0"/>
              <a:pPr/>
              <a:t>Oct</a:t>
            </a:fld>
            <a:endParaRPr lang="en-US" altLang="en-US" sz="1000"/>
          </a:p>
        </p:txBody>
      </p:sp>
      <p:sp>
        <p:nvSpPr>
          <p:cNvPr id="752" name="Rectangle 751">
            <a:extLst>
              <a:ext uri="{FF2B5EF4-FFF2-40B4-BE49-F238E27FC236}">
                <a16:creationId xmlns:a16="http://schemas.microsoft.com/office/drawing/2014/main" id="{9973EC7C-48D8-F38A-124D-65289B910279}"/>
              </a:ext>
            </a:extLst>
          </p:cNvPr>
          <p:cNvSpPr/>
          <p:nvPr>
            <p:custDataLst>
              <p:tags r:id="rId20"/>
            </p:custDataLst>
          </p:nvPr>
        </p:nvSpPr>
        <p:spPr bwMode="gray">
          <a:xfrm>
            <a:off x="5262563" y="3351213"/>
            <a:ext cx="32861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algn="ctr">
              <a:lnSpc>
                <a:spcPct val="90000"/>
              </a:lnSpc>
              <a:spcBef>
                <a:spcPct val="0"/>
              </a:spcBef>
              <a:spcAft>
                <a:spcPct val="0"/>
              </a:spcAft>
            </a:pPr>
            <a:fld id="{01150761-70F7-4BE0-A68C-DAF24E999309}" type="datetime'4.''6''''''''''''''''''''''''''''''%'''''''''''''''">
              <a:rPr lang="en-US" altLang="en-US" sz="1000" smtClean="0">
                <a:solidFill>
                  <a:schemeClr val="tx1"/>
                </a:solidFill>
                <a:effectLst/>
              </a:rPr>
              <a:pPr algn="ctr">
                <a:lnSpc>
                  <a:spcPct val="90000"/>
                </a:lnSpc>
                <a:spcBef>
                  <a:spcPct val="0"/>
                </a:spcBef>
                <a:spcAft>
                  <a:spcPct val="0"/>
                </a:spcAft>
              </a:pPr>
              <a:t>4.6%</a:t>
            </a:fld>
            <a:endParaRPr lang="en-US" sz="1000">
              <a:solidFill>
                <a:schemeClr val="tx1"/>
              </a:solidFill>
            </a:endParaRPr>
          </a:p>
        </p:txBody>
      </p:sp>
      <p:sp>
        <p:nvSpPr>
          <p:cNvPr id="731" name="Rectangle 730">
            <a:extLst>
              <a:ext uri="{FF2B5EF4-FFF2-40B4-BE49-F238E27FC236}">
                <a16:creationId xmlns:a16="http://schemas.microsoft.com/office/drawing/2014/main" id="{F888F844-72F4-2CBB-5DA8-08641C1F9071}"/>
              </a:ext>
            </a:extLst>
          </p:cNvPr>
          <p:cNvSpPr/>
          <p:nvPr>
            <p:custDataLst>
              <p:tags r:id="rId21"/>
            </p:custDataLst>
          </p:nvPr>
        </p:nvSpPr>
        <p:spPr bwMode="gray">
          <a:xfrm>
            <a:off x="5272088" y="2968625"/>
            <a:ext cx="30956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C2A6256B-6629-4CB4-819C-DA0774178B19}" type="datetime'''''''''''''''5''''.''''''''''''''3''''''''%'">
              <a:rPr lang="en-US" altLang="en-US" sz="1000" smtClean="0">
                <a:solidFill>
                  <a:schemeClr val="tx1"/>
                </a:solidFill>
                <a:effectLst/>
              </a:rPr>
              <a:pPr algn="ctr">
                <a:lnSpc>
                  <a:spcPct val="90000"/>
                </a:lnSpc>
                <a:spcBef>
                  <a:spcPct val="0"/>
                </a:spcBef>
                <a:spcAft>
                  <a:spcPct val="0"/>
                </a:spcAft>
              </a:pPr>
              <a:t>5.3%</a:t>
            </a:fld>
            <a:endParaRPr lang="en-US" sz="1000">
              <a:solidFill>
                <a:schemeClr val="tx1"/>
              </a:solidFill>
            </a:endParaRPr>
          </a:p>
        </p:txBody>
      </p:sp>
      <p:sp>
        <p:nvSpPr>
          <p:cNvPr id="21" name="Text Placeholder 2">
            <a:extLst>
              <a:ext uri="{FF2B5EF4-FFF2-40B4-BE49-F238E27FC236}">
                <a16:creationId xmlns:a16="http://schemas.microsoft.com/office/drawing/2014/main" id="{94DEC1C6-763A-DE84-1245-D2247728D2A4}"/>
              </a:ext>
            </a:extLst>
          </p:cNvPr>
          <p:cNvSpPr>
            <a:spLocks noGrp="1" noChangeArrowheads="1"/>
          </p:cNvSpPr>
          <p:nvPr>
            <p:custDataLst>
              <p:tags r:id="rId22"/>
            </p:custDataLst>
          </p:nvPr>
        </p:nvSpPr>
        <p:spPr bwMode="auto">
          <a:xfrm>
            <a:off x="5294313" y="6070600"/>
            <a:ext cx="263525"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F93F4C68-1E3B-43EA-AF3E-426322AC10C2}" type="datetime'''''''''''''''''''''''''''''N''o''''''''''''''''''''''v'''''">
              <a:rPr lang="en-US" altLang="en-US" sz="1000" smtClean="0"/>
              <a:pPr/>
              <a:t>Nov</a:t>
            </a:fld>
            <a:endParaRPr lang="en-US" altLang="en-US" sz="1000"/>
          </a:p>
        </p:txBody>
      </p:sp>
      <p:sp>
        <p:nvSpPr>
          <p:cNvPr id="753" name="Rectangle 752">
            <a:extLst>
              <a:ext uri="{FF2B5EF4-FFF2-40B4-BE49-F238E27FC236}">
                <a16:creationId xmlns:a16="http://schemas.microsoft.com/office/drawing/2014/main" id="{C98FE19A-F0EB-8616-D332-7209F9D89778}"/>
              </a:ext>
            </a:extLst>
          </p:cNvPr>
          <p:cNvSpPr/>
          <p:nvPr>
            <p:custDataLst>
              <p:tags r:id="rId23"/>
            </p:custDataLst>
          </p:nvPr>
        </p:nvSpPr>
        <p:spPr bwMode="gray">
          <a:xfrm>
            <a:off x="5888038" y="3433763"/>
            <a:ext cx="312738"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algn="ctr">
              <a:lnSpc>
                <a:spcPct val="90000"/>
              </a:lnSpc>
              <a:spcBef>
                <a:spcPct val="0"/>
              </a:spcBef>
              <a:spcAft>
                <a:spcPct val="0"/>
              </a:spcAft>
            </a:pPr>
            <a:fld id="{495F083E-920B-4F0F-B723-A3FF71420AF5}" type="datetime'''''''''''''3''.7''''''''''''''%'''''''''''''''''''''">
              <a:rPr lang="en-US" altLang="en-US" sz="1000" smtClean="0">
                <a:solidFill>
                  <a:schemeClr val="tx1"/>
                </a:solidFill>
                <a:effectLst/>
              </a:rPr>
              <a:pPr algn="ctr">
                <a:lnSpc>
                  <a:spcPct val="90000"/>
                </a:lnSpc>
                <a:spcBef>
                  <a:spcPct val="0"/>
                </a:spcBef>
                <a:spcAft>
                  <a:spcPct val="0"/>
                </a:spcAft>
              </a:pPr>
              <a:t>3.7%</a:t>
            </a:fld>
            <a:endParaRPr lang="en-US" sz="1000">
              <a:solidFill>
                <a:schemeClr val="tx1"/>
              </a:solidFill>
            </a:endParaRPr>
          </a:p>
        </p:txBody>
      </p:sp>
      <p:sp>
        <p:nvSpPr>
          <p:cNvPr id="732" name="Rectangle 731">
            <a:extLst>
              <a:ext uri="{FF2B5EF4-FFF2-40B4-BE49-F238E27FC236}">
                <a16:creationId xmlns:a16="http://schemas.microsoft.com/office/drawing/2014/main" id="{C8EFA045-6D4A-6B34-75BE-597939664616}"/>
              </a:ext>
            </a:extLst>
          </p:cNvPr>
          <p:cNvSpPr/>
          <p:nvPr>
            <p:custDataLst>
              <p:tags r:id="rId24"/>
            </p:custDataLst>
          </p:nvPr>
        </p:nvSpPr>
        <p:spPr bwMode="gray">
          <a:xfrm>
            <a:off x="5880100" y="3001963"/>
            <a:ext cx="32861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637D8ED9-A834-4612-848E-1D10F1F6BFB3}" type="datetime'''''4''.''''''''''''''''9''''''''''''''''%'''''''">
              <a:rPr lang="en-US" altLang="en-US" sz="1000" smtClean="0">
                <a:solidFill>
                  <a:schemeClr val="tx1"/>
                </a:solidFill>
                <a:effectLst/>
              </a:rPr>
              <a:pPr algn="ctr">
                <a:lnSpc>
                  <a:spcPct val="90000"/>
                </a:lnSpc>
                <a:spcBef>
                  <a:spcPct val="0"/>
                </a:spcBef>
                <a:spcAft>
                  <a:spcPct val="0"/>
                </a:spcAft>
              </a:pPr>
              <a:t>4.9%</a:t>
            </a:fld>
            <a:endParaRPr lang="en-US" sz="1000">
              <a:solidFill>
                <a:schemeClr val="tx1"/>
              </a:solidFill>
            </a:endParaRPr>
          </a:p>
        </p:txBody>
      </p:sp>
      <p:sp>
        <p:nvSpPr>
          <p:cNvPr id="22" name="Text Placeholder 2">
            <a:extLst>
              <a:ext uri="{FF2B5EF4-FFF2-40B4-BE49-F238E27FC236}">
                <a16:creationId xmlns:a16="http://schemas.microsoft.com/office/drawing/2014/main" id="{4DBE66D3-E827-524E-B00B-B8207C9BE3A5}"/>
              </a:ext>
            </a:extLst>
          </p:cNvPr>
          <p:cNvSpPr>
            <a:spLocks noGrp="1" noChangeArrowheads="1"/>
          </p:cNvSpPr>
          <p:nvPr>
            <p:custDataLst>
              <p:tags r:id="rId25"/>
            </p:custDataLst>
          </p:nvPr>
        </p:nvSpPr>
        <p:spPr bwMode="auto">
          <a:xfrm>
            <a:off x="5911850" y="6070600"/>
            <a:ext cx="265113"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0011173C-E512-4B01-A936-22EECE9B17E4}" type="datetime'''''''''''''''''''''''D''''''''''''''e''''''''''''''''''''''c'">
              <a:rPr lang="en-US" altLang="en-US" sz="1000" smtClean="0"/>
              <a:pPr/>
              <a:t>Dec</a:t>
            </a:fld>
            <a:endParaRPr lang="en-US" altLang="en-US" sz="1000"/>
          </a:p>
        </p:txBody>
      </p:sp>
      <p:sp>
        <p:nvSpPr>
          <p:cNvPr id="754" name="Rectangle 753">
            <a:extLst>
              <a:ext uri="{FF2B5EF4-FFF2-40B4-BE49-F238E27FC236}">
                <a16:creationId xmlns:a16="http://schemas.microsoft.com/office/drawing/2014/main" id="{955C5C36-235C-BBA1-8355-FE0A4DB59224}"/>
              </a:ext>
            </a:extLst>
          </p:cNvPr>
          <p:cNvSpPr/>
          <p:nvPr>
            <p:custDataLst>
              <p:tags r:id="rId26"/>
            </p:custDataLst>
          </p:nvPr>
        </p:nvSpPr>
        <p:spPr bwMode="gray">
          <a:xfrm>
            <a:off x="6494463" y="3398838"/>
            <a:ext cx="33496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algn="ctr">
              <a:lnSpc>
                <a:spcPct val="90000"/>
              </a:lnSpc>
              <a:spcBef>
                <a:spcPct val="0"/>
              </a:spcBef>
              <a:spcAft>
                <a:spcPct val="0"/>
              </a:spcAft>
            </a:pPr>
            <a:fld id="{92BE25D5-A2E8-4C9E-A7D2-C8AF6A4D72BF}" type="datetime'''''''''4''''''''''.''''''''''''''''''''''''0''%'''''">
              <a:rPr lang="en-US" altLang="en-US" sz="1000" smtClean="0">
                <a:solidFill>
                  <a:schemeClr val="tx1"/>
                </a:solidFill>
                <a:effectLst/>
              </a:rPr>
              <a:pPr algn="ctr">
                <a:lnSpc>
                  <a:spcPct val="90000"/>
                </a:lnSpc>
                <a:spcBef>
                  <a:spcPct val="0"/>
                </a:spcBef>
                <a:spcAft>
                  <a:spcPct val="0"/>
                </a:spcAft>
              </a:pPr>
              <a:t>4.0%</a:t>
            </a:fld>
            <a:endParaRPr lang="en-US" sz="1000">
              <a:solidFill>
                <a:schemeClr val="tx1"/>
              </a:solidFill>
            </a:endParaRPr>
          </a:p>
        </p:txBody>
      </p:sp>
      <p:sp>
        <p:nvSpPr>
          <p:cNvPr id="733" name="Rectangle 732">
            <a:extLst>
              <a:ext uri="{FF2B5EF4-FFF2-40B4-BE49-F238E27FC236}">
                <a16:creationId xmlns:a16="http://schemas.microsoft.com/office/drawing/2014/main" id="{5513EEBB-E58C-0F07-8E1E-AFE74F624B01}"/>
              </a:ext>
            </a:extLst>
          </p:cNvPr>
          <p:cNvSpPr/>
          <p:nvPr>
            <p:custDataLst>
              <p:tags r:id="rId27"/>
            </p:custDataLst>
          </p:nvPr>
        </p:nvSpPr>
        <p:spPr bwMode="gray">
          <a:xfrm>
            <a:off x="6496050" y="3016250"/>
            <a:ext cx="331788"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3973E944-6F51-438F-99E6-61941496B80C}" type="datetime'''''''4''''''''''''''.''''''''8%'''''''''">
              <a:rPr lang="en-US" altLang="en-US" sz="1000" smtClean="0">
                <a:solidFill>
                  <a:schemeClr val="tx1"/>
                </a:solidFill>
                <a:effectLst/>
              </a:rPr>
              <a:pPr algn="ctr">
                <a:lnSpc>
                  <a:spcPct val="90000"/>
                </a:lnSpc>
                <a:spcBef>
                  <a:spcPct val="0"/>
                </a:spcBef>
                <a:spcAft>
                  <a:spcPct val="0"/>
                </a:spcAft>
              </a:pPr>
              <a:t>4.8%</a:t>
            </a:fld>
            <a:endParaRPr lang="en-US" sz="1000">
              <a:solidFill>
                <a:schemeClr val="tx1"/>
              </a:solidFill>
            </a:endParaRPr>
          </a:p>
        </p:txBody>
      </p:sp>
      <p:sp>
        <p:nvSpPr>
          <p:cNvPr id="23" name="Text Placeholder 2">
            <a:extLst>
              <a:ext uri="{FF2B5EF4-FFF2-40B4-BE49-F238E27FC236}">
                <a16:creationId xmlns:a16="http://schemas.microsoft.com/office/drawing/2014/main" id="{896113D0-BAEF-CA52-4963-60DB6F26A468}"/>
              </a:ext>
            </a:extLst>
          </p:cNvPr>
          <p:cNvSpPr>
            <a:spLocks noGrp="1" noChangeArrowheads="1"/>
          </p:cNvSpPr>
          <p:nvPr>
            <p:custDataLst>
              <p:tags r:id="rId28"/>
            </p:custDataLst>
          </p:nvPr>
        </p:nvSpPr>
        <p:spPr bwMode="auto">
          <a:xfrm>
            <a:off x="6451600" y="6070600"/>
            <a:ext cx="419100"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70241F4E-3213-43C6-B719-3A4F0E450835}" type="datetime'''Jan''''''’''''2''''''''''4'''''">
              <a:rPr lang="en-US" altLang="en-US" sz="1000" smtClean="0"/>
              <a:pPr/>
              <a:t>Jan’24</a:t>
            </a:fld>
            <a:endParaRPr lang="en-US" altLang="en-US" sz="1000"/>
          </a:p>
        </p:txBody>
      </p:sp>
      <p:sp>
        <p:nvSpPr>
          <p:cNvPr id="755" name="Rectangle 754">
            <a:extLst>
              <a:ext uri="{FF2B5EF4-FFF2-40B4-BE49-F238E27FC236}">
                <a16:creationId xmlns:a16="http://schemas.microsoft.com/office/drawing/2014/main" id="{342E6E1A-ED87-4D0C-CA93-FE8D03DDA0B9}"/>
              </a:ext>
            </a:extLst>
          </p:cNvPr>
          <p:cNvSpPr/>
          <p:nvPr>
            <p:custDataLst>
              <p:tags r:id="rId29"/>
            </p:custDataLst>
          </p:nvPr>
        </p:nvSpPr>
        <p:spPr bwMode="gray">
          <a:xfrm>
            <a:off x="7116763" y="3357563"/>
            <a:ext cx="32226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algn="ctr">
              <a:lnSpc>
                <a:spcPct val="90000"/>
              </a:lnSpc>
              <a:spcBef>
                <a:spcPct val="0"/>
              </a:spcBef>
              <a:spcAft>
                <a:spcPct val="0"/>
              </a:spcAft>
            </a:pPr>
            <a:fld id="{03A6D762-0771-4358-8821-6A9AE1349A77}" type="datetime'4''.5''''''''''''''%'''''''''''''''">
              <a:rPr lang="en-US" altLang="en-US" sz="1000" smtClean="0">
                <a:solidFill>
                  <a:schemeClr val="tx1"/>
                </a:solidFill>
                <a:effectLst/>
              </a:rPr>
              <a:pPr algn="ctr">
                <a:lnSpc>
                  <a:spcPct val="90000"/>
                </a:lnSpc>
                <a:spcBef>
                  <a:spcPct val="0"/>
                </a:spcBef>
                <a:spcAft>
                  <a:spcPct val="0"/>
                </a:spcAft>
              </a:pPr>
              <a:t>4.5%</a:t>
            </a:fld>
            <a:endParaRPr lang="en-US" sz="1000">
              <a:solidFill>
                <a:schemeClr val="tx1"/>
              </a:solidFill>
            </a:endParaRPr>
          </a:p>
        </p:txBody>
      </p:sp>
      <p:sp>
        <p:nvSpPr>
          <p:cNvPr id="678" name="Rectangle 677">
            <a:extLst>
              <a:ext uri="{FF2B5EF4-FFF2-40B4-BE49-F238E27FC236}">
                <a16:creationId xmlns:a16="http://schemas.microsoft.com/office/drawing/2014/main" id="{432EE092-E00A-D4F3-FBF3-B6904368BDB6}"/>
              </a:ext>
            </a:extLst>
          </p:cNvPr>
          <p:cNvSpPr/>
          <p:nvPr>
            <p:custDataLst>
              <p:tags r:id="rId30"/>
            </p:custDataLst>
          </p:nvPr>
        </p:nvSpPr>
        <p:spPr bwMode="gray">
          <a:xfrm>
            <a:off x="7135813" y="2984500"/>
            <a:ext cx="28416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934502F2-B41A-4A3B-88D9-5AAAFB497DD4}" type="datetime'''''''5''''''''.''''''''1''''''''''''''''''''''%'">
              <a:rPr lang="en-US" altLang="en-US" sz="1000" smtClean="0">
                <a:solidFill>
                  <a:schemeClr val="tx1"/>
                </a:solidFill>
              </a:rPr>
              <a:pPr/>
              <a:t>5.1%</a:t>
            </a:fld>
            <a:endParaRPr lang="en-US" sz="1000" dirty="0">
              <a:solidFill>
                <a:schemeClr val="tx1"/>
              </a:solidFill>
            </a:endParaRPr>
          </a:p>
        </p:txBody>
      </p:sp>
      <p:sp>
        <p:nvSpPr>
          <p:cNvPr id="25" name="Text Placeholder 2">
            <a:extLst>
              <a:ext uri="{FF2B5EF4-FFF2-40B4-BE49-F238E27FC236}">
                <a16:creationId xmlns:a16="http://schemas.microsoft.com/office/drawing/2014/main" id="{D8C6862E-4AD4-14BF-0CE3-225777556ACC}"/>
              </a:ext>
            </a:extLst>
          </p:cNvPr>
          <p:cNvSpPr>
            <a:spLocks noGrp="1" noChangeArrowheads="1"/>
          </p:cNvSpPr>
          <p:nvPr>
            <p:custDataLst>
              <p:tags r:id="rId31"/>
            </p:custDataLst>
          </p:nvPr>
        </p:nvSpPr>
        <p:spPr bwMode="auto">
          <a:xfrm>
            <a:off x="7150100" y="6070600"/>
            <a:ext cx="255588"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D3A2CD30-108E-4D79-8665-6809FBD18E05}" type="datetime'''''''F''''''e''''''''''''''''''''''''''''''''''b'''">
              <a:rPr lang="en-US" altLang="en-US" sz="1000" smtClean="0"/>
              <a:pPr/>
              <a:t>Feb</a:t>
            </a:fld>
            <a:endParaRPr lang="en-US" altLang="en-US" sz="1000"/>
          </a:p>
        </p:txBody>
      </p:sp>
      <p:sp>
        <p:nvSpPr>
          <p:cNvPr id="756" name="Rectangle 755">
            <a:extLst>
              <a:ext uri="{FF2B5EF4-FFF2-40B4-BE49-F238E27FC236}">
                <a16:creationId xmlns:a16="http://schemas.microsoft.com/office/drawing/2014/main" id="{B356A6E5-3F4F-B70B-E7E7-B7536599A187}"/>
              </a:ext>
            </a:extLst>
          </p:cNvPr>
          <p:cNvSpPr/>
          <p:nvPr>
            <p:custDataLst>
              <p:tags r:id="rId32"/>
            </p:custDataLst>
          </p:nvPr>
        </p:nvSpPr>
        <p:spPr bwMode="gray">
          <a:xfrm>
            <a:off x="7747000" y="3389313"/>
            <a:ext cx="29686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algn="ctr">
              <a:lnSpc>
                <a:spcPct val="90000"/>
              </a:lnSpc>
              <a:spcBef>
                <a:spcPct val="0"/>
              </a:spcBef>
              <a:spcAft>
                <a:spcPct val="0"/>
              </a:spcAft>
            </a:pPr>
            <a:fld id="{3DE7517F-2087-487D-9CA4-340694335E5D}" type="datetime'4''''''''''''.''''''''''''''''''''''''''''''''1%'''''''''">
              <a:rPr lang="en-US" altLang="en-US" sz="1000" smtClean="0">
                <a:solidFill>
                  <a:schemeClr val="tx1"/>
                </a:solidFill>
                <a:effectLst/>
              </a:rPr>
              <a:pPr algn="ctr">
                <a:lnSpc>
                  <a:spcPct val="90000"/>
                </a:lnSpc>
                <a:spcBef>
                  <a:spcPct val="0"/>
                </a:spcBef>
                <a:spcAft>
                  <a:spcPct val="0"/>
                </a:spcAft>
              </a:pPr>
              <a:t>4.1%</a:t>
            </a:fld>
            <a:endParaRPr lang="en-US" sz="1000" dirty="0">
              <a:solidFill>
                <a:schemeClr val="tx1"/>
              </a:solidFill>
            </a:endParaRPr>
          </a:p>
        </p:txBody>
      </p:sp>
      <p:sp>
        <p:nvSpPr>
          <p:cNvPr id="734" name="Rectangle 733">
            <a:extLst>
              <a:ext uri="{FF2B5EF4-FFF2-40B4-BE49-F238E27FC236}">
                <a16:creationId xmlns:a16="http://schemas.microsoft.com/office/drawing/2014/main" id="{73769B79-83FA-52CC-91B8-0355404AF81D}"/>
              </a:ext>
            </a:extLst>
          </p:cNvPr>
          <p:cNvSpPr/>
          <p:nvPr>
            <p:custDataLst>
              <p:tags r:id="rId33"/>
            </p:custDataLst>
          </p:nvPr>
        </p:nvSpPr>
        <p:spPr bwMode="gray">
          <a:xfrm>
            <a:off x="7740650" y="2979738"/>
            <a:ext cx="30956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596E036F-15F1-4F66-9BA4-6379E11AC9CC}" type="datetime'''''''''''''''5.''''''''''2''''''''''''''''%'''''''''''">
              <a:rPr lang="en-US" altLang="en-US" sz="1000" smtClean="0">
                <a:solidFill>
                  <a:schemeClr val="tx1"/>
                </a:solidFill>
                <a:effectLst/>
              </a:rPr>
              <a:pPr algn="ctr">
                <a:lnSpc>
                  <a:spcPct val="90000"/>
                </a:lnSpc>
                <a:spcBef>
                  <a:spcPct val="0"/>
                </a:spcBef>
                <a:spcAft>
                  <a:spcPct val="0"/>
                </a:spcAft>
              </a:pPr>
              <a:t>5.2%</a:t>
            </a:fld>
            <a:endParaRPr lang="en-US" sz="1000">
              <a:solidFill>
                <a:schemeClr val="tx1"/>
              </a:solidFill>
            </a:endParaRPr>
          </a:p>
        </p:txBody>
      </p:sp>
      <p:sp>
        <p:nvSpPr>
          <p:cNvPr id="26" name="Text Placeholder 2">
            <a:extLst>
              <a:ext uri="{FF2B5EF4-FFF2-40B4-BE49-F238E27FC236}">
                <a16:creationId xmlns:a16="http://schemas.microsoft.com/office/drawing/2014/main" id="{C3B7EA80-C08D-EF5A-A9F8-0EB7CCB09140}"/>
              </a:ext>
            </a:extLst>
          </p:cNvPr>
          <p:cNvSpPr>
            <a:spLocks noGrp="1" noChangeArrowheads="1"/>
          </p:cNvSpPr>
          <p:nvPr>
            <p:custDataLst>
              <p:tags r:id="rId34"/>
            </p:custDataLst>
          </p:nvPr>
        </p:nvSpPr>
        <p:spPr bwMode="auto">
          <a:xfrm>
            <a:off x="7766050" y="6070600"/>
            <a:ext cx="258763"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ED347495-90C6-4D37-BDDD-B82D2C74E07C}" type="datetime'''''''''''''''''''''''''''''M''''''''''''ar'''">
              <a:rPr lang="en-US" altLang="en-US" sz="1000" smtClean="0"/>
              <a:pPr/>
              <a:t>Mar</a:t>
            </a:fld>
            <a:endParaRPr lang="en-US" altLang="en-US" sz="1000"/>
          </a:p>
        </p:txBody>
      </p:sp>
      <p:sp>
        <p:nvSpPr>
          <p:cNvPr id="757" name="Rectangle 756">
            <a:extLst>
              <a:ext uri="{FF2B5EF4-FFF2-40B4-BE49-F238E27FC236}">
                <a16:creationId xmlns:a16="http://schemas.microsoft.com/office/drawing/2014/main" id="{693DB589-3F42-414C-65CD-C1A5196F2BCC}"/>
              </a:ext>
            </a:extLst>
          </p:cNvPr>
          <p:cNvSpPr/>
          <p:nvPr>
            <p:custDataLst>
              <p:tags r:id="rId35"/>
            </p:custDataLst>
          </p:nvPr>
        </p:nvSpPr>
        <p:spPr bwMode="gray">
          <a:xfrm>
            <a:off x="8350250" y="3340100"/>
            <a:ext cx="325438"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algn="ctr">
              <a:lnSpc>
                <a:spcPct val="90000"/>
              </a:lnSpc>
              <a:spcBef>
                <a:spcPct val="0"/>
              </a:spcBef>
              <a:spcAft>
                <a:spcPct val="0"/>
              </a:spcAft>
            </a:pPr>
            <a:fld id="{F0C15A3B-1037-4091-A745-AF7B97AA2A3A}" type="datetime'''''''''4''''''''''''''.''''''''''''''''''''''''''''7''''%'''">
              <a:rPr lang="en-US" altLang="en-US" sz="1000" smtClean="0">
                <a:solidFill>
                  <a:schemeClr val="tx1"/>
                </a:solidFill>
                <a:effectLst/>
              </a:rPr>
              <a:pPr algn="ctr">
                <a:lnSpc>
                  <a:spcPct val="90000"/>
                </a:lnSpc>
                <a:spcBef>
                  <a:spcPct val="0"/>
                </a:spcBef>
                <a:spcAft>
                  <a:spcPct val="0"/>
                </a:spcAft>
              </a:pPr>
              <a:t>4.7%</a:t>
            </a:fld>
            <a:endParaRPr lang="en-US" sz="1000" dirty="0">
              <a:solidFill>
                <a:schemeClr val="tx1"/>
              </a:solidFill>
            </a:endParaRPr>
          </a:p>
        </p:txBody>
      </p:sp>
      <p:sp>
        <p:nvSpPr>
          <p:cNvPr id="735" name="Rectangle 734">
            <a:extLst>
              <a:ext uri="{FF2B5EF4-FFF2-40B4-BE49-F238E27FC236}">
                <a16:creationId xmlns:a16="http://schemas.microsoft.com/office/drawing/2014/main" id="{874D8520-0344-A27E-D097-D190CA8303B9}"/>
              </a:ext>
            </a:extLst>
          </p:cNvPr>
          <p:cNvSpPr/>
          <p:nvPr>
            <p:custDataLst>
              <p:tags r:id="rId36"/>
            </p:custDataLst>
          </p:nvPr>
        </p:nvSpPr>
        <p:spPr bwMode="gray">
          <a:xfrm>
            <a:off x="8355013" y="2941638"/>
            <a:ext cx="31591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5A4C38FE-A732-47B8-8A16-D768572F4EB2}" type="datetime'''''''''''''''''''''''''''''5''''.6''''''''%'''''''''''''">
              <a:rPr lang="en-US" altLang="en-US" sz="1000" smtClean="0">
                <a:solidFill>
                  <a:schemeClr val="tx1"/>
                </a:solidFill>
                <a:effectLst/>
              </a:rPr>
              <a:pPr algn="ctr">
                <a:lnSpc>
                  <a:spcPct val="90000"/>
                </a:lnSpc>
                <a:spcBef>
                  <a:spcPct val="0"/>
                </a:spcBef>
                <a:spcAft>
                  <a:spcPct val="0"/>
                </a:spcAft>
              </a:pPr>
              <a:t>5.6%</a:t>
            </a:fld>
            <a:endParaRPr lang="en-US" sz="1000">
              <a:solidFill>
                <a:schemeClr val="tx1"/>
              </a:solidFill>
            </a:endParaRPr>
          </a:p>
        </p:txBody>
      </p:sp>
      <p:sp>
        <p:nvSpPr>
          <p:cNvPr id="27" name="Text Placeholder 2">
            <a:extLst>
              <a:ext uri="{FF2B5EF4-FFF2-40B4-BE49-F238E27FC236}">
                <a16:creationId xmlns:a16="http://schemas.microsoft.com/office/drawing/2014/main" id="{BEB19021-9A20-F225-001B-E69D83E02B6B}"/>
              </a:ext>
            </a:extLst>
          </p:cNvPr>
          <p:cNvSpPr>
            <a:spLocks noGrp="1" noChangeArrowheads="1"/>
          </p:cNvSpPr>
          <p:nvPr>
            <p:custDataLst>
              <p:tags r:id="rId37"/>
            </p:custDataLst>
          </p:nvPr>
        </p:nvSpPr>
        <p:spPr bwMode="auto">
          <a:xfrm>
            <a:off x="8301038" y="6070600"/>
            <a:ext cx="422275"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C6DF5624-526C-4E0A-ACAB-AB3E0357E67F}" type="datetime'''''''''A''''''''''''''''pr''''''''’2''''''''''4'''">
              <a:rPr lang="en-US" altLang="en-US" sz="1000" smtClean="0"/>
              <a:pPr/>
              <a:t>Apr’24</a:t>
            </a:fld>
            <a:endParaRPr lang="en-US" altLang="en-US" sz="1000"/>
          </a:p>
        </p:txBody>
      </p:sp>
      <p:sp>
        <p:nvSpPr>
          <p:cNvPr id="542" name="Rectangle 541">
            <a:extLst>
              <a:ext uri="{FF2B5EF4-FFF2-40B4-BE49-F238E27FC236}">
                <a16:creationId xmlns:a16="http://schemas.microsoft.com/office/drawing/2014/main" id="{C4C397EA-65F5-913D-6EF5-86AF4ADD9E39}"/>
              </a:ext>
            </a:extLst>
          </p:cNvPr>
          <p:cNvSpPr/>
          <p:nvPr>
            <p:custDataLst>
              <p:tags r:id="rId38"/>
            </p:custDataLst>
          </p:nvPr>
        </p:nvSpPr>
        <p:spPr bwMode="gray">
          <a:xfrm>
            <a:off x="8961438" y="3365500"/>
            <a:ext cx="33496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algn="ctr">
              <a:lnSpc>
                <a:spcPct val="90000"/>
              </a:lnSpc>
              <a:spcBef>
                <a:spcPct val="0"/>
              </a:spcBef>
              <a:spcAft>
                <a:spcPct val="0"/>
              </a:spcAft>
            </a:pPr>
            <a:fld id="{046F6AC7-8448-41D5-9E93-7DBE2373F8D0}" type="datetime'''''''4''.''''''''''''4%'''''''''''''''''">
              <a:rPr lang="en-US" altLang="en-US" sz="1000" smtClean="0">
                <a:solidFill>
                  <a:schemeClr val="tx1"/>
                </a:solidFill>
              </a:rPr>
              <a:pPr/>
              <a:t>4.4%</a:t>
            </a:fld>
            <a:endParaRPr lang="en-US" sz="1000">
              <a:solidFill>
                <a:schemeClr val="tx1"/>
              </a:solidFill>
            </a:endParaRPr>
          </a:p>
        </p:txBody>
      </p:sp>
      <p:sp>
        <p:nvSpPr>
          <p:cNvPr id="545" name="Rectangle 544">
            <a:extLst>
              <a:ext uri="{FF2B5EF4-FFF2-40B4-BE49-F238E27FC236}">
                <a16:creationId xmlns:a16="http://schemas.microsoft.com/office/drawing/2014/main" id="{0ABBFC8C-3062-13D1-1E6B-2A075B977FAB}"/>
              </a:ext>
            </a:extLst>
          </p:cNvPr>
          <p:cNvSpPr/>
          <p:nvPr>
            <p:custDataLst>
              <p:tags r:id="rId39"/>
            </p:custDataLst>
          </p:nvPr>
        </p:nvSpPr>
        <p:spPr bwMode="gray">
          <a:xfrm>
            <a:off x="8974138" y="2967038"/>
            <a:ext cx="30956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0C216C7A-F8EC-4D38-99C4-BE27DED09B46}" type="datetime'''''''''5''.''''''''''''''''''''''''''''''''3''%'''''">
              <a:rPr lang="en-US" altLang="en-US" sz="1000" smtClean="0">
                <a:solidFill>
                  <a:schemeClr val="tx1"/>
                </a:solidFill>
              </a:rPr>
              <a:pPr/>
              <a:t>5.3%</a:t>
            </a:fld>
            <a:endParaRPr lang="en-US" sz="1000">
              <a:solidFill>
                <a:schemeClr val="tx1"/>
              </a:solidFill>
            </a:endParaRPr>
          </a:p>
        </p:txBody>
      </p:sp>
      <p:sp>
        <p:nvSpPr>
          <p:cNvPr id="11" name="Text Placeholder 2">
            <a:extLst>
              <a:ext uri="{FF2B5EF4-FFF2-40B4-BE49-F238E27FC236}">
                <a16:creationId xmlns:a16="http://schemas.microsoft.com/office/drawing/2014/main" id="{86B6083D-9FCB-D03F-ED04-AEA116B176C3}"/>
              </a:ext>
            </a:extLst>
          </p:cNvPr>
          <p:cNvSpPr>
            <a:spLocks noGrp="1" noChangeArrowheads="1"/>
          </p:cNvSpPr>
          <p:nvPr>
            <p:custDataLst>
              <p:tags r:id="rId40"/>
            </p:custDataLst>
          </p:nvPr>
        </p:nvSpPr>
        <p:spPr bwMode="auto">
          <a:xfrm>
            <a:off x="8899524" y="6070600"/>
            <a:ext cx="458788"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734F164D-6204-48BA-8C15-FD481BF65A4B}" type="datetime'''''''''''M''''a''''''''''''''''y''''’2''''4'''''''''''''">
              <a:rPr lang="en-US" altLang="en-US" sz="1000" smtClean="0"/>
              <a:pPr/>
              <a:t>May’24</a:t>
            </a:fld>
            <a:endParaRPr lang="en-US" altLang="en-US" sz="1000"/>
          </a:p>
        </p:txBody>
      </p:sp>
      <p:sp>
        <p:nvSpPr>
          <p:cNvPr id="30" name="Rectangle 29">
            <a:extLst>
              <a:ext uri="{FF2B5EF4-FFF2-40B4-BE49-F238E27FC236}">
                <a16:creationId xmlns:a16="http://schemas.microsoft.com/office/drawing/2014/main" id="{842C98D1-A9CC-7AFB-0932-8DF198D4998D}"/>
              </a:ext>
            </a:extLst>
          </p:cNvPr>
          <p:cNvSpPr/>
          <p:nvPr>
            <p:custDataLst>
              <p:tags r:id="rId41"/>
            </p:custDataLst>
          </p:nvPr>
        </p:nvSpPr>
        <p:spPr bwMode="gray">
          <a:xfrm>
            <a:off x="1563688" y="3832225"/>
            <a:ext cx="32226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8AA8E8F5-64A9-43AC-BEAB-BE484452CD1B}" type="datetime'''1,''''2''''''''''''''''''''''''9''''''''1'''''''''''''''''">
              <a:rPr lang="en-US" altLang="en-US" sz="1000" b="1" smtClean="0">
                <a:solidFill>
                  <a:schemeClr val="tx1"/>
                </a:solidFill>
              </a:rPr>
              <a:pPr/>
              <a:t>1,291</a:t>
            </a:fld>
            <a:endParaRPr lang="en-US" sz="1000" b="1">
              <a:solidFill>
                <a:schemeClr val="tx1"/>
              </a:solidFill>
            </a:endParaRPr>
          </a:p>
        </p:txBody>
      </p:sp>
      <p:sp>
        <p:nvSpPr>
          <p:cNvPr id="746" name="Rectangle 745">
            <a:extLst>
              <a:ext uri="{FF2B5EF4-FFF2-40B4-BE49-F238E27FC236}">
                <a16:creationId xmlns:a16="http://schemas.microsoft.com/office/drawing/2014/main" id="{790C3763-7070-1B8C-80CC-D2C5FBD015EA}"/>
              </a:ext>
            </a:extLst>
          </p:cNvPr>
          <p:cNvSpPr/>
          <p:nvPr>
            <p:custDataLst>
              <p:tags r:id="rId42"/>
            </p:custDataLst>
          </p:nvPr>
        </p:nvSpPr>
        <p:spPr bwMode="gray">
          <a:xfrm>
            <a:off x="1563688" y="3309938"/>
            <a:ext cx="32226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algn="ctr">
              <a:lnSpc>
                <a:spcPct val="90000"/>
              </a:lnSpc>
              <a:spcBef>
                <a:spcPct val="0"/>
              </a:spcBef>
              <a:spcAft>
                <a:spcPct val="0"/>
              </a:spcAft>
            </a:pPr>
            <a:fld id="{C3D73A20-0046-4FC9-BCE7-2A8A0C0F7D7A}" type="datetime'''''''''''''''''''5''.''''0''''''''''''''''''''''''''''''%'">
              <a:rPr lang="en-US" altLang="en-US" sz="1000" smtClean="0">
                <a:solidFill>
                  <a:schemeClr val="tx1"/>
                </a:solidFill>
                <a:effectLst/>
              </a:rPr>
              <a:pPr algn="ctr">
                <a:lnSpc>
                  <a:spcPct val="90000"/>
                </a:lnSpc>
                <a:spcBef>
                  <a:spcPct val="0"/>
                </a:spcBef>
                <a:spcAft>
                  <a:spcPct val="0"/>
                </a:spcAft>
              </a:pPr>
              <a:t>5.0%</a:t>
            </a:fld>
            <a:endParaRPr lang="en-US" sz="1000">
              <a:solidFill>
                <a:schemeClr val="tx1"/>
              </a:solidFill>
            </a:endParaRPr>
          </a:p>
        </p:txBody>
      </p:sp>
      <p:sp>
        <p:nvSpPr>
          <p:cNvPr id="32" name="Rectangle 31">
            <a:extLst>
              <a:ext uri="{FF2B5EF4-FFF2-40B4-BE49-F238E27FC236}">
                <a16:creationId xmlns:a16="http://schemas.microsoft.com/office/drawing/2014/main" id="{84F8A69E-CDE7-D37D-ABC5-11771F19E9C0}"/>
              </a:ext>
            </a:extLst>
          </p:cNvPr>
          <p:cNvSpPr/>
          <p:nvPr>
            <p:custDataLst>
              <p:tags r:id="rId43"/>
            </p:custDataLst>
          </p:nvPr>
        </p:nvSpPr>
        <p:spPr bwMode="gray">
          <a:xfrm>
            <a:off x="2779713" y="3903663"/>
            <a:ext cx="35560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2E160E24-E425-4075-BB1F-F979CC9874AF}" type="datetime'1'''',2''''''''''''''''''''''''''''''4''''''''''5'''''''''''">
              <a:rPr lang="en-US" altLang="en-US" sz="1000" b="1" smtClean="0">
                <a:solidFill>
                  <a:schemeClr val="tx1"/>
                </a:solidFill>
              </a:rPr>
              <a:pPr/>
              <a:t>1,245</a:t>
            </a:fld>
            <a:endParaRPr lang="en-US" sz="1000" b="1">
              <a:solidFill>
                <a:schemeClr val="tx1"/>
              </a:solidFill>
            </a:endParaRPr>
          </a:p>
        </p:txBody>
      </p:sp>
      <p:sp>
        <p:nvSpPr>
          <p:cNvPr id="33" name="Rectangle 32">
            <a:extLst>
              <a:ext uri="{FF2B5EF4-FFF2-40B4-BE49-F238E27FC236}">
                <a16:creationId xmlns:a16="http://schemas.microsoft.com/office/drawing/2014/main" id="{8FA7E229-A6B1-53A7-2D6F-A45EB4607CDE}"/>
              </a:ext>
            </a:extLst>
          </p:cNvPr>
          <p:cNvSpPr/>
          <p:nvPr>
            <p:custDataLst>
              <p:tags r:id="rId44"/>
            </p:custDataLst>
          </p:nvPr>
        </p:nvSpPr>
        <p:spPr bwMode="gray">
          <a:xfrm>
            <a:off x="3414713" y="3705225"/>
            <a:ext cx="320675"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229F81BB-D41A-45E7-B01F-4DFF8303C241}" type="datetime'''''''''1'''''''''''''''''''',3''''''7''''''1'''''''">
              <a:rPr lang="en-US" altLang="en-US" sz="1000" b="1" smtClean="0">
                <a:solidFill>
                  <a:schemeClr val="tx1"/>
                </a:solidFill>
              </a:rPr>
              <a:pPr/>
              <a:t>1,371</a:t>
            </a:fld>
            <a:endParaRPr lang="en-US" sz="1000" b="1">
              <a:solidFill>
                <a:schemeClr val="tx1"/>
              </a:solidFill>
            </a:endParaRPr>
          </a:p>
        </p:txBody>
      </p:sp>
      <p:sp>
        <p:nvSpPr>
          <p:cNvPr id="34" name="Rectangle 33">
            <a:extLst>
              <a:ext uri="{FF2B5EF4-FFF2-40B4-BE49-F238E27FC236}">
                <a16:creationId xmlns:a16="http://schemas.microsoft.com/office/drawing/2014/main" id="{78FEFB6C-672D-A174-7DA0-4FCBC3E014C0}"/>
              </a:ext>
            </a:extLst>
          </p:cNvPr>
          <p:cNvSpPr/>
          <p:nvPr>
            <p:custDataLst>
              <p:tags r:id="rId45"/>
            </p:custDataLst>
          </p:nvPr>
        </p:nvSpPr>
        <p:spPr bwMode="gray">
          <a:xfrm>
            <a:off x="4017963" y="3695700"/>
            <a:ext cx="350838"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4C92DB11-1FC1-4DF9-AC76-FA946F1E5FF9}" type="datetime'''''''''''''''1'''',''''''''''''''''''''''''''''3''''77'">
              <a:rPr lang="en-US" altLang="en-US" sz="1000" b="1" smtClean="0">
                <a:solidFill>
                  <a:schemeClr val="tx1"/>
                </a:solidFill>
              </a:rPr>
              <a:pPr/>
              <a:t>1,377</a:t>
            </a:fld>
            <a:endParaRPr lang="en-US" sz="1000" b="1">
              <a:solidFill>
                <a:schemeClr val="tx1"/>
              </a:solidFill>
            </a:endParaRPr>
          </a:p>
        </p:txBody>
      </p:sp>
      <p:sp>
        <p:nvSpPr>
          <p:cNvPr id="35" name="Rectangle 34">
            <a:extLst>
              <a:ext uri="{FF2B5EF4-FFF2-40B4-BE49-F238E27FC236}">
                <a16:creationId xmlns:a16="http://schemas.microsoft.com/office/drawing/2014/main" id="{BDD98296-82DF-91CA-E037-19C5814641E3}"/>
              </a:ext>
            </a:extLst>
          </p:cNvPr>
          <p:cNvSpPr/>
          <p:nvPr>
            <p:custDataLst>
              <p:tags r:id="rId46"/>
            </p:custDataLst>
          </p:nvPr>
        </p:nvSpPr>
        <p:spPr bwMode="gray">
          <a:xfrm>
            <a:off x="4627563" y="3848100"/>
            <a:ext cx="36195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51ADE77E-D65F-4D6A-BD3A-A9EB0639CB68}" type="datetime'''1'''''''''''''''''''''''',''2''''''8''''''''''''''''''0'''''">
              <a:rPr lang="en-US" altLang="en-US" sz="1000" b="1" smtClean="0">
                <a:solidFill>
                  <a:schemeClr val="tx1"/>
                </a:solidFill>
              </a:rPr>
              <a:pPr/>
              <a:t>1,280</a:t>
            </a:fld>
            <a:endParaRPr lang="en-US" sz="1000" b="1">
              <a:solidFill>
                <a:schemeClr val="tx1"/>
              </a:solidFill>
            </a:endParaRPr>
          </a:p>
        </p:txBody>
      </p:sp>
      <p:sp>
        <p:nvSpPr>
          <p:cNvPr id="36" name="Rectangle 35">
            <a:extLst>
              <a:ext uri="{FF2B5EF4-FFF2-40B4-BE49-F238E27FC236}">
                <a16:creationId xmlns:a16="http://schemas.microsoft.com/office/drawing/2014/main" id="{F9ECDDAC-4EE6-020E-B031-4173C07A1E92}"/>
              </a:ext>
            </a:extLst>
          </p:cNvPr>
          <p:cNvSpPr/>
          <p:nvPr>
            <p:custDataLst>
              <p:tags r:id="rId47"/>
            </p:custDataLst>
          </p:nvPr>
        </p:nvSpPr>
        <p:spPr bwMode="gray">
          <a:xfrm>
            <a:off x="5249863" y="3970338"/>
            <a:ext cx="352425"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188944F4-0A7F-4E3F-9EAC-CDDAB7D01351}" type="datetime'''1'''',''''''''''''''''''''2''''0''''3'''''''''">
              <a:rPr lang="en-US" altLang="en-US" sz="1000" b="1" smtClean="0">
                <a:solidFill>
                  <a:schemeClr val="tx1"/>
                </a:solidFill>
              </a:rPr>
              <a:pPr/>
              <a:t>1,203</a:t>
            </a:fld>
            <a:endParaRPr lang="en-US" sz="1000" b="1">
              <a:solidFill>
                <a:schemeClr val="tx1"/>
              </a:solidFill>
            </a:endParaRPr>
          </a:p>
        </p:txBody>
      </p:sp>
      <p:sp>
        <p:nvSpPr>
          <p:cNvPr id="31" name="Rectangle 30">
            <a:extLst>
              <a:ext uri="{FF2B5EF4-FFF2-40B4-BE49-F238E27FC236}">
                <a16:creationId xmlns:a16="http://schemas.microsoft.com/office/drawing/2014/main" id="{5C0112F6-734A-9873-1C90-D159974F5682}"/>
              </a:ext>
            </a:extLst>
          </p:cNvPr>
          <p:cNvSpPr/>
          <p:nvPr>
            <p:custDataLst>
              <p:tags r:id="rId48"/>
            </p:custDataLst>
          </p:nvPr>
        </p:nvSpPr>
        <p:spPr bwMode="gray">
          <a:xfrm>
            <a:off x="2159000" y="3748088"/>
            <a:ext cx="36671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A435A16D-D512-42FB-B84B-8DEC005FB599}" type="datetime'''1'',''''''''3''''''''''''4''''''''''''''''''4'''''''">
              <a:rPr lang="en-US" altLang="en-US" sz="1000" b="1" smtClean="0">
                <a:solidFill>
                  <a:schemeClr val="tx1"/>
                </a:solidFill>
              </a:rPr>
              <a:pPr/>
              <a:t>1,344</a:t>
            </a:fld>
            <a:endParaRPr lang="en-US" sz="1000" b="1">
              <a:solidFill>
                <a:schemeClr val="tx1"/>
              </a:solidFill>
            </a:endParaRPr>
          </a:p>
        </p:txBody>
      </p:sp>
      <p:sp>
        <p:nvSpPr>
          <p:cNvPr id="38" name="Rectangle 37">
            <a:extLst>
              <a:ext uri="{FF2B5EF4-FFF2-40B4-BE49-F238E27FC236}">
                <a16:creationId xmlns:a16="http://schemas.microsoft.com/office/drawing/2014/main" id="{0CFE31A7-87DE-7019-6382-3735946A949A}"/>
              </a:ext>
            </a:extLst>
          </p:cNvPr>
          <p:cNvSpPr/>
          <p:nvPr>
            <p:custDataLst>
              <p:tags r:id="rId49"/>
            </p:custDataLst>
          </p:nvPr>
        </p:nvSpPr>
        <p:spPr bwMode="gray">
          <a:xfrm>
            <a:off x="6478588" y="3905250"/>
            <a:ext cx="36671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E24CDF00-CA9B-4258-8083-AF0A6A664C72}" type="datetime'''''''1'''''''''',2''4''''''''''''4'''''''''''">
              <a:rPr lang="en-US" altLang="en-US" sz="1000" b="1" smtClean="0">
                <a:solidFill>
                  <a:schemeClr val="tx1"/>
                </a:solidFill>
              </a:rPr>
              <a:pPr/>
              <a:t>1,244</a:t>
            </a:fld>
            <a:endParaRPr lang="en-US" sz="1000" b="1">
              <a:solidFill>
                <a:schemeClr val="tx1"/>
              </a:solidFill>
            </a:endParaRPr>
          </a:p>
        </p:txBody>
      </p:sp>
      <p:sp>
        <p:nvSpPr>
          <p:cNvPr id="39" name="Rectangle 38">
            <a:extLst>
              <a:ext uri="{FF2B5EF4-FFF2-40B4-BE49-F238E27FC236}">
                <a16:creationId xmlns:a16="http://schemas.microsoft.com/office/drawing/2014/main" id="{23F2247F-03E8-C531-51AF-6C9B439B2207}"/>
              </a:ext>
            </a:extLst>
          </p:cNvPr>
          <p:cNvSpPr/>
          <p:nvPr>
            <p:custDataLst>
              <p:tags r:id="rId50"/>
            </p:custDataLst>
          </p:nvPr>
        </p:nvSpPr>
        <p:spPr bwMode="gray">
          <a:xfrm>
            <a:off x="7131050" y="4051300"/>
            <a:ext cx="29210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772D1A63-809B-4B32-91EA-528E37357AB3}" type="datetime'''''''1'''''''''',''''''''''''''1''''''''''''51'''''''''''''''">
              <a:rPr lang="en-US" altLang="en-US" sz="1000" b="1" smtClean="0">
                <a:solidFill>
                  <a:schemeClr val="tx1"/>
                </a:solidFill>
              </a:rPr>
              <a:pPr/>
              <a:t>1,151</a:t>
            </a:fld>
            <a:endParaRPr lang="en-US" sz="1000" b="1">
              <a:solidFill>
                <a:schemeClr val="tx1"/>
              </a:solidFill>
            </a:endParaRPr>
          </a:p>
        </p:txBody>
      </p:sp>
      <p:sp>
        <p:nvSpPr>
          <p:cNvPr id="40" name="Rectangle 39">
            <a:extLst>
              <a:ext uri="{FF2B5EF4-FFF2-40B4-BE49-F238E27FC236}">
                <a16:creationId xmlns:a16="http://schemas.microsoft.com/office/drawing/2014/main" id="{0FF54054-AD1D-94D9-0159-71BBD6BAEA0F}"/>
              </a:ext>
            </a:extLst>
          </p:cNvPr>
          <p:cNvSpPr/>
          <p:nvPr>
            <p:custDataLst>
              <p:tags r:id="rId51"/>
            </p:custDataLst>
          </p:nvPr>
        </p:nvSpPr>
        <p:spPr bwMode="gray">
          <a:xfrm>
            <a:off x="7745413" y="4103688"/>
            <a:ext cx="300038"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A9FBA838-9983-4B45-84C6-AA629B4FE378}" type="datetime'''''''''''''1,''''''''''1''''''''''''''''''''''''''1''8'''''">
              <a:rPr lang="en-US" altLang="en-US" sz="1000" b="1" smtClean="0">
                <a:solidFill>
                  <a:schemeClr val="tx1"/>
                </a:solidFill>
              </a:rPr>
              <a:pPr/>
              <a:t>1,118</a:t>
            </a:fld>
            <a:endParaRPr lang="en-US" sz="1000" b="1">
              <a:solidFill>
                <a:schemeClr val="tx1"/>
              </a:solidFill>
            </a:endParaRPr>
          </a:p>
        </p:txBody>
      </p:sp>
      <p:sp>
        <p:nvSpPr>
          <p:cNvPr id="41" name="Rectangle 40">
            <a:extLst>
              <a:ext uri="{FF2B5EF4-FFF2-40B4-BE49-F238E27FC236}">
                <a16:creationId xmlns:a16="http://schemas.microsoft.com/office/drawing/2014/main" id="{9B7C6EA9-D17C-43A7-EFEA-10B2E902C67F}"/>
              </a:ext>
            </a:extLst>
          </p:cNvPr>
          <p:cNvSpPr/>
          <p:nvPr>
            <p:custDataLst>
              <p:tags r:id="rId52"/>
            </p:custDataLst>
          </p:nvPr>
        </p:nvSpPr>
        <p:spPr bwMode="gray">
          <a:xfrm>
            <a:off x="8343900" y="4119563"/>
            <a:ext cx="33655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3DB70160-8549-4368-A84E-11EA39B51B1A}" type="datetime'''''''''''''''''''1'''',''''''''10''''''''8'''''">
              <a:rPr lang="en-US" altLang="en-US" sz="1000" b="1" smtClean="0">
                <a:solidFill>
                  <a:schemeClr val="tx1"/>
                </a:solidFill>
              </a:rPr>
              <a:pPr/>
              <a:t>1,108</a:t>
            </a:fld>
            <a:endParaRPr lang="en-US" sz="1000" b="1" dirty="0">
              <a:solidFill>
                <a:schemeClr val="tx1"/>
              </a:solidFill>
            </a:endParaRPr>
          </a:p>
        </p:txBody>
      </p:sp>
      <p:sp>
        <p:nvSpPr>
          <p:cNvPr id="42" name="Rectangle 41">
            <a:extLst>
              <a:ext uri="{FF2B5EF4-FFF2-40B4-BE49-F238E27FC236}">
                <a16:creationId xmlns:a16="http://schemas.microsoft.com/office/drawing/2014/main" id="{F716F193-A3FD-D7AC-1EC9-F0D3DDBB90DC}"/>
              </a:ext>
            </a:extLst>
          </p:cNvPr>
          <p:cNvSpPr/>
          <p:nvPr>
            <p:custDataLst>
              <p:tags r:id="rId53"/>
            </p:custDataLst>
          </p:nvPr>
        </p:nvSpPr>
        <p:spPr bwMode="gray">
          <a:xfrm>
            <a:off x="8959850" y="4273550"/>
            <a:ext cx="338138"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7384F417-2CAF-4208-9406-C3018BC88616}" type="datetime'''''''''''''''''''''''''''''1'''''''',''''01''0'">
              <a:rPr lang="en-US" altLang="en-US" sz="1000" b="1" smtClean="0">
                <a:solidFill>
                  <a:schemeClr val="tx1"/>
                </a:solidFill>
              </a:rPr>
              <a:pPr/>
              <a:t>1,010</a:t>
            </a:fld>
            <a:endParaRPr lang="en-US" sz="1000" b="1">
              <a:solidFill>
                <a:schemeClr val="tx1"/>
              </a:solidFill>
            </a:endParaRPr>
          </a:p>
        </p:txBody>
      </p:sp>
      <p:sp>
        <p:nvSpPr>
          <p:cNvPr id="37" name="Rectangle 36">
            <a:extLst>
              <a:ext uri="{FF2B5EF4-FFF2-40B4-BE49-F238E27FC236}">
                <a16:creationId xmlns:a16="http://schemas.microsoft.com/office/drawing/2014/main" id="{E9DEE1AD-AF7B-56F6-B6C4-D02F1F4DCC57}"/>
              </a:ext>
            </a:extLst>
          </p:cNvPr>
          <p:cNvSpPr/>
          <p:nvPr>
            <p:custDataLst>
              <p:tags r:id="rId54"/>
            </p:custDataLst>
          </p:nvPr>
        </p:nvSpPr>
        <p:spPr bwMode="gray">
          <a:xfrm>
            <a:off x="5878513" y="4048125"/>
            <a:ext cx="33020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7DF9DF57-B3AD-4CD1-86D9-D1EE2511B1DA}" type="datetime'''1'''''''''''''''''''',''''''''1''''''''''''54'">
              <a:rPr lang="en-US" altLang="en-US" sz="1000" b="1" smtClean="0">
                <a:solidFill>
                  <a:schemeClr val="tx1"/>
                </a:solidFill>
              </a:rPr>
              <a:pPr/>
              <a:t>1,154</a:t>
            </a:fld>
            <a:endParaRPr lang="en-US" sz="1000" b="1">
              <a:solidFill>
                <a:schemeClr val="tx1"/>
              </a:solidFill>
            </a:endParaRPr>
          </a:p>
        </p:txBody>
      </p:sp>
      <p:sp>
        <p:nvSpPr>
          <p:cNvPr id="515" name="Rectangle 514">
            <a:extLst>
              <a:ext uri="{FF2B5EF4-FFF2-40B4-BE49-F238E27FC236}">
                <a16:creationId xmlns:a16="http://schemas.microsoft.com/office/drawing/2014/main" id="{36749081-D1A1-66FD-FC92-EDCBEC1A12A1}"/>
              </a:ext>
            </a:extLst>
          </p:cNvPr>
          <p:cNvSpPr/>
          <p:nvPr>
            <p:custDataLst>
              <p:tags r:id="rId55"/>
            </p:custDataLst>
          </p:nvPr>
        </p:nvSpPr>
        <p:spPr bwMode="auto">
          <a:xfrm>
            <a:off x="177800" y="5099050"/>
            <a:ext cx="160338" cy="120650"/>
          </a:xfrm>
          <a:prstGeom prst="rect">
            <a:avLst/>
          </a:prstGeom>
          <a:solidFill>
            <a:srgbClr val="9DB1CF"/>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0" name="Rectangle 479">
            <a:extLst>
              <a:ext uri="{FF2B5EF4-FFF2-40B4-BE49-F238E27FC236}">
                <a16:creationId xmlns:a16="http://schemas.microsoft.com/office/drawing/2014/main" id="{9D17A094-3730-92AC-0394-E2AA79BD2A5D}"/>
              </a:ext>
            </a:extLst>
          </p:cNvPr>
          <p:cNvSpPr/>
          <p:nvPr>
            <p:custDataLst>
              <p:tags r:id="rId56"/>
            </p:custDataLst>
          </p:nvPr>
        </p:nvSpPr>
        <p:spPr bwMode="auto">
          <a:xfrm>
            <a:off x="177800" y="5286375"/>
            <a:ext cx="160338" cy="120650"/>
          </a:xfrm>
          <a:prstGeom prst="rect">
            <a:avLst/>
          </a:prstGeom>
          <a:solidFill>
            <a:schemeClr val="accent4"/>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1" name="Rectangle 480">
            <a:extLst>
              <a:ext uri="{FF2B5EF4-FFF2-40B4-BE49-F238E27FC236}">
                <a16:creationId xmlns:a16="http://schemas.microsoft.com/office/drawing/2014/main" id="{C118ADF1-3B36-CCF3-BB9A-9DA3C458919A}"/>
              </a:ext>
            </a:extLst>
          </p:cNvPr>
          <p:cNvSpPr/>
          <p:nvPr>
            <p:custDataLst>
              <p:tags r:id="rId57"/>
            </p:custDataLst>
          </p:nvPr>
        </p:nvSpPr>
        <p:spPr bwMode="auto">
          <a:xfrm>
            <a:off x="177800" y="5473700"/>
            <a:ext cx="160338" cy="120650"/>
          </a:xfrm>
          <a:prstGeom prst="rect">
            <a:avLst/>
          </a:prstGeom>
          <a:solidFill>
            <a:schemeClr val="accent3"/>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4" name="Rectangle 483">
            <a:extLst>
              <a:ext uri="{FF2B5EF4-FFF2-40B4-BE49-F238E27FC236}">
                <a16:creationId xmlns:a16="http://schemas.microsoft.com/office/drawing/2014/main" id="{779BA480-B683-889E-BE85-BF79C2178EF5}"/>
              </a:ext>
            </a:extLst>
          </p:cNvPr>
          <p:cNvSpPr/>
          <p:nvPr>
            <p:custDataLst>
              <p:tags r:id="rId58"/>
            </p:custDataLst>
          </p:nvPr>
        </p:nvSpPr>
        <p:spPr bwMode="auto">
          <a:xfrm>
            <a:off x="177800" y="5661025"/>
            <a:ext cx="160338" cy="120650"/>
          </a:xfrm>
          <a:prstGeom prst="rect">
            <a:avLst/>
          </a:prstGeom>
          <a:solidFill>
            <a:schemeClr val="accent2"/>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5" name="Rectangle 484">
            <a:extLst>
              <a:ext uri="{FF2B5EF4-FFF2-40B4-BE49-F238E27FC236}">
                <a16:creationId xmlns:a16="http://schemas.microsoft.com/office/drawing/2014/main" id="{3237B12C-EAD2-4547-9CD7-278A53CBF885}"/>
              </a:ext>
            </a:extLst>
          </p:cNvPr>
          <p:cNvSpPr/>
          <p:nvPr>
            <p:custDataLst>
              <p:tags r:id="rId59"/>
            </p:custDataLst>
          </p:nvPr>
        </p:nvSpPr>
        <p:spPr bwMode="auto">
          <a:xfrm>
            <a:off x="177800" y="5848350"/>
            <a:ext cx="160338" cy="120650"/>
          </a:xfrm>
          <a:prstGeom prst="rect">
            <a:avLst/>
          </a:prstGeom>
          <a:solidFill>
            <a:schemeClr val="accent1"/>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2" name="Rectangle 511">
            <a:extLst>
              <a:ext uri="{FF2B5EF4-FFF2-40B4-BE49-F238E27FC236}">
                <a16:creationId xmlns:a16="http://schemas.microsoft.com/office/drawing/2014/main" id="{A8380279-994B-A9F0-1883-551936181782}"/>
              </a:ext>
            </a:extLst>
          </p:cNvPr>
          <p:cNvSpPr/>
          <p:nvPr>
            <p:custDataLst>
              <p:tags r:id="rId60"/>
            </p:custDataLst>
          </p:nvPr>
        </p:nvSpPr>
        <p:spPr bwMode="auto">
          <a:xfrm>
            <a:off x="388938" y="5095875"/>
            <a:ext cx="585788"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1FBB31CE-A4E7-4133-9E4E-E42C09D3F55E}" type="datetime'''S''a''''''''le''s'''''''''''''''''' ''''''C''''''a''''lls'''">
              <a:rPr lang="en-US" altLang="en-US" sz="900" smtClean="0">
                <a:solidFill>
                  <a:schemeClr val="tx1"/>
                </a:solidFill>
              </a:rPr>
              <a:pPr/>
              <a:t>Sales Calls</a:t>
            </a:fld>
            <a:endParaRPr lang="en-US" sz="900">
              <a:solidFill>
                <a:schemeClr val="tx1"/>
              </a:solidFill>
            </a:endParaRPr>
          </a:p>
        </p:txBody>
      </p:sp>
      <p:sp>
        <p:nvSpPr>
          <p:cNvPr id="489" name="Rectangle 488">
            <a:extLst>
              <a:ext uri="{FF2B5EF4-FFF2-40B4-BE49-F238E27FC236}">
                <a16:creationId xmlns:a16="http://schemas.microsoft.com/office/drawing/2014/main" id="{E054506D-29D9-7388-CD00-9BCF63FDF381}"/>
              </a:ext>
            </a:extLst>
          </p:cNvPr>
          <p:cNvSpPr/>
          <p:nvPr>
            <p:custDataLst>
              <p:tags r:id="rId61"/>
            </p:custDataLst>
          </p:nvPr>
        </p:nvSpPr>
        <p:spPr bwMode="auto">
          <a:xfrm>
            <a:off x="388938" y="5283200"/>
            <a:ext cx="661988"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E93F9BCB-C1C1-47FD-8C70-39210FE653C4}" type="datetime'''Pr''''''i''c''i''n''g'''' ''''In''''''''''''fo'''''''''">
              <a:rPr lang="en-US" altLang="en-US" sz="900" smtClean="0">
                <a:solidFill>
                  <a:schemeClr val="tx1"/>
                </a:solidFill>
              </a:rPr>
              <a:pPr/>
              <a:t>Pricing Info</a:t>
            </a:fld>
            <a:endParaRPr lang="en-US" sz="900">
              <a:solidFill>
                <a:schemeClr val="tx1"/>
              </a:solidFill>
            </a:endParaRPr>
          </a:p>
        </p:txBody>
      </p:sp>
      <p:sp>
        <p:nvSpPr>
          <p:cNvPr id="490" name="Rectangle 489">
            <a:extLst>
              <a:ext uri="{FF2B5EF4-FFF2-40B4-BE49-F238E27FC236}">
                <a16:creationId xmlns:a16="http://schemas.microsoft.com/office/drawing/2014/main" id="{7A729A1B-A715-491F-B4D4-E89063E35C9C}"/>
              </a:ext>
            </a:extLst>
          </p:cNvPr>
          <p:cNvSpPr/>
          <p:nvPr>
            <p:custDataLst>
              <p:tags r:id="rId62"/>
            </p:custDataLst>
          </p:nvPr>
        </p:nvSpPr>
        <p:spPr bwMode="auto">
          <a:xfrm>
            <a:off x="388938" y="5470525"/>
            <a:ext cx="51911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23ABA884-405E-480B-91A4-6083CD146860}" type="datetime'B''ou''''''n''''''c''''e''''''''''''''''''X'''''''''">
              <a:rPr lang="en-US" altLang="en-US" sz="900" smtClean="0">
                <a:solidFill>
                  <a:schemeClr val="tx1"/>
                </a:solidFill>
              </a:rPr>
              <a:pPr/>
              <a:t>BounceX</a:t>
            </a:fld>
            <a:endParaRPr lang="en-US" sz="900">
              <a:solidFill>
                <a:schemeClr val="tx1"/>
              </a:solidFill>
            </a:endParaRPr>
          </a:p>
        </p:txBody>
      </p:sp>
      <p:sp>
        <p:nvSpPr>
          <p:cNvPr id="491" name="Rectangle 490">
            <a:extLst>
              <a:ext uri="{FF2B5EF4-FFF2-40B4-BE49-F238E27FC236}">
                <a16:creationId xmlns:a16="http://schemas.microsoft.com/office/drawing/2014/main" id="{3733E0F2-F388-60A0-A101-2046463F6E80}"/>
              </a:ext>
            </a:extLst>
          </p:cNvPr>
          <p:cNvSpPr/>
          <p:nvPr>
            <p:custDataLst>
              <p:tags r:id="rId63"/>
            </p:custDataLst>
          </p:nvPr>
        </p:nvSpPr>
        <p:spPr bwMode="auto">
          <a:xfrm>
            <a:off x="388938" y="5657850"/>
            <a:ext cx="85090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A3E1426A-1EED-4EB0-BDC4-2FAC0498B849}" type="datetime'''C''''h''a''''t''s'''''' H''''''''''a''''''''nd''l''''e''d'">
              <a:rPr lang="en-US" altLang="en-US" sz="900" smtClean="0">
                <a:solidFill>
                  <a:schemeClr val="tx1"/>
                </a:solidFill>
              </a:rPr>
              <a:pPr/>
              <a:t>Chats Handled</a:t>
            </a:fld>
            <a:endParaRPr lang="en-US" sz="900">
              <a:solidFill>
                <a:schemeClr val="tx1"/>
              </a:solidFill>
            </a:endParaRPr>
          </a:p>
        </p:txBody>
      </p:sp>
      <p:sp>
        <p:nvSpPr>
          <p:cNvPr id="492" name="Rectangle 491">
            <a:extLst>
              <a:ext uri="{FF2B5EF4-FFF2-40B4-BE49-F238E27FC236}">
                <a16:creationId xmlns:a16="http://schemas.microsoft.com/office/drawing/2014/main" id="{D189A4F2-B30B-7E00-878C-5E89E021212E}"/>
              </a:ext>
            </a:extLst>
          </p:cNvPr>
          <p:cNvSpPr/>
          <p:nvPr>
            <p:custDataLst>
              <p:tags r:id="rId64"/>
            </p:custDataLst>
          </p:nvPr>
        </p:nvSpPr>
        <p:spPr bwMode="auto">
          <a:xfrm>
            <a:off x="388938" y="5845175"/>
            <a:ext cx="82391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AC767326-5F86-49A6-9735-E2A552207009}" type="datetime'''Bu''y''''''''''f''l''o''w'' St''''''''''ar''t''''s'''''">
              <a:rPr lang="en-US" altLang="en-US" sz="900" smtClean="0">
                <a:solidFill>
                  <a:schemeClr val="tx1"/>
                </a:solidFill>
              </a:rPr>
              <a:pPr/>
              <a:t>Buyflow Starts</a:t>
            </a:fld>
            <a:endParaRPr lang="en-US" sz="900">
              <a:solidFill>
                <a:schemeClr val="tx1"/>
              </a:solidFill>
            </a:endParaRPr>
          </a:p>
        </p:txBody>
      </p:sp>
      <p:sp>
        <p:nvSpPr>
          <p:cNvPr id="644" name="TextBox 643">
            <a:extLst>
              <a:ext uri="{FF2B5EF4-FFF2-40B4-BE49-F238E27FC236}">
                <a16:creationId xmlns:a16="http://schemas.microsoft.com/office/drawing/2014/main" id="{9C1AED09-73A5-F369-D004-6798E5F03DF5}"/>
              </a:ext>
            </a:extLst>
          </p:cNvPr>
          <p:cNvSpPr txBox="1"/>
          <p:nvPr/>
        </p:nvSpPr>
        <p:spPr>
          <a:xfrm>
            <a:off x="358909" y="2879725"/>
            <a:ext cx="960225" cy="261938"/>
          </a:xfrm>
          <a:prstGeom prst="rect">
            <a:avLst/>
          </a:prstGeom>
          <a:noFill/>
        </p:spPr>
        <p:txBody>
          <a:bodyPr wrap="square" lIns="0" tIns="0" rIns="0" bIns="0" rtlCol="0">
            <a:noAutofit/>
          </a:bodyPr>
          <a:lstStyle/>
          <a:p>
            <a:pPr algn="r"/>
            <a:r>
              <a:rPr lang="en-US" sz="900" b="1" dirty="0"/>
              <a:t>Digital CVR (Excl. Display)</a:t>
            </a:r>
          </a:p>
        </p:txBody>
      </p:sp>
      <p:sp>
        <p:nvSpPr>
          <p:cNvPr id="645" name="TextBox 644">
            <a:extLst>
              <a:ext uri="{FF2B5EF4-FFF2-40B4-BE49-F238E27FC236}">
                <a16:creationId xmlns:a16="http://schemas.microsoft.com/office/drawing/2014/main" id="{3117A91D-62EC-12C3-616D-515E7CF78E62}"/>
              </a:ext>
            </a:extLst>
          </p:cNvPr>
          <p:cNvSpPr txBox="1"/>
          <p:nvPr/>
        </p:nvSpPr>
        <p:spPr>
          <a:xfrm>
            <a:off x="358909" y="3284538"/>
            <a:ext cx="960225" cy="260350"/>
          </a:xfrm>
          <a:prstGeom prst="rect">
            <a:avLst/>
          </a:prstGeom>
          <a:noFill/>
        </p:spPr>
        <p:txBody>
          <a:bodyPr wrap="square" lIns="0" tIns="0" rIns="0" bIns="0" rtlCol="0">
            <a:noAutofit/>
          </a:bodyPr>
          <a:lstStyle/>
          <a:p>
            <a:pPr algn="r"/>
            <a:r>
              <a:rPr lang="en-US" sz="900" b="1" dirty="0"/>
              <a:t>Digital CVR</a:t>
            </a:r>
          </a:p>
        </p:txBody>
      </p:sp>
      <p:grpSp>
        <p:nvGrpSpPr>
          <p:cNvPr id="134" name="Group 133">
            <a:extLst>
              <a:ext uri="{FF2B5EF4-FFF2-40B4-BE49-F238E27FC236}">
                <a16:creationId xmlns:a16="http://schemas.microsoft.com/office/drawing/2014/main" id="{427DE4E3-AE6A-5906-FA11-A5D0CE535D4B}"/>
              </a:ext>
            </a:extLst>
          </p:cNvPr>
          <p:cNvGrpSpPr/>
          <p:nvPr/>
        </p:nvGrpSpPr>
        <p:grpSpPr>
          <a:xfrm>
            <a:off x="672062" y="1716249"/>
            <a:ext cx="567776" cy="896695"/>
            <a:chOff x="55563" y="1526625"/>
            <a:chExt cx="825977" cy="897327"/>
          </a:xfrm>
          <a:solidFill>
            <a:schemeClr val="tx1">
              <a:lumMod val="50000"/>
              <a:lumOff val="50000"/>
            </a:schemeClr>
          </a:solidFill>
        </p:grpSpPr>
        <p:sp>
          <p:nvSpPr>
            <p:cNvPr id="135" name="Arrow: Pentagon 134">
              <a:extLst>
                <a:ext uri="{FF2B5EF4-FFF2-40B4-BE49-F238E27FC236}">
                  <a16:creationId xmlns:a16="http://schemas.microsoft.com/office/drawing/2014/main" id="{3AE644EA-277C-DD80-E15C-4FBA681C5B86}"/>
                </a:ext>
              </a:extLst>
            </p:cNvPr>
            <p:cNvSpPr/>
            <p:nvPr/>
          </p:nvSpPr>
          <p:spPr>
            <a:xfrm>
              <a:off x="55563" y="1526625"/>
              <a:ext cx="825977" cy="274320"/>
            </a:xfrm>
            <a:prstGeom prst="homePlate">
              <a:avLst/>
            </a:prstGeom>
            <a:grp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a:solidFill>
                    <a:schemeClr val="bg1"/>
                  </a:solidFill>
                </a:rPr>
                <a:t>NED</a:t>
              </a:r>
            </a:p>
          </p:txBody>
        </p:sp>
        <p:sp>
          <p:nvSpPr>
            <p:cNvPr id="136" name="Arrow: Pentagon 135">
              <a:extLst>
                <a:ext uri="{FF2B5EF4-FFF2-40B4-BE49-F238E27FC236}">
                  <a16:creationId xmlns:a16="http://schemas.microsoft.com/office/drawing/2014/main" id="{B35D1B36-9BDF-E080-BA9E-3A13E83E315E}"/>
                </a:ext>
              </a:extLst>
            </p:cNvPr>
            <p:cNvSpPr/>
            <p:nvPr/>
          </p:nvSpPr>
          <p:spPr>
            <a:xfrm>
              <a:off x="55563" y="1833373"/>
              <a:ext cx="825977" cy="274320"/>
            </a:xfrm>
            <a:prstGeom prst="homePlate">
              <a:avLst/>
            </a:prstGeom>
            <a:grp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a:solidFill>
                    <a:schemeClr val="bg1"/>
                  </a:solidFill>
                </a:rPr>
                <a:t>CEN</a:t>
              </a:r>
            </a:p>
          </p:txBody>
        </p:sp>
        <p:sp>
          <p:nvSpPr>
            <p:cNvPr id="137" name="Arrow: Pentagon 136">
              <a:extLst>
                <a:ext uri="{FF2B5EF4-FFF2-40B4-BE49-F238E27FC236}">
                  <a16:creationId xmlns:a16="http://schemas.microsoft.com/office/drawing/2014/main" id="{279A2FA1-64DD-D841-08CA-B61E3AD45388}"/>
                </a:ext>
              </a:extLst>
            </p:cNvPr>
            <p:cNvSpPr/>
            <p:nvPr/>
          </p:nvSpPr>
          <p:spPr>
            <a:xfrm>
              <a:off x="55563" y="2149632"/>
              <a:ext cx="825977" cy="274320"/>
            </a:xfrm>
            <a:prstGeom prst="homePlate">
              <a:avLst/>
            </a:prstGeom>
            <a:grp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a:solidFill>
                    <a:schemeClr val="bg1"/>
                  </a:solidFill>
                </a:rPr>
                <a:t>WEST</a:t>
              </a:r>
            </a:p>
          </p:txBody>
        </p:sp>
      </p:grpSp>
      <p:grpSp>
        <p:nvGrpSpPr>
          <p:cNvPr id="138" name="Group 137">
            <a:extLst>
              <a:ext uri="{FF2B5EF4-FFF2-40B4-BE49-F238E27FC236}">
                <a16:creationId xmlns:a16="http://schemas.microsoft.com/office/drawing/2014/main" id="{BCDC4A59-266D-F2E0-38ED-FE44523974F1}"/>
              </a:ext>
            </a:extLst>
          </p:cNvPr>
          <p:cNvGrpSpPr/>
          <p:nvPr/>
        </p:nvGrpSpPr>
        <p:grpSpPr>
          <a:xfrm>
            <a:off x="1415614" y="1736702"/>
            <a:ext cx="1435535" cy="932968"/>
            <a:chOff x="3317132" y="1496763"/>
            <a:chExt cx="1636640" cy="901154"/>
          </a:xfrm>
        </p:grpSpPr>
        <p:sp>
          <p:nvSpPr>
            <p:cNvPr id="139" name="Rectangle 138">
              <a:extLst>
                <a:ext uri="{FF2B5EF4-FFF2-40B4-BE49-F238E27FC236}">
                  <a16:creationId xmlns:a16="http://schemas.microsoft.com/office/drawing/2014/main" id="{6FF0E64E-C689-4ECA-12AB-4DB9A59DA20C}"/>
                </a:ext>
              </a:extLst>
            </p:cNvPr>
            <p:cNvSpPr/>
            <p:nvPr/>
          </p:nvSpPr>
          <p:spPr>
            <a:xfrm>
              <a:off x="3997427" y="1496763"/>
              <a:ext cx="956345" cy="569969"/>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highlight>
                    <a:srgbClr val="FFFFFF"/>
                  </a:highlight>
                </a:rPr>
                <a:t>$49 BI 100 + SE Converged*</a:t>
              </a:r>
            </a:p>
          </p:txBody>
        </p:sp>
        <p:sp>
          <p:nvSpPr>
            <p:cNvPr id="140" name="Rectangle 139">
              <a:extLst>
                <a:ext uri="{FF2B5EF4-FFF2-40B4-BE49-F238E27FC236}">
                  <a16:creationId xmlns:a16="http://schemas.microsoft.com/office/drawing/2014/main" id="{08C47B60-3D8F-CF47-7981-8D6FB8095125}"/>
                </a:ext>
              </a:extLst>
            </p:cNvPr>
            <p:cNvSpPr/>
            <p:nvPr/>
          </p:nvSpPr>
          <p:spPr>
            <a:xfrm>
              <a:off x="3318355" y="2110263"/>
              <a:ext cx="643435" cy="287654"/>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highlight>
                    <a:srgbClr val="FFFFFF"/>
                  </a:highlight>
                </a:rPr>
                <a:t>$39 BI 50</a:t>
              </a:r>
            </a:p>
          </p:txBody>
        </p:sp>
        <p:sp>
          <p:nvSpPr>
            <p:cNvPr id="141" name="Rectangle 140">
              <a:extLst>
                <a:ext uri="{FF2B5EF4-FFF2-40B4-BE49-F238E27FC236}">
                  <a16:creationId xmlns:a16="http://schemas.microsoft.com/office/drawing/2014/main" id="{A5F62F7E-2DC4-B4BA-161B-50E0448C34A6}"/>
                </a:ext>
              </a:extLst>
            </p:cNvPr>
            <p:cNvSpPr/>
            <p:nvPr/>
          </p:nvSpPr>
          <p:spPr>
            <a:xfrm>
              <a:off x="3317132" y="1496764"/>
              <a:ext cx="644658" cy="576619"/>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highlight>
                    <a:srgbClr val="FFFFFF"/>
                  </a:highlight>
                </a:rPr>
                <a:t>$39 BI 50</a:t>
              </a:r>
            </a:p>
          </p:txBody>
        </p:sp>
        <p:sp>
          <p:nvSpPr>
            <p:cNvPr id="142" name="Rectangle 141">
              <a:extLst>
                <a:ext uri="{FF2B5EF4-FFF2-40B4-BE49-F238E27FC236}">
                  <a16:creationId xmlns:a16="http://schemas.microsoft.com/office/drawing/2014/main" id="{3AA87E7D-0F53-9779-4639-20F409BB880F}"/>
                </a:ext>
              </a:extLst>
            </p:cNvPr>
            <p:cNvSpPr/>
            <p:nvPr/>
          </p:nvSpPr>
          <p:spPr>
            <a:xfrm>
              <a:off x="3996048" y="2092048"/>
              <a:ext cx="957724" cy="297208"/>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highlight>
                    <a:srgbClr val="FFFFFF"/>
                  </a:highlight>
                </a:rPr>
                <a:t>$49 BI 100 + SE Converged</a:t>
              </a:r>
            </a:p>
          </p:txBody>
        </p:sp>
      </p:grpSp>
      <p:sp>
        <p:nvSpPr>
          <p:cNvPr id="143" name="Rectangle 142">
            <a:extLst>
              <a:ext uri="{FF2B5EF4-FFF2-40B4-BE49-F238E27FC236}">
                <a16:creationId xmlns:a16="http://schemas.microsoft.com/office/drawing/2014/main" id="{7667194F-2B12-5E64-91AB-AF3D7023D7F3}"/>
              </a:ext>
            </a:extLst>
          </p:cNvPr>
          <p:cNvSpPr/>
          <p:nvPr/>
        </p:nvSpPr>
        <p:spPr>
          <a:xfrm>
            <a:off x="2898597" y="1755762"/>
            <a:ext cx="633403" cy="283265"/>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highlight>
                  <a:srgbClr val="FFFFFF"/>
                </a:highlight>
              </a:rPr>
              <a:t>$39 BI 50 + SE</a:t>
            </a:r>
          </a:p>
        </p:txBody>
      </p:sp>
      <p:sp>
        <p:nvSpPr>
          <p:cNvPr id="144" name="Rectangle 143">
            <a:extLst>
              <a:ext uri="{FF2B5EF4-FFF2-40B4-BE49-F238E27FC236}">
                <a16:creationId xmlns:a16="http://schemas.microsoft.com/office/drawing/2014/main" id="{64C913C2-7172-D808-1AD1-083D7D772E2C}"/>
              </a:ext>
            </a:extLst>
          </p:cNvPr>
          <p:cNvSpPr/>
          <p:nvPr/>
        </p:nvSpPr>
        <p:spPr>
          <a:xfrm>
            <a:off x="2897631" y="2108201"/>
            <a:ext cx="2102409" cy="229098"/>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solidFill>
                  <a:schemeClr val="tx1"/>
                </a:solidFill>
                <a:highlight>
                  <a:srgbClr val="FFFFFF"/>
                </a:highlight>
              </a:rPr>
              <a:t>$39 BI 100 + SE</a:t>
            </a:r>
          </a:p>
        </p:txBody>
      </p:sp>
      <p:sp>
        <p:nvSpPr>
          <p:cNvPr id="145" name="Rectangle 144">
            <a:extLst>
              <a:ext uri="{FF2B5EF4-FFF2-40B4-BE49-F238E27FC236}">
                <a16:creationId xmlns:a16="http://schemas.microsoft.com/office/drawing/2014/main" id="{F78F461C-6DCA-9F43-6479-974203436101}"/>
              </a:ext>
            </a:extLst>
          </p:cNvPr>
          <p:cNvSpPr/>
          <p:nvPr/>
        </p:nvSpPr>
        <p:spPr>
          <a:xfrm>
            <a:off x="2897631" y="2415632"/>
            <a:ext cx="2102409" cy="216929"/>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solidFill>
                  <a:schemeClr val="tx1"/>
                </a:solidFill>
                <a:highlight>
                  <a:srgbClr val="FFFFFF"/>
                </a:highlight>
              </a:rPr>
              <a:t>$</a:t>
            </a:r>
            <a:r>
              <a:rPr lang="en-US" sz="700" dirty="0">
                <a:solidFill>
                  <a:schemeClr val="tx1"/>
                </a:solidFill>
                <a:highlight>
                  <a:srgbClr val="FFFFFF"/>
                </a:highlight>
              </a:rPr>
              <a:t>49.99</a:t>
            </a:r>
            <a:r>
              <a:rPr lang="en-US" sz="700">
                <a:solidFill>
                  <a:schemeClr val="tx1"/>
                </a:solidFill>
                <a:highlight>
                  <a:srgbClr val="FFFFFF"/>
                </a:highlight>
              </a:rPr>
              <a:t> BI 50 + SE</a:t>
            </a:r>
          </a:p>
        </p:txBody>
      </p:sp>
      <p:sp>
        <p:nvSpPr>
          <p:cNvPr id="146" name="Rectangle 145">
            <a:extLst>
              <a:ext uri="{FF2B5EF4-FFF2-40B4-BE49-F238E27FC236}">
                <a16:creationId xmlns:a16="http://schemas.microsoft.com/office/drawing/2014/main" id="{1F0F2151-8B98-8FE4-12B0-01FA13F3DF5F}"/>
              </a:ext>
            </a:extLst>
          </p:cNvPr>
          <p:cNvSpPr/>
          <p:nvPr/>
        </p:nvSpPr>
        <p:spPr>
          <a:xfrm>
            <a:off x="3594736" y="1765420"/>
            <a:ext cx="614115" cy="283265"/>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solidFill>
                  <a:schemeClr val="tx1"/>
                </a:solidFill>
                <a:highlight>
                  <a:srgbClr val="FFFFFF"/>
                </a:highlight>
              </a:rPr>
              <a:t>$</a:t>
            </a:r>
            <a:r>
              <a:rPr lang="en-US" sz="700" dirty="0">
                <a:solidFill>
                  <a:schemeClr val="tx1"/>
                </a:solidFill>
                <a:highlight>
                  <a:srgbClr val="FFFFFF"/>
                </a:highlight>
              </a:rPr>
              <a:t>69.99</a:t>
            </a:r>
            <a:r>
              <a:rPr lang="en-US" sz="700">
                <a:solidFill>
                  <a:schemeClr val="tx1"/>
                </a:solidFill>
                <a:highlight>
                  <a:srgbClr val="FFFFFF"/>
                </a:highlight>
              </a:rPr>
              <a:t> BI 100+ SE</a:t>
            </a:r>
          </a:p>
        </p:txBody>
      </p:sp>
      <p:sp>
        <p:nvSpPr>
          <p:cNvPr id="147" name="Rectangle 146">
            <a:extLst>
              <a:ext uri="{FF2B5EF4-FFF2-40B4-BE49-F238E27FC236}">
                <a16:creationId xmlns:a16="http://schemas.microsoft.com/office/drawing/2014/main" id="{3887CA73-3472-D1E6-1B74-0C78B3A4F9CF}"/>
              </a:ext>
            </a:extLst>
          </p:cNvPr>
          <p:cNvSpPr/>
          <p:nvPr/>
        </p:nvSpPr>
        <p:spPr>
          <a:xfrm>
            <a:off x="4232568" y="1755762"/>
            <a:ext cx="767472" cy="292922"/>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solidFill>
                  <a:schemeClr val="tx1"/>
                </a:solidFill>
                <a:highlight>
                  <a:srgbClr val="FFFFFF"/>
                </a:highlight>
              </a:rPr>
              <a:t>$49 BI 50+SE</a:t>
            </a:r>
          </a:p>
        </p:txBody>
      </p:sp>
      <p:sp>
        <p:nvSpPr>
          <p:cNvPr id="148" name="Rectangle 147">
            <a:extLst>
              <a:ext uri="{FF2B5EF4-FFF2-40B4-BE49-F238E27FC236}">
                <a16:creationId xmlns:a16="http://schemas.microsoft.com/office/drawing/2014/main" id="{5D1DC012-DAFF-ACF2-671F-4455ABFBF0D9}"/>
              </a:ext>
            </a:extLst>
          </p:cNvPr>
          <p:cNvSpPr/>
          <p:nvPr/>
        </p:nvSpPr>
        <p:spPr>
          <a:xfrm>
            <a:off x="5046522" y="2057898"/>
            <a:ext cx="1819743" cy="274127"/>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solidFill>
                  <a:schemeClr val="tx1"/>
                </a:solidFill>
                <a:highlight>
                  <a:srgbClr val="FFFFFF"/>
                </a:highlight>
              </a:rPr>
              <a:t>$49 BI 100 + SE</a:t>
            </a:r>
          </a:p>
        </p:txBody>
      </p:sp>
      <p:sp>
        <p:nvSpPr>
          <p:cNvPr id="149" name="Rectangle 148">
            <a:extLst>
              <a:ext uri="{FF2B5EF4-FFF2-40B4-BE49-F238E27FC236}">
                <a16:creationId xmlns:a16="http://schemas.microsoft.com/office/drawing/2014/main" id="{B1EFBFF6-3DFF-02F1-B7ED-899C087B57BA}"/>
              </a:ext>
            </a:extLst>
          </p:cNvPr>
          <p:cNvSpPr/>
          <p:nvPr/>
        </p:nvSpPr>
        <p:spPr>
          <a:xfrm>
            <a:off x="5048807" y="2357857"/>
            <a:ext cx="1152562" cy="283285"/>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solidFill>
                  <a:schemeClr val="tx1"/>
                </a:solidFill>
                <a:highlight>
                  <a:srgbClr val="FFFFFF"/>
                </a:highlight>
              </a:rPr>
              <a:t>$59.99 BI50 +SE</a:t>
            </a:r>
          </a:p>
        </p:txBody>
      </p:sp>
      <p:sp>
        <p:nvSpPr>
          <p:cNvPr id="150" name="Rectangle 149">
            <a:extLst>
              <a:ext uri="{FF2B5EF4-FFF2-40B4-BE49-F238E27FC236}">
                <a16:creationId xmlns:a16="http://schemas.microsoft.com/office/drawing/2014/main" id="{D4EC233B-3E04-AAAC-0E47-49400FD133AF}"/>
              </a:ext>
            </a:extLst>
          </p:cNvPr>
          <p:cNvSpPr/>
          <p:nvPr/>
        </p:nvSpPr>
        <p:spPr>
          <a:xfrm>
            <a:off x="5048806" y="1759364"/>
            <a:ext cx="1160226" cy="272702"/>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solidFill>
                  <a:schemeClr val="tx1"/>
                </a:solidFill>
                <a:highlight>
                  <a:srgbClr val="FFFFFF"/>
                </a:highlight>
              </a:rPr>
              <a:t>$39 BI 50+SE</a:t>
            </a:r>
          </a:p>
        </p:txBody>
      </p:sp>
      <p:sp>
        <p:nvSpPr>
          <p:cNvPr id="151" name="Rectangle 150">
            <a:extLst>
              <a:ext uri="{FF2B5EF4-FFF2-40B4-BE49-F238E27FC236}">
                <a16:creationId xmlns:a16="http://schemas.microsoft.com/office/drawing/2014/main" id="{A54D4AA0-BACB-608C-97DE-0D2179AAA08F}"/>
              </a:ext>
            </a:extLst>
          </p:cNvPr>
          <p:cNvSpPr/>
          <p:nvPr/>
        </p:nvSpPr>
        <p:spPr>
          <a:xfrm>
            <a:off x="6224280" y="1757187"/>
            <a:ext cx="645845" cy="272702"/>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solidFill>
                  <a:schemeClr val="tx1"/>
                </a:solidFill>
                <a:highlight>
                  <a:srgbClr val="FFFFFF"/>
                </a:highlight>
              </a:rPr>
              <a:t>$49BI 50+SE</a:t>
            </a:r>
          </a:p>
        </p:txBody>
      </p:sp>
      <p:sp>
        <p:nvSpPr>
          <p:cNvPr id="152" name="Rectangle 151">
            <a:extLst>
              <a:ext uri="{FF2B5EF4-FFF2-40B4-BE49-F238E27FC236}">
                <a16:creationId xmlns:a16="http://schemas.microsoft.com/office/drawing/2014/main" id="{93B4F5F6-EC16-7939-5FBF-FB1C0885E0B8}"/>
              </a:ext>
            </a:extLst>
          </p:cNvPr>
          <p:cNvSpPr/>
          <p:nvPr/>
        </p:nvSpPr>
        <p:spPr>
          <a:xfrm>
            <a:off x="6224280" y="2360117"/>
            <a:ext cx="644134" cy="281003"/>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solidFill>
                  <a:schemeClr val="tx1"/>
                </a:solidFill>
                <a:highlight>
                  <a:srgbClr val="FFFFFF"/>
                </a:highlight>
              </a:rPr>
              <a:t>$49BI 50+SE</a:t>
            </a:r>
          </a:p>
        </p:txBody>
      </p:sp>
      <p:sp>
        <p:nvSpPr>
          <p:cNvPr id="153" name="Rectangle 152">
            <a:extLst>
              <a:ext uri="{FF2B5EF4-FFF2-40B4-BE49-F238E27FC236}">
                <a16:creationId xmlns:a16="http://schemas.microsoft.com/office/drawing/2014/main" id="{EF1C9107-28F3-F38C-B297-13CCCFBA7160}"/>
              </a:ext>
            </a:extLst>
          </p:cNvPr>
          <p:cNvSpPr/>
          <p:nvPr/>
        </p:nvSpPr>
        <p:spPr>
          <a:xfrm>
            <a:off x="6905171" y="1755763"/>
            <a:ext cx="1577122" cy="243976"/>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solidFill>
                  <a:schemeClr val="tx1"/>
                </a:solidFill>
                <a:highlight>
                  <a:srgbClr val="FFFFFF"/>
                </a:highlight>
              </a:rPr>
              <a:t>$49.99 BI 50 + SE</a:t>
            </a:r>
          </a:p>
        </p:txBody>
      </p:sp>
      <p:sp>
        <p:nvSpPr>
          <p:cNvPr id="154" name="Rectangle 153">
            <a:extLst>
              <a:ext uri="{FF2B5EF4-FFF2-40B4-BE49-F238E27FC236}">
                <a16:creationId xmlns:a16="http://schemas.microsoft.com/office/drawing/2014/main" id="{F61451D6-27E4-0174-EAA7-0F5E5A17AEC2}"/>
              </a:ext>
            </a:extLst>
          </p:cNvPr>
          <p:cNvSpPr/>
          <p:nvPr/>
        </p:nvSpPr>
        <p:spPr>
          <a:xfrm>
            <a:off x="6905172" y="2357856"/>
            <a:ext cx="1575927" cy="243977"/>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solidFill>
                  <a:schemeClr val="tx1"/>
                </a:solidFill>
                <a:highlight>
                  <a:srgbClr val="FFFFFF"/>
                </a:highlight>
              </a:rPr>
              <a:t>$49.99 BI 50 + SE</a:t>
            </a:r>
          </a:p>
        </p:txBody>
      </p:sp>
      <p:sp>
        <p:nvSpPr>
          <p:cNvPr id="156" name="Rectangle 155">
            <a:extLst>
              <a:ext uri="{FF2B5EF4-FFF2-40B4-BE49-F238E27FC236}">
                <a16:creationId xmlns:a16="http://schemas.microsoft.com/office/drawing/2014/main" id="{62C3B67A-DA5C-8F07-0200-B2F19FD94E88}"/>
              </a:ext>
            </a:extLst>
          </p:cNvPr>
          <p:cNvSpPr/>
          <p:nvPr/>
        </p:nvSpPr>
        <p:spPr>
          <a:xfrm>
            <a:off x="6906366" y="2057387"/>
            <a:ext cx="1575927" cy="231957"/>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highlight>
                  <a:srgbClr val="FFFFFF"/>
                </a:highlight>
              </a:rPr>
              <a:t>$49 BI 100 + SE w/ Mobile</a:t>
            </a:r>
          </a:p>
        </p:txBody>
      </p:sp>
      <p:sp>
        <p:nvSpPr>
          <p:cNvPr id="157" name="Rectangle 156">
            <a:extLst>
              <a:ext uri="{FF2B5EF4-FFF2-40B4-BE49-F238E27FC236}">
                <a16:creationId xmlns:a16="http://schemas.microsoft.com/office/drawing/2014/main" id="{30B59E6E-6BC0-378E-3765-B6188C26F110}"/>
              </a:ext>
            </a:extLst>
          </p:cNvPr>
          <p:cNvSpPr/>
          <p:nvPr/>
        </p:nvSpPr>
        <p:spPr>
          <a:xfrm>
            <a:off x="8517339" y="1750197"/>
            <a:ext cx="1021999" cy="272702"/>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highlight>
                  <a:srgbClr val="FFFFFF"/>
                </a:highlight>
              </a:rPr>
              <a:t>$79.99 BI 300+SE</a:t>
            </a:r>
          </a:p>
        </p:txBody>
      </p:sp>
      <p:sp>
        <p:nvSpPr>
          <p:cNvPr id="158" name="Rectangle 157">
            <a:extLst>
              <a:ext uri="{FF2B5EF4-FFF2-40B4-BE49-F238E27FC236}">
                <a16:creationId xmlns:a16="http://schemas.microsoft.com/office/drawing/2014/main" id="{7A14C9CE-C355-20B6-6589-94250CE2D3B3}"/>
              </a:ext>
            </a:extLst>
          </p:cNvPr>
          <p:cNvSpPr/>
          <p:nvPr/>
        </p:nvSpPr>
        <p:spPr>
          <a:xfrm>
            <a:off x="8518302" y="2070163"/>
            <a:ext cx="1016417" cy="227615"/>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highlight>
                  <a:srgbClr val="FFFFFF"/>
                </a:highlight>
              </a:rPr>
              <a:t>$49 BI 300+SE</a:t>
            </a:r>
          </a:p>
        </p:txBody>
      </p:sp>
      <p:sp>
        <p:nvSpPr>
          <p:cNvPr id="159" name="Rectangle 158">
            <a:extLst>
              <a:ext uri="{FF2B5EF4-FFF2-40B4-BE49-F238E27FC236}">
                <a16:creationId xmlns:a16="http://schemas.microsoft.com/office/drawing/2014/main" id="{E35AB781-206C-AEA7-924E-0869859AFF6D}"/>
              </a:ext>
            </a:extLst>
          </p:cNvPr>
          <p:cNvSpPr/>
          <p:nvPr/>
        </p:nvSpPr>
        <p:spPr>
          <a:xfrm>
            <a:off x="8531016" y="2346091"/>
            <a:ext cx="1016416" cy="243977"/>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highlight>
                  <a:srgbClr val="FFFFFF"/>
                </a:highlight>
              </a:rPr>
              <a:t>$49 BI 150 + SE</a:t>
            </a:r>
          </a:p>
        </p:txBody>
      </p:sp>
      <p:sp>
        <p:nvSpPr>
          <p:cNvPr id="9" name="Rectangle 8">
            <a:extLst>
              <a:ext uri="{FF2B5EF4-FFF2-40B4-BE49-F238E27FC236}">
                <a16:creationId xmlns:a16="http://schemas.microsoft.com/office/drawing/2014/main" id="{0C0B8BF8-F44E-CCDC-7C66-4A9553062BF4}"/>
              </a:ext>
            </a:extLst>
          </p:cNvPr>
          <p:cNvSpPr/>
          <p:nvPr/>
        </p:nvSpPr>
        <p:spPr>
          <a:xfrm>
            <a:off x="9636373" y="3293269"/>
            <a:ext cx="2236788" cy="685800"/>
          </a:xfrm>
          <a:prstGeom prst="rect">
            <a:avLst/>
          </a:prstGeom>
          <a:solidFill>
            <a:schemeClr val="bg2"/>
          </a:solidFill>
          <a:ln w="9525">
            <a:solidFill>
              <a:schemeClr val="bg2">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050" b="1">
                <a:solidFill>
                  <a:schemeClr val="tx1"/>
                </a:solidFill>
              </a:rPr>
              <a:t>vs. BUD</a:t>
            </a:r>
          </a:p>
        </p:txBody>
      </p:sp>
      <p:grpSp>
        <p:nvGrpSpPr>
          <p:cNvPr id="12" name="Group 11">
            <a:extLst>
              <a:ext uri="{FF2B5EF4-FFF2-40B4-BE49-F238E27FC236}">
                <a16:creationId xmlns:a16="http://schemas.microsoft.com/office/drawing/2014/main" id="{A58486DF-1A92-60B6-3ADE-D96C2B25FD91}"/>
              </a:ext>
            </a:extLst>
          </p:cNvPr>
          <p:cNvGrpSpPr/>
          <p:nvPr/>
        </p:nvGrpSpPr>
        <p:grpSpPr>
          <a:xfrm>
            <a:off x="10265022" y="3267869"/>
            <a:ext cx="1682749" cy="750888"/>
            <a:chOff x="10106556" y="4845052"/>
            <a:chExt cx="1682296" cy="750818"/>
          </a:xfrm>
        </p:grpSpPr>
        <p:sp>
          <p:nvSpPr>
            <p:cNvPr id="13" name="Rectangle 12">
              <a:extLst>
                <a:ext uri="{FF2B5EF4-FFF2-40B4-BE49-F238E27FC236}">
                  <a16:creationId xmlns:a16="http://schemas.microsoft.com/office/drawing/2014/main" id="{9E580B4A-856A-B031-8702-434DB82090D0}"/>
                </a:ext>
              </a:extLst>
            </p:cNvPr>
            <p:cNvSpPr/>
            <p:nvPr/>
          </p:nvSpPr>
          <p:spPr>
            <a:xfrm>
              <a:off x="10106556" y="5246620"/>
              <a:ext cx="586217"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C00000"/>
                  </a:solidFill>
                  <a:highlight>
                    <a:srgbClr val="FFFFFF"/>
                  </a:highlight>
                </a:rPr>
                <a:t> 78%</a:t>
              </a:r>
            </a:p>
          </p:txBody>
        </p:sp>
        <p:sp>
          <p:nvSpPr>
            <p:cNvPr id="15" name="Rectangle 14">
              <a:extLst>
                <a:ext uri="{FF2B5EF4-FFF2-40B4-BE49-F238E27FC236}">
                  <a16:creationId xmlns:a16="http://schemas.microsoft.com/office/drawing/2014/main" id="{B1C33C3E-8405-0370-40B4-8134D489EAE9}"/>
                </a:ext>
              </a:extLst>
            </p:cNvPr>
            <p:cNvSpPr/>
            <p:nvPr/>
          </p:nvSpPr>
          <p:spPr>
            <a:xfrm>
              <a:off x="10633986" y="5246620"/>
              <a:ext cx="586217"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accent3">
                      <a:lumMod val="50000"/>
                    </a:schemeClr>
                  </a:solidFill>
                  <a:highlight>
                    <a:srgbClr val="FFFFFF"/>
                  </a:highlight>
                </a:rPr>
                <a:t> </a:t>
              </a:r>
              <a:r>
                <a:rPr lang="en-US" sz="1050" dirty="0">
                  <a:solidFill>
                    <a:srgbClr val="C00000"/>
                  </a:solidFill>
                  <a:highlight>
                    <a:srgbClr val="FFFFFF"/>
                  </a:highlight>
                </a:rPr>
                <a:t>73%</a:t>
              </a:r>
            </a:p>
          </p:txBody>
        </p:sp>
        <p:sp>
          <p:nvSpPr>
            <p:cNvPr id="18" name="Rectangle 17">
              <a:extLst>
                <a:ext uri="{FF2B5EF4-FFF2-40B4-BE49-F238E27FC236}">
                  <a16:creationId xmlns:a16="http://schemas.microsoft.com/office/drawing/2014/main" id="{C54CACCB-88E8-3E7C-3BF6-D0CB859BC041}"/>
                </a:ext>
              </a:extLst>
            </p:cNvPr>
            <p:cNvSpPr/>
            <p:nvPr/>
          </p:nvSpPr>
          <p:spPr>
            <a:xfrm>
              <a:off x="11153248" y="5246620"/>
              <a:ext cx="586217"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C00000"/>
                  </a:solidFill>
                  <a:highlight>
                    <a:srgbClr val="FFFFFF"/>
                  </a:highlight>
                </a:rPr>
                <a:t>81%</a:t>
              </a:r>
            </a:p>
          </p:txBody>
        </p:sp>
        <p:cxnSp>
          <p:nvCxnSpPr>
            <p:cNvPr id="20" name="Straight Connector 19">
              <a:extLst>
                <a:ext uri="{FF2B5EF4-FFF2-40B4-BE49-F238E27FC236}">
                  <a16:creationId xmlns:a16="http://schemas.microsoft.com/office/drawing/2014/main" id="{D71F719A-AE50-50AD-AA7A-1EEA1E5A4BD2}"/>
                </a:ext>
              </a:extLst>
            </p:cNvPr>
            <p:cNvCxnSpPr>
              <a:cxnSpLocks/>
            </p:cNvCxnSpPr>
            <p:nvPr/>
          </p:nvCxnSpPr>
          <p:spPr>
            <a:xfrm>
              <a:off x="10217648" y="5158793"/>
              <a:ext cx="1418892" cy="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61F53F4-F856-17D2-25E0-5F7F0921B62D}"/>
                </a:ext>
              </a:extLst>
            </p:cNvPr>
            <p:cNvCxnSpPr>
              <a:cxnSpLocks/>
            </p:cNvCxnSpPr>
            <p:nvPr/>
          </p:nvCxnSpPr>
          <p:spPr>
            <a:xfrm>
              <a:off x="11181972" y="5155618"/>
              <a:ext cx="0" cy="265113"/>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C4126D52-E459-CAA3-43C6-43EE6745870B}"/>
                </a:ext>
              </a:extLst>
            </p:cNvPr>
            <p:cNvCxnSpPr>
              <a:cxnSpLocks/>
            </p:cNvCxnSpPr>
            <p:nvPr/>
          </p:nvCxnSpPr>
          <p:spPr>
            <a:xfrm>
              <a:off x="10672217" y="5158793"/>
              <a:ext cx="0" cy="274638"/>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BB774EF5-62FA-BA76-D137-3129A2A0C070}"/>
                </a:ext>
              </a:extLst>
            </p:cNvPr>
            <p:cNvSpPr/>
            <p:nvPr/>
          </p:nvSpPr>
          <p:spPr>
            <a:xfrm>
              <a:off x="10515614" y="4845052"/>
              <a:ext cx="822960"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200" b="1" dirty="0">
                  <a:solidFill>
                    <a:srgbClr val="C00000"/>
                  </a:solidFill>
                  <a:highlight>
                    <a:srgbClr val="FFFFFF"/>
                  </a:highlight>
                </a:rPr>
                <a:t>76%</a:t>
              </a:r>
            </a:p>
          </p:txBody>
        </p:sp>
        <p:sp>
          <p:nvSpPr>
            <p:cNvPr id="45" name="Rectangle 44">
              <a:extLst>
                <a:ext uri="{FF2B5EF4-FFF2-40B4-BE49-F238E27FC236}">
                  <a16:creationId xmlns:a16="http://schemas.microsoft.com/office/drawing/2014/main" id="{70F5F5B7-C0BA-2218-6DD1-5956E014B36E}"/>
                </a:ext>
              </a:extLst>
            </p:cNvPr>
            <p:cNvSpPr/>
            <p:nvPr/>
          </p:nvSpPr>
          <p:spPr>
            <a:xfrm>
              <a:off x="10106556" y="5080724"/>
              <a:ext cx="586217" cy="349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highlight>
                    <a:srgbClr val="FFFFFF"/>
                  </a:highlight>
                </a:rPr>
                <a:t>NED</a:t>
              </a:r>
            </a:p>
          </p:txBody>
        </p:sp>
        <p:sp>
          <p:nvSpPr>
            <p:cNvPr id="46" name="Rectangle 45">
              <a:extLst>
                <a:ext uri="{FF2B5EF4-FFF2-40B4-BE49-F238E27FC236}">
                  <a16:creationId xmlns:a16="http://schemas.microsoft.com/office/drawing/2014/main" id="{C87057A9-ADAD-48D4-80DD-344F1A589F7F}"/>
                </a:ext>
              </a:extLst>
            </p:cNvPr>
            <p:cNvSpPr/>
            <p:nvPr/>
          </p:nvSpPr>
          <p:spPr>
            <a:xfrm>
              <a:off x="10633986" y="5085817"/>
              <a:ext cx="586217" cy="349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highlight>
                    <a:srgbClr val="FFFFFF"/>
                  </a:highlight>
                </a:rPr>
                <a:t>CEN</a:t>
              </a:r>
            </a:p>
          </p:txBody>
        </p:sp>
        <p:sp>
          <p:nvSpPr>
            <p:cNvPr id="47" name="Rectangle 46">
              <a:extLst>
                <a:ext uri="{FF2B5EF4-FFF2-40B4-BE49-F238E27FC236}">
                  <a16:creationId xmlns:a16="http://schemas.microsoft.com/office/drawing/2014/main" id="{C5268F42-F1AA-726E-A3A9-A7A22171F736}"/>
                </a:ext>
              </a:extLst>
            </p:cNvPr>
            <p:cNvSpPr/>
            <p:nvPr/>
          </p:nvSpPr>
          <p:spPr>
            <a:xfrm>
              <a:off x="11103861" y="5080724"/>
              <a:ext cx="684991" cy="349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highlight>
                    <a:srgbClr val="FFFFFF"/>
                  </a:highlight>
                </a:rPr>
                <a:t>WEST</a:t>
              </a:r>
            </a:p>
          </p:txBody>
        </p:sp>
      </p:grpSp>
      <p:sp>
        <p:nvSpPr>
          <p:cNvPr id="48" name="Rectangle 47">
            <a:extLst>
              <a:ext uri="{FF2B5EF4-FFF2-40B4-BE49-F238E27FC236}">
                <a16:creationId xmlns:a16="http://schemas.microsoft.com/office/drawing/2014/main" id="{233A31C7-4D77-B3F4-F7D3-8D3D0FC81240}"/>
              </a:ext>
            </a:extLst>
          </p:cNvPr>
          <p:cNvSpPr/>
          <p:nvPr/>
        </p:nvSpPr>
        <p:spPr>
          <a:xfrm>
            <a:off x="9636373" y="4231482"/>
            <a:ext cx="2236788" cy="685800"/>
          </a:xfrm>
          <a:prstGeom prst="rect">
            <a:avLst/>
          </a:prstGeom>
          <a:solidFill>
            <a:schemeClr val="bg2"/>
          </a:solidFill>
          <a:ln w="9525">
            <a:solidFill>
              <a:schemeClr val="bg2">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050" b="1" dirty="0">
                <a:solidFill>
                  <a:schemeClr val="tx1"/>
                </a:solidFill>
              </a:rPr>
              <a:t>vs. PM</a:t>
            </a:r>
          </a:p>
          <a:p>
            <a:r>
              <a:rPr lang="en-US" sz="800" dirty="0">
                <a:solidFill>
                  <a:schemeClr val="tx1"/>
                </a:solidFill>
              </a:rPr>
              <a:t>Apr ’24</a:t>
            </a:r>
          </a:p>
        </p:txBody>
      </p:sp>
      <p:grpSp>
        <p:nvGrpSpPr>
          <p:cNvPr id="49" name="Group 48">
            <a:extLst>
              <a:ext uri="{FF2B5EF4-FFF2-40B4-BE49-F238E27FC236}">
                <a16:creationId xmlns:a16="http://schemas.microsoft.com/office/drawing/2014/main" id="{6B43F3C1-3810-7D53-B64C-700735A1E863}"/>
              </a:ext>
            </a:extLst>
          </p:cNvPr>
          <p:cNvGrpSpPr/>
          <p:nvPr/>
        </p:nvGrpSpPr>
        <p:grpSpPr>
          <a:xfrm>
            <a:off x="10282491" y="4214020"/>
            <a:ext cx="1681163" cy="750888"/>
            <a:chOff x="10100487" y="5518068"/>
            <a:chExt cx="1682296" cy="750818"/>
          </a:xfrm>
        </p:grpSpPr>
        <p:sp>
          <p:nvSpPr>
            <p:cNvPr id="50" name="Rectangle 49">
              <a:extLst>
                <a:ext uri="{FF2B5EF4-FFF2-40B4-BE49-F238E27FC236}">
                  <a16:creationId xmlns:a16="http://schemas.microsoft.com/office/drawing/2014/main" id="{51D52805-A79A-C500-46D1-1F15B81807C8}"/>
                </a:ext>
              </a:extLst>
            </p:cNvPr>
            <p:cNvSpPr/>
            <p:nvPr/>
          </p:nvSpPr>
          <p:spPr>
            <a:xfrm>
              <a:off x="10100487" y="5919636"/>
              <a:ext cx="586217"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accent3">
                      <a:lumMod val="50000"/>
                    </a:schemeClr>
                  </a:solidFill>
                  <a:highlight>
                    <a:srgbClr val="FFFFFF"/>
                  </a:highlight>
                </a:rPr>
                <a:t>90%</a:t>
              </a:r>
            </a:p>
          </p:txBody>
        </p:sp>
        <p:sp>
          <p:nvSpPr>
            <p:cNvPr id="51" name="Rectangle 50">
              <a:extLst>
                <a:ext uri="{FF2B5EF4-FFF2-40B4-BE49-F238E27FC236}">
                  <a16:creationId xmlns:a16="http://schemas.microsoft.com/office/drawing/2014/main" id="{79AD319A-85E2-0F75-7796-62C919B29F15}"/>
                </a:ext>
              </a:extLst>
            </p:cNvPr>
            <p:cNvSpPr/>
            <p:nvPr/>
          </p:nvSpPr>
          <p:spPr>
            <a:xfrm>
              <a:off x="10627917" y="5919636"/>
              <a:ext cx="586217"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accent3">
                      <a:lumMod val="50000"/>
                    </a:schemeClr>
                  </a:solidFill>
                  <a:highlight>
                    <a:srgbClr val="FFFFFF"/>
                  </a:highlight>
                </a:rPr>
                <a:t>88%</a:t>
              </a:r>
            </a:p>
          </p:txBody>
        </p:sp>
        <p:sp>
          <p:nvSpPr>
            <p:cNvPr id="52" name="Rectangle 51">
              <a:extLst>
                <a:ext uri="{FF2B5EF4-FFF2-40B4-BE49-F238E27FC236}">
                  <a16:creationId xmlns:a16="http://schemas.microsoft.com/office/drawing/2014/main" id="{4BC7D0F2-61C1-8164-7E80-CF3979B1581D}"/>
                </a:ext>
              </a:extLst>
            </p:cNvPr>
            <p:cNvSpPr/>
            <p:nvPr/>
          </p:nvSpPr>
          <p:spPr>
            <a:xfrm>
              <a:off x="11147179" y="5919636"/>
              <a:ext cx="586217"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C00000"/>
                  </a:solidFill>
                  <a:highlight>
                    <a:srgbClr val="FFFFFF"/>
                  </a:highlight>
                </a:rPr>
                <a:t> 96%</a:t>
              </a:r>
            </a:p>
          </p:txBody>
        </p:sp>
        <p:cxnSp>
          <p:nvCxnSpPr>
            <p:cNvPr id="53" name="Straight Connector 52">
              <a:extLst>
                <a:ext uri="{FF2B5EF4-FFF2-40B4-BE49-F238E27FC236}">
                  <a16:creationId xmlns:a16="http://schemas.microsoft.com/office/drawing/2014/main" id="{04DAD0E8-9C26-CC3A-8488-3FD77E31720F}"/>
                </a:ext>
              </a:extLst>
            </p:cNvPr>
            <p:cNvCxnSpPr>
              <a:cxnSpLocks/>
            </p:cNvCxnSpPr>
            <p:nvPr/>
          </p:nvCxnSpPr>
          <p:spPr>
            <a:xfrm>
              <a:off x="10211579" y="5831809"/>
              <a:ext cx="1418892" cy="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96D467D6-CD5E-549A-5D99-8AC55BF43638}"/>
                </a:ext>
              </a:extLst>
            </p:cNvPr>
            <p:cNvCxnSpPr>
              <a:cxnSpLocks/>
            </p:cNvCxnSpPr>
            <p:nvPr/>
          </p:nvCxnSpPr>
          <p:spPr>
            <a:xfrm>
              <a:off x="11175903" y="5828634"/>
              <a:ext cx="0" cy="265113"/>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1D49474B-C555-2CDE-F974-B5264F1F7374}"/>
                </a:ext>
              </a:extLst>
            </p:cNvPr>
            <p:cNvCxnSpPr>
              <a:cxnSpLocks/>
            </p:cNvCxnSpPr>
            <p:nvPr/>
          </p:nvCxnSpPr>
          <p:spPr>
            <a:xfrm>
              <a:off x="10666148" y="5831809"/>
              <a:ext cx="0" cy="274638"/>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sp>
          <p:nvSpPr>
            <p:cNvPr id="56" name="Rectangle 55">
              <a:extLst>
                <a:ext uri="{FF2B5EF4-FFF2-40B4-BE49-F238E27FC236}">
                  <a16:creationId xmlns:a16="http://schemas.microsoft.com/office/drawing/2014/main" id="{193C37D6-5EC4-1412-3CB7-A8462D5A3FAF}"/>
                </a:ext>
              </a:extLst>
            </p:cNvPr>
            <p:cNvSpPr/>
            <p:nvPr/>
          </p:nvSpPr>
          <p:spPr>
            <a:xfrm>
              <a:off x="10509545" y="5518068"/>
              <a:ext cx="822960"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accent3">
                      <a:lumMod val="50000"/>
                    </a:schemeClr>
                  </a:solidFill>
                  <a:highlight>
                    <a:srgbClr val="FFFFFF"/>
                  </a:highlight>
                </a:rPr>
                <a:t>91%</a:t>
              </a:r>
            </a:p>
          </p:txBody>
        </p:sp>
        <p:sp>
          <p:nvSpPr>
            <p:cNvPr id="57" name="Rectangle 56">
              <a:extLst>
                <a:ext uri="{FF2B5EF4-FFF2-40B4-BE49-F238E27FC236}">
                  <a16:creationId xmlns:a16="http://schemas.microsoft.com/office/drawing/2014/main" id="{04882B68-81A3-4B77-9607-5F2DC56A1D5C}"/>
                </a:ext>
              </a:extLst>
            </p:cNvPr>
            <p:cNvSpPr/>
            <p:nvPr/>
          </p:nvSpPr>
          <p:spPr>
            <a:xfrm>
              <a:off x="10100487" y="5753740"/>
              <a:ext cx="586217" cy="349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highlight>
                    <a:srgbClr val="FFFFFF"/>
                  </a:highlight>
                </a:rPr>
                <a:t>NED</a:t>
              </a:r>
            </a:p>
          </p:txBody>
        </p:sp>
        <p:sp>
          <p:nvSpPr>
            <p:cNvPr id="58" name="Rectangle 57">
              <a:extLst>
                <a:ext uri="{FF2B5EF4-FFF2-40B4-BE49-F238E27FC236}">
                  <a16:creationId xmlns:a16="http://schemas.microsoft.com/office/drawing/2014/main" id="{C53EE88D-9C7E-D212-7948-3029D15AD791}"/>
                </a:ext>
              </a:extLst>
            </p:cNvPr>
            <p:cNvSpPr/>
            <p:nvPr/>
          </p:nvSpPr>
          <p:spPr>
            <a:xfrm>
              <a:off x="10627917" y="5758833"/>
              <a:ext cx="586217" cy="349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highlight>
                    <a:srgbClr val="FFFFFF"/>
                  </a:highlight>
                </a:rPr>
                <a:t>CEN</a:t>
              </a:r>
            </a:p>
          </p:txBody>
        </p:sp>
        <p:sp>
          <p:nvSpPr>
            <p:cNvPr id="59" name="Rectangle 58">
              <a:extLst>
                <a:ext uri="{FF2B5EF4-FFF2-40B4-BE49-F238E27FC236}">
                  <a16:creationId xmlns:a16="http://schemas.microsoft.com/office/drawing/2014/main" id="{D53040C4-1B7A-845D-F43C-C45B4F800747}"/>
                </a:ext>
              </a:extLst>
            </p:cNvPr>
            <p:cNvSpPr/>
            <p:nvPr/>
          </p:nvSpPr>
          <p:spPr>
            <a:xfrm>
              <a:off x="11097792" y="5753740"/>
              <a:ext cx="684991" cy="349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highlight>
                    <a:srgbClr val="FFFFFF"/>
                  </a:highlight>
                </a:rPr>
                <a:t>WEST</a:t>
              </a:r>
            </a:p>
          </p:txBody>
        </p:sp>
      </p:grpSp>
      <p:sp>
        <p:nvSpPr>
          <p:cNvPr id="60" name="Rectangle 59">
            <a:extLst>
              <a:ext uri="{FF2B5EF4-FFF2-40B4-BE49-F238E27FC236}">
                <a16:creationId xmlns:a16="http://schemas.microsoft.com/office/drawing/2014/main" id="{C68F772D-456A-5DCF-A3B1-CAA298A78A79}"/>
              </a:ext>
            </a:extLst>
          </p:cNvPr>
          <p:cNvSpPr/>
          <p:nvPr/>
        </p:nvSpPr>
        <p:spPr>
          <a:xfrm>
            <a:off x="9636373" y="5174457"/>
            <a:ext cx="2236788" cy="685800"/>
          </a:xfrm>
          <a:prstGeom prst="rect">
            <a:avLst/>
          </a:prstGeom>
          <a:solidFill>
            <a:schemeClr val="bg2"/>
          </a:solidFill>
          <a:ln w="9525">
            <a:solidFill>
              <a:schemeClr val="bg2">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050" b="1" dirty="0">
                <a:solidFill>
                  <a:schemeClr val="tx1"/>
                </a:solidFill>
              </a:rPr>
              <a:t>vs. PY</a:t>
            </a:r>
          </a:p>
          <a:p>
            <a:r>
              <a:rPr lang="en-US" sz="800" dirty="0">
                <a:solidFill>
                  <a:schemeClr val="tx1"/>
                </a:solidFill>
              </a:rPr>
              <a:t>May ’23</a:t>
            </a:r>
          </a:p>
        </p:txBody>
      </p:sp>
      <p:grpSp>
        <p:nvGrpSpPr>
          <p:cNvPr id="61" name="Group 60">
            <a:extLst>
              <a:ext uri="{FF2B5EF4-FFF2-40B4-BE49-F238E27FC236}">
                <a16:creationId xmlns:a16="http://schemas.microsoft.com/office/drawing/2014/main" id="{DCFD59EE-831C-6883-5405-ABFCD9318E99}"/>
              </a:ext>
            </a:extLst>
          </p:cNvPr>
          <p:cNvGrpSpPr/>
          <p:nvPr/>
        </p:nvGrpSpPr>
        <p:grpSpPr>
          <a:xfrm>
            <a:off x="10249153" y="5155408"/>
            <a:ext cx="1681163" cy="750888"/>
            <a:chOff x="10100487" y="5518068"/>
            <a:chExt cx="1682296" cy="750818"/>
          </a:xfrm>
        </p:grpSpPr>
        <p:sp>
          <p:nvSpPr>
            <p:cNvPr id="62" name="Rectangle 61">
              <a:extLst>
                <a:ext uri="{FF2B5EF4-FFF2-40B4-BE49-F238E27FC236}">
                  <a16:creationId xmlns:a16="http://schemas.microsoft.com/office/drawing/2014/main" id="{D18CAF51-9DCD-753A-BCC8-7464608AE02B}"/>
                </a:ext>
              </a:extLst>
            </p:cNvPr>
            <p:cNvSpPr/>
            <p:nvPr/>
          </p:nvSpPr>
          <p:spPr>
            <a:xfrm>
              <a:off x="10100487" y="5919636"/>
              <a:ext cx="586217"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C00000"/>
                  </a:solidFill>
                  <a:highlight>
                    <a:srgbClr val="FFFFFF"/>
                  </a:highlight>
                </a:rPr>
                <a:t>84%</a:t>
              </a:r>
            </a:p>
          </p:txBody>
        </p:sp>
        <p:sp>
          <p:nvSpPr>
            <p:cNvPr id="63" name="Rectangle 62">
              <a:extLst>
                <a:ext uri="{FF2B5EF4-FFF2-40B4-BE49-F238E27FC236}">
                  <a16:creationId xmlns:a16="http://schemas.microsoft.com/office/drawing/2014/main" id="{0A43BBD4-AA85-0BF9-171F-5749E462E207}"/>
                </a:ext>
              </a:extLst>
            </p:cNvPr>
            <p:cNvSpPr/>
            <p:nvPr/>
          </p:nvSpPr>
          <p:spPr>
            <a:xfrm>
              <a:off x="10627917" y="5919636"/>
              <a:ext cx="586217"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C00000"/>
                  </a:solidFill>
                  <a:highlight>
                    <a:srgbClr val="FFFFFF"/>
                  </a:highlight>
                </a:rPr>
                <a:t>75%</a:t>
              </a:r>
            </a:p>
          </p:txBody>
        </p:sp>
        <p:sp>
          <p:nvSpPr>
            <p:cNvPr id="448" name="Rectangle 447">
              <a:extLst>
                <a:ext uri="{FF2B5EF4-FFF2-40B4-BE49-F238E27FC236}">
                  <a16:creationId xmlns:a16="http://schemas.microsoft.com/office/drawing/2014/main" id="{FB071C57-89A9-6070-5C7C-1D051947560A}"/>
                </a:ext>
              </a:extLst>
            </p:cNvPr>
            <p:cNvSpPr/>
            <p:nvPr/>
          </p:nvSpPr>
          <p:spPr>
            <a:xfrm>
              <a:off x="11147179" y="5919636"/>
              <a:ext cx="586217"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C00000"/>
                  </a:solidFill>
                  <a:highlight>
                    <a:srgbClr val="FFFFFF"/>
                  </a:highlight>
                </a:rPr>
                <a:t> 78%</a:t>
              </a:r>
            </a:p>
          </p:txBody>
        </p:sp>
        <p:cxnSp>
          <p:nvCxnSpPr>
            <p:cNvPr id="449" name="Straight Connector 448">
              <a:extLst>
                <a:ext uri="{FF2B5EF4-FFF2-40B4-BE49-F238E27FC236}">
                  <a16:creationId xmlns:a16="http://schemas.microsoft.com/office/drawing/2014/main" id="{659FF798-9D74-03FA-AE1A-159D63C30755}"/>
                </a:ext>
              </a:extLst>
            </p:cNvPr>
            <p:cNvCxnSpPr>
              <a:cxnSpLocks/>
            </p:cNvCxnSpPr>
            <p:nvPr/>
          </p:nvCxnSpPr>
          <p:spPr>
            <a:xfrm>
              <a:off x="10211579" y="5831809"/>
              <a:ext cx="1418892" cy="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450" name="Straight Connector 449">
              <a:extLst>
                <a:ext uri="{FF2B5EF4-FFF2-40B4-BE49-F238E27FC236}">
                  <a16:creationId xmlns:a16="http://schemas.microsoft.com/office/drawing/2014/main" id="{69005774-421A-DFB2-3E81-C2358E7691D9}"/>
                </a:ext>
              </a:extLst>
            </p:cNvPr>
            <p:cNvCxnSpPr>
              <a:cxnSpLocks/>
            </p:cNvCxnSpPr>
            <p:nvPr/>
          </p:nvCxnSpPr>
          <p:spPr>
            <a:xfrm>
              <a:off x="11175903" y="5828634"/>
              <a:ext cx="0" cy="265113"/>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451" name="Straight Connector 450">
              <a:extLst>
                <a:ext uri="{FF2B5EF4-FFF2-40B4-BE49-F238E27FC236}">
                  <a16:creationId xmlns:a16="http://schemas.microsoft.com/office/drawing/2014/main" id="{6E2E1D0E-F3B2-D9F3-B7AC-D5DEE1CCB405}"/>
                </a:ext>
              </a:extLst>
            </p:cNvPr>
            <p:cNvCxnSpPr>
              <a:cxnSpLocks/>
            </p:cNvCxnSpPr>
            <p:nvPr/>
          </p:nvCxnSpPr>
          <p:spPr>
            <a:xfrm>
              <a:off x="10666148" y="5831809"/>
              <a:ext cx="0" cy="274638"/>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sp>
          <p:nvSpPr>
            <p:cNvPr id="452" name="Rectangle 451">
              <a:extLst>
                <a:ext uri="{FF2B5EF4-FFF2-40B4-BE49-F238E27FC236}">
                  <a16:creationId xmlns:a16="http://schemas.microsoft.com/office/drawing/2014/main" id="{E19F8F23-82FD-F015-DDA8-A64E9C20E3E9}"/>
                </a:ext>
              </a:extLst>
            </p:cNvPr>
            <p:cNvSpPr/>
            <p:nvPr/>
          </p:nvSpPr>
          <p:spPr>
            <a:xfrm>
              <a:off x="10509545" y="5518068"/>
              <a:ext cx="822960"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rgbClr val="C00000"/>
                  </a:solidFill>
                  <a:highlight>
                    <a:srgbClr val="FFFFFF"/>
                  </a:highlight>
                </a:rPr>
                <a:t>78%</a:t>
              </a:r>
            </a:p>
          </p:txBody>
        </p:sp>
        <p:sp>
          <p:nvSpPr>
            <p:cNvPr id="453" name="Rectangle 452">
              <a:extLst>
                <a:ext uri="{FF2B5EF4-FFF2-40B4-BE49-F238E27FC236}">
                  <a16:creationId xmlns:a16="http://schemas.microsoft.com/office/drawing/2014/main" id="{7B62BEF1-5F82-67A6-E2C3-04972BBB0B7D}"/>
                </a:ext>
              </a:extLst>
            </p:cNvPr>
            <p:cNvSpPr/>
            <p:nvPr/>
          </p:nvSpPr>
          <p:spPr>
            <a:xfrm>
              <a:off x="10100487" y="5753740"/>
              <a:ext cx="586217" cy="349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highlight>
                    <a:srgbClr val="FFFFFF"/>
                  </a:highlight>
                </a:rPr>
                <a:t>NED</a:t>
              </a:r>
            </a:p>
          </p:txBody>
        </p:sp>
        <p:sp>
          <p:nvSpPr>
            <p:cNvPr id="454" name="Rectangle 453">
              <a:extLst>
                <a:ext uri="{FF2B5EF4-FFF2-40B4-BE49-F238E27FC236}">
                  <a16:creationId xmlns:a16="http://schemas.microsoft.com/office/drawing/2014/main" id="{5AE06915-0F09-88EB-FE1D-41CEBBDAEB0C}"/>
                </a:ext>
              </a:extLst>
            </p:cNvPr>
            <p:cNvSpPr/>
            <p:nvPr/>
          </p:nvSpPr>
          <p:spPr>
            <a:xfrm>
              <a:off x="10627917" y="5758833"/>
              <a:ext cx="586217" cy="349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highlight>
                    <a:srgbClr val="FFFFFF"/>
                  </a:highlight>
                </a:rPr>
                <a:t>CEN</a:t>
              </a:r>
            </a:p>
          </p:txBody>
        </p:sp>
        <p:sp>
          <p:nvSpPr>
            <p:cNvPr id="455" name="Rectangle 454">
              <a:extLst>
                <a:ext uri="{FF2B5EF4-FFF2-40B4-BE49-F238E27FC236}">
                  <a16:creationId xmlns:a16="http://schemas.microsoft.com/office/drawing/2014/main" id="{8936480E-154D-C137-9784-0C9331727034}"/>
                </a:ext>
              </a:extLst>
            </p:cNvPr>
            <p:cNvSpPr/>
            <p:nvPr/>
          </p:nvSpPr>
          <p:spPr>
            <a:xfrm>
              <a:off x="11097792" y="5753740"/>
              <a:ext cx="684991" cy="349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highlight>
                    <a:srgbClr val="FFFFFF"/>
                  </a:highlight>
                </a:rPr>
                <a:t>WEST</a:t>
              </a:r>
            </a:p>
          </p:txBody>
        </p:sp>
      </p:grpSp>
    </p:spTree>
    <p:extLst>
      <p:ext uri="{BB962C8B-B14F-4D97-AF65-F5344CB8AC3E}">
        <p14:creationId xmlns:p14="http://schemas.microsoft.com/office/powerpoint/2010/main" val="4144150881"/>
      </p:ext>
    </p:extLst>
  </p:cSld>
  <p:clrMapOvr>
    <a:masterClrMapping/>
  </p:clrMapOvr>
  <p:transition spd="med"/>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37480E6-E559-4F76-AF62-08CFD224694D}"/>
              </a:ext>
            </a:extLst>
          </p:cNvPr>
          <p:cNvGraphicFramePr>
            <a:graphicFrameLocks noChangeAspect="1"/>
          </p:cNvGraphicFramePr>
          <p:nvPr>
            <p:custDataLst>
              <p:tags r:id="rId1"/>
            </p:custDataLst>
            <p:extLst>
              <p:ext uri="{D42A27DB-BD31-4B8C-83A1-F6EECF244321}">
                <p14:modId xmlns:p14="http://schemas.microsoft.com/office/powerpoint/2010/main" val="2341585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9" imgW="317" imgH="318" progId="TCLayout.ActiveDocument.1">
                  <p:embed/>
                </p:oleObj>
              </mc:Choice>
              <mc:Fallback>
                <p:oleObj name="think-cell Slide" r:id="rId69" imgW="317" imgH="318" progId="TCLayout.ActiveDocument.1">
                  <p:embed/>
                  <p:pic>
                    <p:nvPicPr>
                      <p:cNvPr id="6" name="think-cell data - do not delete" hidden="1">
                        <a:extLst>
                          <a:ext uri="{FF2B5EF4-FFF2-40B4-BE49-F238E27FC236}">
                            <a16:creationId xmlns:a16="http://schemas.microsoft.com/office/drawing/2014/main" id="{837480E6-E559-4F76-AF62-08CFD224694D}"/>
                          </a:ext>
                        </a:extLst>
                      </p:cNvPr>
                      <p:cNvPicPr/>
                      <p:nvPr/>
                    </p:nvPicPr>
                    <p:blipFill>
                      <a:blip r:embed="rId70"/>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52BC261-C02D-46AB-91BF-A8AB02AC8AAC}"/>
              </a:ext>
            </a:extLst>
          </p:cNvPr>
          <p:cNvSpPr>
            <a:spLocks noGrp="1"/>
          </p:cNvSpPr>
          <p:nvPr>
            <p:ph type="title"/>
          </p:nvPr>
        </p:nvSpPr>
        <p:spPr/>
        <p:txBody>
          <a:bodyPr vert="horz"/>
          <a:lstStyle/>
          <a:p>
            <a:r>
              <a:rPr lang="en-US" dirty="0"/>
              <a:t>SB Digital Sales by Sales Tactic</a:t>
            </a:r>
          </a:p>
        </p:txBody>
      </p:sp>
      <p:sp>
        <p:nvSpPr>
          <p:cNvPr id="24" name="Text Placeholder 15">
            <a:extLst>
              <a:ext uri="{FF2B5EF4-FFF2-40B4-BE49-F238E27FC236}">
                <a16:creationId xmlns:a16="http://schemas.microsoft.com/office/drawing/2014/main" id="{A481E29C-2049-0C02-7B0D-4361290FA014}"/>
              </a:ext>
            </a:extLst>
          </p:cNvPr>
          <p:cNvSpPr txBox="1">
            <a:spLocks/>
          </p:cNvSpPr>
          <p:nvPr/>
        </p:nvSpPr>
        <p:spPr>
          <a:xfrm>
            <a:off x="463548" y="935010"/>
            <a:ext cx="11271250" cy="622327"/>
          </a:xfrm>
          <a:prstGeom prst="rect">
            <a:avLst/>
          </a:prstGeom>
        </p:spPr>
        <p:txBody>
          <a:bodyPr lIns="0" tIns="0" rIns="0" bIns="0"/>
          <a:lstStyle>
            <a:lvl1pPr marL="0" indent="0" algn="l" rtl="0" eaLnBrk="1" fontAlgn="base" hangingPunct="1">
              <a:lnSpc>
                <a:spcPct val="95000"/>
              </a:lnSpc>
              <a:spcBef>
                <a:spcPts val="1000"/>
              </a:spcBef>
              <a:spcAft>
                <a:spcPct val="0"/>
              </a:spcAft>
              <a:buFont typeface="Arial" panose="020B0604020202020204" pitchFamily="34" charset="0"/>
              <a:buNone/>
              <a:defRPr sz="1800" b="0" i="0" kern="1200">
                <a:solidFill>
                  <a:schemeClr val="tx1"/>
                </a:solidFill>
                <a:latin typeface="Montserrat Light" pitchFamily="2" charset="77"/>
                <a:ea typeface="+mn-ea"/>
                <a:cs typeface="Montserrat Light" pitchFamily="2" charset="77"/>
              </a:defRPr>
            </a:lvl1pPr>
            <a:lvl2pPr marL="174625" indent="-174625" algn="l" rtl="0" eaLnBrk="1" fontAlgn="base" hangingPunct="1">
              <a:lnSpc>
                <a:spcPct val="90000"/>
              </a:lnSpc>
              <a:spcBef>
                <a:spcPts val="1200"/>
              </a:spcBef>
              <a:spcAft>
                <a:spcPct val="0"/>
              </a:spcAft>
              <a:buFont typeface="Arial" panose="020B0604020202020204" pitchFamily="34" charset="0"/>
              <a:buChar char="•"/>
              <a:tabLst/>
              <a:defRPr sz="1800" b="0" i="0" kern="1200">
                <a:solidFill>
                  <a:schemeClr val="tx1"/>
                </a:solidFill>
                <a:latin typeface="Montserrat Light" pitchFamily="2" charset="77"/>
                <a:ea typeface="+mn-ea"/>
                <a:cs typeface="Montserrat Light" pitchFamily="2" charset="77"/>
              </a:defRPr>
            </a:lvl2pPr>
            <a:lvl3pPr marL="560070" indent="-285750" algn="l" rtl="0" eaLnBrk="1" fontAlgn="base" hangingPunct="1">
              <a:lnSpc>
                <a:spcPct val="90000"/>
              </a:lnSpc>
              <a:spcBef>
                <a:spcPts val="1200"/>
              </a:spcBef>
              <a:spcAft>
                <a:spcPct val="0"/>
              </a:spcAft>
              <a:buFont typeface="Montserrat" panose="00000500000000000000" pitchFamily="2" charset="0"/>
              <a:buChar char="–"/>
              <a:defRPr sz="1800" b="0" i="0" kern="1200">
                <a:solidFill>
                  <a:schemeClr val="tx1"/>
                </a:solidFill>
                <a:latin typeface="Montserrat Light" pitchFamily="2" charset="77"/>
                <a:ea typeface="+mn-ea"/>
                <a:cs typeface="Montserrat Light" pitchFamily="2" charset="77"/>
              </a:defRPr>
            </a:lvl3pPr>
            <a:lvl4pPr marL="834390" indent="-285750" algn="l" rtl="0" eaLnBrk="1" fontAlgn="base" hangingPunct="1">
              <a:lnSpc>
                <a:spcPct val="90000"/>
              </a:lnSpc>
              <a:spcBef>
                <a:spcPts val="1200"/>
              </a:spcBef>
              <a:spcAft>
                <a:spcPct val="0"/>
              </a:spcAft>
              <a:buFont typeface="Courier New" panose="02070309020205020404" pitchFamily="49" charset="0"/>
              <a:buChar char="o"/>
              <a:defRPr sz="1600" b="0" i="0" kern="1200">
                <a:solidFill>
                  <a:schemeClr val="tx1"/>
                </a:solidFill>
                <a:latin typeface="Montserrat Light" pitchFamily="2" charset="77"/>
                <a:ea typeface="+mn-ea"/>
                <a:cs typeface="Montserrat Light" pitchFamily="2" charset="77"/>
              </a:defRPr>
            </a:lvl4pPr>
            <a:lvl5pPr marL="1108710" indent="-285750" algn="l" rtl="0" eaLnBrk="1" fontAlgn="base" hangingPunct="1">
              <a:lnSpc>
                <a:spcPct val="90000"/>
              </a:lnSpc>
              <a:spcBef>
                <a:spcPts val="500"/>
              </a:spcBef>
              <a:spcAft>
                <a:spcPct val="0"/>
              </a:spcAft>
              <a:buFont typeface="Arial" panose="020B0604020202020204" pitchFamily="34" charset="0"/>
              <a:defRPr lang="en-US" sz="1400" b="0" i="0" u="none" strike="noStrike" kern="1200" cap="none" spc="0" baseline="0" dirty="0">
                <a:solidFill>
                  <a:srgbClr val="000000"/>
                </a:solidFill>
                <a:uFillTx/>
                <a:latin typeface="Montserrat Light" pitchFamily="2" charset="77"/>
                <a:ea typeface="Montserrat" panose="00000500000000000000" pitchFamily="2" charset="0"/>
                <a:cs typeface="Montserrat Light" pitchFamily="2" charset="77"/>
                <a:sym typeface="Montserrat" panose="000005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dirty="0">
                <a:latin typeface="+mn-lt"/>
              </a:rPr>
              <a:t>Lorem ipsum dolor sit </a:t>
            </a:r>
            <a:r>
              <a:rPr lang="en-US" sz="1400" dirty="0" err="1">
                <a:latin typeface="+mn-lt"/>
              </a:rPr>
              <a:t>amet</a:t>
            </a:r>
            <a:r>
              <a:rPr lang="en-US" sz="1400" dirty="0">
                <a:latin typeface="+mn-lt"/>
              </a:rPr>
              <a:t>, </a:t>
            </a:r>
            <a:r>
              <a:rPr lang="en-US" sz="1400" dirty="0" err="1">
                <a:latin typeface="+mn-lt"/>
              </a:rPr>
              <a:t>consectetur</a:t>
            </a:r>
            <a:r>
              <a:rPr lang="en-US" sz="1400" dirty="0">
                <a:latin typeface="+mn-lt"/>
              </a:rPr>
              <a:t> </a:t>
            </a:r>
            <a:r>
              <a:rPr lang="en-US" sz="1400" dirty="0" err="1">
                <a:latin typeface="+mn-lt"/>
              </a:rPr>
              <a:t>adipiscing</a:t>
            </a:r>
            <a:r>
              <a:rPr lang="en-US" sz="1400" dirty="0">
                <a:latin typeface="+mn-lt"/>
              </a:rPr>
              <a:t> </a:t>
            </a:r>
            <a:r>
              <a:rPr lang="en-US" sz="1400" dirty="0" err="1">
                <a:latin typeface="+mn-lt"/>
              </a:rPr>
              <a:t>elit</a:t>
            </a:r>
            <a:r>
              <a:rPr lang="en-US" sz="1400" dirty="0">
                <a:latin typeface="+mn-lt"/>
              </a:rPr>
              <a:t>, sed do </a:t>
            </a:r>
            <a:r>
              <a:rPr lang="en-US" sz="1400" dirty="0" err="1">
                <a:latin typeface="+mn-lt"/>
              </a:rPr>
              <a:t>eiusmod</a:t>
            </a:r>
            <a:r>
              <a:rPr lang="en-US" sz="1400" dirty="0">
                <a:latin typeface="+mn-lt"/>
              </a:rPr>
              <a:t> </a:t>
            </a:r>
            <a:r>
              <a:rPr lang="en-US" sz="1400" dirty="0" err="1">
                <a:latin typeface="+mn-lt"/>
              </a:rPr>
              <a:t>tempor</a:t>
            </a:r>
            <a:r>
              <a:rPr lang="en-US" sz="1400" dirty="0">
                <a:latin typeface="+mn-lt"/>
              </a:rPr>
              <a:t> </a:t>
            </a:r>
            <a:r>
              <a:rPr lang="en-US" sz="1400" dirty="0" err="1">
                <a:latin typeface="+mn-lt"/>
              </a:rPr>
              <a:t>incididunt</a:t>
            </a:r>
            <a:r>
              <a:rPr lang="en-US" sz="1400" dirty="0">
                <a:latin typeface="+mn-lt"/>
              </a:rPr>
              <a:t> </a:t>
            </a:r>
            <a:r>
              <a:rPr lang="en-US" sz="1400" dirty="0" err="1">
                <a:latin typeface="+mn-lt"/>
              </a:rPr>
              <a:t>ut</a:t>
            </a:r>
            <a:r>
              <a:rPr lang="en-US" sz="1400" dirty="0">
                <a:latin typeface="+mn-lt"/>
              </a:rPr>
              <a:t> labore et dolore magna </a:t>
            </a:r>
            <a:r>
              <a:rPr lang="en-US" sz="1400" dirty="0" err="1">
                <a:latin typeface="+mn-lt"/>
              </a:rPr>
              <a:t>aliqua</a:t>
            </a:r>
            <a:r>
              <a:rPr lang="en-US" sz="1400" dirty="0">
                <a:latin typeface="+mn-lt"/>
              </a:rPr>
              <a:t>. Ut </a:t>
            </a:r>
            <a:r>
              <a:rPr lang="en-US" sz="1400" dirty="0" err="1">
                <a:latin typeface="+mn-lt"/>
              </a:rPr>
              <a:t>enim</a:t>
            </a:r>
            <a:r>
              <a:rPr lang="en-US" sz="1400" dirty="0">
                <a:latin typeface="+mn-lt"/>
              </a:rPr>
              <a:t> ad minim </a:t>
            </a:r>
            <a:r>
              <a:rPr lang="en-US" sz="1400" dirty="0" err="1">
                <a:latin typeface="+mn-lt"/>
              </a:rPr>
              <a:t>veniam</a:t>
            </a:r>
            <a:r>
              <a:rPr lang="en-US" sz="1400" dirty="0">
                <a:latin typeface="+mn-lt"/>
              </a:rPr>
              <a:t>, </a:t>
            </a:r>
            <a:r>
              <a:rPr lang="en-US" sz="1400" dirty="0" err="1">
                <a:latin typeface="+mn-lt"/>
              </a:rPr>
              <a:t>quis</a:t>
            </a:r>
            <a:r>
              <a:rPr lang="en-US" sz="1400" dirty="0">
                <a:latin typeface="+mn-lt"/>
              </a:rPr>
              <a:t> </a:t>
            </a:r>
            <a:r>
              <a:rPr lang="en-US" sz="1400" dirty="0" err="1">
                <a:latin typeface="+mn-lt"/>
              </a:rPr>
              <a:t>nostrud</a:t>
            </a:r>
            <a:r>
              <a:rPr lang="en-US" sz="1400" dirty="0">
                <a:latin typeface="+mn-lt"/>
              </a:rPr>
              <a:t> exercitation </a:t>
            </a:r>
            <a:r>
              <a:rPr lang="en-US" sz="1400" dirty="0" err="1">
                <a:latin typeface="+mn-lt"/>
              </a:rPr>
              <a:t>ullamco</a:t>
            </a:r>
            <a:r>
              <a:rPr lang="en-US" sz="1400" dirty="0">
                <a:latin typeface="+mn-lt"/>
              </a:rPr>
              <a:t> </a:t>
            </a:r>
            <a:r>
              <a:rPr lang="en-US" sz="1400" dirty="0" err="1">
                <a:latin typeface="+mn-lt"/>
              </a:rPr>
              <a:t>laboris</a:t>
            </a:r>
            <a:r>
              <a:rPr lang="en-US" sz="1400" dirty="0">
                <a:latin typeface="+mn-lt"/>
              </a:rPr>
              <a:t> nisi </a:t>
            </a:r>
            <a:r>
              <a:rPr lang="en-US" sz="1400" dirty="0" err="1">
                <a:latin typeface="+mn-lt"/>
              </a:rPr>
              <a:t>ut</a:t>
            </a:r>
            <a:r>
              <a:rPr lang="en-US" sz="1400" dirty="0">
                <a:latin typeface="+mn-lt"/>
              </a:rPr>
              <a:t> </a:t>
            </a:r>
            <a:r>
              <a:rPr lang="en-US" sz="1400" dirty="0" err="1">
                <a:latin typeface="+mn-lt"/>
              </a:rPr>
              <a:t>aliquip</a:t>
            </a:r>
            <a:r>
              <a:rPr lang="en-US" sz="1400" dirty="0">
                <a:latin typeface="+mn-lt"/>
              </a:rPr>
              <a:t> ex </a:t>
            </a:r>
            <a:r>
              <a:rPr lang="en-US" sz="1400" dirty="0" err="1">
                <a:latin typeface="+mn-lt"/>
              </a:rPr>
              <a:t>ea</a:t>
            </a:r>
            <a:r>
              <a:rPr lang="en-US" sz="1400" dirty="0">
                <a:latin typeface="+mn-lt"/>
              </a:rPr>
              <a:t> </a:t>
            </a:r>
            <a:r>
              <a:rPr lang="en-US" sz="1400" dirty="0" err="1">
                <a:latin typeface="+mn-lt"/>
              </a:rPr>
              <a:t>commodo</a:t>
            </a:r>
            <a:r>
              <a:rPr lang="en-US" sz="1400" dirty="0">
                <a:latin typeface="+mn-lt"/>
              </a:rPr>
              <a:t> </a:t>
            </a:r>
            <a:r>
              <a:rPr lang="en-US" sz="1400" dirty="0" err="1">
                <a:latin typeface="+mn-lt"/>
              </a:rPr>
              <a:t>consequat</a:t>
            </a:r>
            <a:r>
              <a:rPr lang="en-US" sz="1400" dirty="0">
                <a:latin typeface="+mn-lt"/>
              </a:rPr>
              <a:t>.</a:t>
            </a:r>
          </a:p>
        </p:txBody>
      </p:sp>
      <p:sp>
        <p:nvSpPr>
          <p:cNvPr id="29" name="TextBox 28">
            <a:extLst>
              <a:ext uri="{FF2B5EF4-FFF2-40B4-BE49-F238E27FC236}">
                <a16:creationId xmlns:a16="http://schemas.microsoft.com/office/drawing/2014/main" id="{4B437683-D6D4-3AD1-FE60-C2C5440FC990}"/>
              </a:ext>
            </a:extLst>
          </p:cNvPr>
          <p:cNvSpPr txBox="1"/>
          <p:nvPr/>
        </p:nvSpPr>
        <p:spPr>
          <a:xfrm>
            <a:off x="463549" y="6283325"/>
            <a:ext cx="2414590" cy="195261"/>
          </a:xfrm>
          <a:prstGeom prst="rect">
            <a:avLst/>
          </a:prstGeom>
          <a:noFill/>
        </p:spPr>
        <p:txBody>
          <a:bodyPr wrap="square" lIns="0" tIns="0" rIns="0" bIns="0" rtlCol="0">
            <a:noAutofit/>
          </a:bodyPr>
          <a:lstStyle/>
          <a:p>
            <a:pPr algn="l"/>
            <a:r>
              <a:rPr lang="en-US" sz="800"/>
              <a:t>Data Source: CBMA Weekly Leads Summary</a:t>
            </a:r>
          </a:p>
        </p:txBody>
      </p:sp>
      <p:sp>
        <p:nvSpPr>
          <p:cNvPr id="155" name="Text Placeholder 3">
            <a:extLst>
              <a:ext uri="{FF2B5EF4-FFF2-40B4-BE49-F238E27FC236}">
                <a16:creationId xmlns:a16="http://schemas.microsoft.com/office/drawing/2014/main" id="{D59CDDB9-6767-6AC3-EC95-277601F8BA8D}"/>
              </a:ext>
            </a:extLst>
          </p:cNvPr>
          <p:cNvSpPr txBox="1">
            <a:spLocks/>
          </p:cNvSpPr>
          <p:nvPr/>
        </p:nvSpPr>
        <p:spPr>
          <a:xfrm>
            <a:off x="463548" y="255612"/>
            <a:ext cx="11271251" cy="201168"/>
          </a:xfrm>
          <a:prstGeom prst="rect">
            <a:avLst/>
          </a:prstGeom>
        </p:spPr>
        <p:txBody>
          <a:bodyPr lIns="0" tIns="0" rIns="0" bIns="0" anchor="ctr"/>
          <a:lstStyle>
            <a:lvl1pPr marL="0" indent="0" algn="l" rtl="0" eaLnBrk="1" fontAlgn="base" hangingPunct="1">
              <a:lnSpc>
                <a:spcPct val="95000"/>
              </a:lnSpc>
              <a:spcBef>
                <a:spcPts val="1000"/>
              </a:spcBef>
              <a:spcAft>
                <a:spcPct val="0"/>
              </a:spcAft>
              <a:buFont typeface="Arial" panose="020B0604020202020204" pitchFamily="34" charset="0"/>
              <a:buNone/>
              <a:defRPr lang="en-US" sz="1000" b="0" i="0" kern="1200" cap="all" spc="200" baseline="0" dirty="0">
                <a:solidFill>
                  <a:schemeClr val="accent1"/>
                </a:solidFill>
                <a:latin typeface="Montserrat" panose="00000500000000000000" pitchFamily="2" charset="0"/>
                <a:ea typeface="Montserrat" panose="00000500000000000000" pitchFamily="2" charset="0"/>
                <a:cs typeface="Montserrat" panose="00000500000000000000" pitchFamily="2" charset="0"/>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B Site Performance</a:t>
            </a:r>
          </a:p>
        </p:txBody>
      </p:sp>
      <p:graphicFrame>
        <p:nvGraphicFramePr>
          <p:cNvPr id="449" name="Chart 448">
            <a:extLst>
              <a:ext uri="{FF2B5EF4-FFF2-40B4-BE49-F238E27FC236}">
                <a16:creationId xmlns:a16="http://schemas.microsoft.com/office/drawing/2014/main" id="{18557EDB-1F1A-A5D2-AAD5-C2BE7E121617}"/>
              </a:ext>
            </a:extLst>
          </p:cNvPr>
          <p:cNvGraphicFramePr/>
          <p:nvPr>
            <p:custDataLst>
              <p:tags r:id="rId2"/>
            </p:custDataLst>
            <p:extLst>
              <p:ext uri="{D42A27DB-BD31-4B8C-83A1-F6EECF244321}">
                <p14:modId xmlns:p14="http://schemas.microsoft.com/office/powerpoint/2010/main" val="1854328007"/>
              </p:ext>
            </p:extLst>
          </p:nvPr>
        </p:nvGraphicFramePr>
        <p:xfrm>
          <a:off x="1333500" y="2916238"/>
          <a:ext cx="8186738" cy="3336925"/>
        </p:xfrm>
        <a:graphic>
          <a:graphicData uri="http://schemas.openxmlformats.org/drawingml/2006/chart">
            <c:chart xmlns:c="http://schemas.openxmlformats.org/drawingml/2006/chart" xmlns:r="http://schemas.openxmlformats.org/officeDocument/2006/relationships" r:id="rId71"/>
          </a:graphicData>
        </a:graphic>
      </p:graphicFrame>
      <p:cxnSp>
        <p:nvCxnSpPr>
          <p:cNvPr id="150" name="Straight Connector 149">
            <a:extLst>
              <a:ext uri="{FF2B5EF4-FFF2-40B4-BE49-F238E27FC236}">
                <a16:creationId xmlns:a16="http://schemas.microsoft.com/office/drawing/2014/main" id="{F1D3CAA7-45E3-7727-815D-59E688EF396D}"/>
              </a:ext>
            </a:extLst>
          </p:cNvPr>
          <p:cNvCxnSpPr/>
          <p:nvPr>
            <p:custDataLst>
              <p:tags r:id="rId3"/>
            </p:custDataLst>
          </p:nvPr>
        </p:nvCxnSpPr>
        <p:spPr bwMode="auto">
          <a:xfrm flipV="1">
            <a:off x="6661150" y="3336925"/>
            <a:ext cx="0" cy="2381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0" name="Straight Connector 159">
            <a:extLst>
              <a:ext uri="{FF2B5EF4-FFF2-40B4-BE49-F238E27FC236}">
                <a16:creationId xmlns:a16="http://schemas.microsoft.com/office/drawing/2014/main" id="{69DE6181-4BAF-4F42-C58D-1DD215B6104D}"/>
              </a:ext>
            </a:extLst>
          </p:cNvPr>
          <p:cNvCxnSpPr>
            <a:cxnSpLocks/>
          </p:cNvCxnSpPr>
          <p:nvPr>
            <p:custDataLst>
              <p:tags r:id="rId4"/>
            </p:custDataLst>
          </p:nvPr>
        </p:nvCxnSpPr>
        <p:spPr bwMode="auto">
          <a:xfrm>
            <a:off x="6661150" y="3173413"/>
            <a:ext cx="0" cy="2381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74" name="Rectangle 573">
            <a:extLst>
              <a:ext uri="{FF2B5EF4-FFF2-40B4-BE49-F238E27FC236}">
                <a16:creationId xmlns:a16="http://schemas.microsoft.com/office/drawing/2014/main" id="{B6DCE86B-B5F8-E6B2-C261-24BF83537A98}"/>
              </a:ext>
            </a:extLst>
          </p:cNvPr>
          <p:cNvSpPr/>
          <p:nvPr>
            <p:custDataLst>
              <p:tags r:id="rId5"/>
            </p:custDataLst>
          </p:nvPr>
        </p:nvSpPr>
        <p:spPr bwMode="gray">
          <a:xfrm>
            <a:off x="1541463" y="3546475"/>
            <a:ext cx="365125"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algn="ctr">
              <a:lnSpc>
                <a:spcPct val="90000"/>
              </a:lnSpc>
              <a:spcBef>
                <a:spcPct val="0"/>
              </a:spcBef>
              <a:spcAft>
                <a:spcPct val="0"/>
              </a:spcAft>
            </a:pPr>
            <a:fld id="{5181A62B-7CFC-4924-B368-B07B6DBCF71B}" type="datetime'''''''''''2''''''''''''''1''.''''''''''8%'''">
              <a:rPr lang="en-US" altLang="en-US" sz="1000" smtClean="0">
                <a:solidFill>
                  <a:schemeClr val="tx1"/>
                </a:solidFill>
              </a:rPr>
              <a:pPr/>
              <a:t>21.8%</a:t>
            </a:fld>
            <a:endParaRPr lang="en-US" sz="1000">
              <a:solidFill>
                <a:schemeClr val="tx1"/>
              </a:solidFill>
            </a:endParaRPr>
          </a:p>
        </p:txBody>
      </p:sp>
      <p:sp>
        <p:nvSpPr>
          <p:cNvPr id="8" name="Text Placeholder 2">
            <a:extLst>
              <a:ext uri="{FF2B5EF4-FFF2-40B4-BE49-F238E27FC236}">
                <a16:creationId xmlns:a16="http://schemas.microsoft.com/office/drawing/2014/main" id="{058CE793-85DE-9D71-363F-2FFE80F2D299}"/>
              </a:ext>
            </a:extLst>
          </p:cNvPr>
          <p:cNvSpPr>
            <a:spLocks noGrp="1" noChangeArrowheads="1"/>
          </p:cNvSpPr>
          <p:nvPr>
            <p:custDataLst>
              <p:tags r:id="rId6"/>
            </p:custDataLst>
          </p:nvPr>
        </p:nvSpPr>
        <p:spPr bwMode="auto">
          <a:xfrm>
            <a:off x="1585913" y="6070600"/>
            <a:ext cx="276225"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AC047DF5-F791-44DB-A1FB-2790586098F7}" type="datetime'''''''''''M''''''''''''''ay'''''''''''''''''''''''''">
              <a:rPr lang="en-US" altLang="en-US" sz="1000" smtClean="0"/>
              <a:pPr/>
              <a:t>May</a:t>
            </a:fld>
            <a:endParaRPr lang="en-US" altLang="en-US" sz="1000"/>
          </a:p>
        </p:txBody>
      </p:sp>
      <p:sp>
        <p:nvSpPr>
          <p:cNvPr id="747" name="Rectangle 746">
            <a:extLst>
              <a:ext uri="{FF2B5EF4-FFF2-40B4-BE49-F238E27FC236}">
                <a16:creationId xmlns:a16="http://schemas.microsoft.com/office/drawing/2014/main" id="{FBE8E398-31CE-1597-C7DD-14C82682E42B}"/>
              </a:ext>
            </a:extLst>
          </p:cNvPr>
          <p:cNvSpPr/>
          <p:nvPr>
            <p:custDataLst>
              <p:tags r:id="rId7"/>
            </p:custDataLst>
          </p:nvPr>
        </p:nvSpPr>
        <p:spPr bwMode="gray">
          <a:xfrm>
            <a:off x="2151063" y="3030538"/>
            <a:ext cx="38100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6A9409CA-DEB5-4F38-B8D8-9C59361A6938}" type="datetime'2''''''''''5''''''''''''''.''''''''5''''''''''''''''''%'''''''">
              <a:rPr lang="en-US" altLang="en-US" sz="1000" smtClean="0">
                <a:solidFill>
                  <a:schemeClr val="tx1"/>
                </a:solidFill>
              </a:rPr>
              <a:pPr/>
              <a:t>25.5%</a:t>
            </a:fld>
            <a:endParaRPr lang="en-US" sz="1000" dirty="0">
              <a:solidFill>
                <a:schemeClr val="tx1"/>
              </a:solidFill>
            </a:endParaRPr>
          </a:p>
        </p:txBody>
      </p:sp>
      <p:sp>
        <p:nvSpPr>
          <p:cNvPr id="575" name="Rectangle 574">
            <a:extLst>
              <a:ext uri="{FF2B5EF4-FFF2-40B4-BE49-F238E27FC236}">
                <a16:creationId xmlns:a16="http://schemas.microsoft.com/office/drawing/2014/main" id="{DCC7CAFB-75AF-CB50-FF53-A3EF0EC461FF}"/>
              </a:ext>
            </a:extLst>
          </p:cNvPr>
          <p:cNvSpPr/>
          <p:nvPr>
            <p:custDataLst>
              <p:tags r:id="rId8"/>
            </p:custDataLst>
          </p:nvPr>
        </p:nvSpPr>
        <p:spPr bwMode="gray">
          <a:xfrm>
            <a:off x="2151063" y="3473450"/>
            <a:ext cx="38100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algn="ctr">
              <a:lnSpc>
                <a:spcPct val="90000"/>
              </a:lnSpc>
              <a:spcBef>
                <a:spcPct val="0"/>
              </a:spcBef>
              <a:spcAft>
                <a:spcPct val="0"/>
              </a:spcAft>
            </a:pPr>
            <a:fld id="{5DD77890-603A-45B4-9308-9EF870FAEA91}" type="datetime'''''''2''3''''.''''''''2''''''''''''%'''''''''''''''''''''''''">
              <a:rPr lang="en-US" altLang="en-US" sz="1000" smtClean="0">
                <a:solidFill>
                  <a:schemeClr val="tx1"/>
                </a:solidFill>
              </a:rPr>
              <a:pPr/>
              <a:t>23.2%</a:t>
            </a:fld>
            <a:endParaRPr lang="en-US" sz="1000">
              <a:solidFill>
                <a:schemeClr val="tx1"/>
              </a:solidFill>
            </a:endParaRPr>
          </a:p>
        </p:txBody>
      </p:sp>
      <p:sp>
        <p:nvSpPr>
          <p:cNvPr id="10" name="Text Placeholder 2">
            <a:extLst>
              <a:ext uri="{FF2B5EF4-FFF2-40B4-BE49-F238E27FC236}">
                <a16:creationId xmlns:a16="http://schemas.microsoft.com/office/drawing/2014/main" id="{0F42FA25-9F58-116F-E3F8-6D67BDAABD12}"/>
              </a:ext>
            </a:extLst>
          </p:cNvPr>
          <p:cNvSpPr>
            <a:spLocks noGrp="1" noChangeArrowheads="1"/>
          </p:cNvSpPr>
          <p:nvPr>
            <p:custDataLst>
              <p:tags r:id="rId9"/>
            </p:custDataLst>
          </p:nvPr>
        </p:nvSpPr>
        <p:spPr bwMode="auto">
          <a:xfrm>
            <a:off x="2217738" y="6070600"/>
            <a:ext cx="247650"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FF109E48-3D95-417B-8DBE-CF5D54940E7A}" type="datetime'''J''''''''''''u''''''''''''''''n'''''''''">
              <a:rPr lang="en-US" altLang="en-US" sz="1000" smtClean="0"/>
              <a:pPr/>
              <a:t>Jun</a:t>
            </a:fld>
            <a:endParaRPr lang="en-US" altLang="en-US" sz="1000"/>
          </a:p>
        </p:txBody>
      </p:sp>
      <p:sp>
        <p:nvSpPr>
          <p:cNvPr id="748" name="Rectangle 747">
            <a:extLst>
              <a:ext uri="{FF2B5EF4-FFF2-40B4-BE49-F238E27FC236}">
                <a16:creationId xmlns:a16="http://schemas.microsoft.com/office/drawing/2014/main" id="{0D0B5122-89B8-CD83-9414-0F52AA06537F}"/>
              </a:ext>
            </a:extLst>
          </p:cNvPr>
          <p:cNvSpPr/>
          <p:nvPr>
            <p:custDataLst>
              <p:tags r:id="rId10"/>
            </p:custDataLst>
          </p:nvPr>
        </p:nvSpPr>
        <p:spPr bwMode="gray">
          <a:xfrm>
            <a:off x="2757488" y="2979738"/>
            <a:ext cx="40005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6E5A1A45-FD34-47C5-B78F-A0D8A160C67B}" type="datetime'''''''''''''2''''''6''''''''.''''''''''''''''''''''4%'''''">
              <a:rPr lang="en-US" altLang="en-US" sz="1000" smtClean="0">
                <a:solidFill>
                  <a:schemeClr val="tx1"/>
                </a:solidFill>
              </a:rPr>
              <a:pPr/>
              <a:t>26.4%</a:t>
            </a:fld>
            <a:endParaRPr lang="en-US" sz="1000" dirty="0">
              <a:solidFill>
                <a:schemeClr val="tx1"/>
              </a:solidFill>
            </a:endParaRPr>
          </a:p>
        </p:txBody>
      </p:sp>
      <p:sp>
        <p:nvSpPr>
          <p:cNvPr id="128" name="Rectangle 127">
            <a:extLst>
              <a:ext uri="{FF2B5EF4-FFF2-40B4-BE49-F238E27FC236}">
                <a16:creationId xmlns:a16="http://schemas.microsoft.com/office/drawing/2014/main" id="{1D5561BD-47A0-1FEC-E96F-FF448A3BC906}"/>
              </a:ext>
            </a:extLst>
          </p:cNvPr>
          <p:cNvSpPr/>
          <p:nvPr>
            <p:custDataLst>
              <p:tags r:id="rId11"/>
            </p:custDataLst>
          </p:nvPr>
        </p:nvSpPr>
        <p:spPr bwMode="gray">
          <a:xfrm>
            <a:off x="2767013" y="3465513"/>
            <a:ext cx="38100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algn="ctr">
              <a:lnSpc>
                <a:spcPct val="90000"/>
              </a:lnSpc>
              <a:spcBef>
                <a:spcPct val="0"/>
              </a:spcBef>
              <a:spcAft>
                <a:spcPct val="0"/>
              </a:spcAft>
            </a:pPr>
            <a:fld id="{158536D8-962C-4631-BFB9-3C1381A96A9A}" type="datetime'23''''''''''''''''''''''''''.''''''''''3''''''''%'''''''''">
              <a:rPr lang="en-US" altLang="en-US" sz="1000" smtClean="0">
                <a:solidFill>
                  <a:schemeClr val="tx1"/>
                </a:solidFill>
              </a:rPr>
              <a:pPr/>
              <a:t>23.3%</a:t>
            </a:fld>
            <a:endParaRPr lang="en-US" sz="1000">
              <a:solidFill>
                <a:schemeClr val="tx1"/>
              </a:solidFill>
            </a:endParaRPr>
          </a:p>
        </p:txBody>
      </p:sp>
      <p:sp>
        <p:nvSpPr>
          <p:cNvPr id="14" name="Text Placeholder 2">
            <a:extLst>
              <a:ext uri="{FF2B5EF4-FFF2-40B4-BE49-F238E27FC236}">
                <a16:creationId xmlns:a16="http://schemas.microsoft.com/office/drawing/2014/main" id="{12CE97CB-9D22-9336-70CC-C98676B8504C}"/>
              </a:ext>
            </a:extLst>
          </p:cNvPr>
          <p:cNvSpPr>
            <a:spLocks noGrp="1" noChangeArrowheads="1"/>
          </p:cNvSpPr>
          <p:nvPr>
            <p:custDataLst>
              <p:tags r:id="rId12"/>
            </p:custDataLst>
          </p:nvPr>
        </p:nvSpPr>
        <p:spPr bwMode="auto">
          <a:xfrm>
            <a:off x="2859088" y="6070600"/>
            <a:ext cx="196850"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DC6B4DE2-0115-48F6-91A4-8E39BF07FBAC}" type="datetime'''''''''''''''''''J''''''''u''''''''''''l'''''">
              <a:rPr lang="en-US" altLang="en-US" sz="1000" smtClean="0"/>
              <a:pPr/>
              <a:t>Jul</a:t>
            </a:fld>
            <a:endParaRPr lang="en-US" altLang="en-US" sz="1000"/>
          </a:p>
        </p:txBody>
      </p:sp>
      <p:sp>
        <p:nvSpPr>
          <p:cNvPr id="749" name="Rectangle 748">
            <a:extLst>
              <a:ext uri="{FF2B5EF4-FFF2-40B4-BE49-F238E27FC236}">
                <a16:creationId xmlns:a16="http://schemas.microsoft.com/office/drawing/2014/main" id="{6F78B425-AC91-DDD0-0BBC-E743289B4F0A}"/>
              </a:ext>
            </a:extLst>
          </p:cNvPr>
          <p:cNvSpPr/>
          <p:nvPr>
            <p:custDataLst>
              <p:tags r:id="rId13"/>
            </p:custDataLst>
          </p:nvPr>
        </p:nvSpPr>
        <p:spPr bwMode="gray">
          <a:xfrm>
            <a:off x="3397250" y="3052763"/>
            <a:ext cx="35560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AB5CCDB8-839B-49F4-A777-1125ABE62581}" type="datetime'''''2''''''''''''''5''''''''''''.''''''''''''''''''''1%'''''''">
              <a:rPr lang="en-US" altLang="en-US" sz="1000" smtClean="0">
                <a:solidFill>
                  <a:schemeClr val="tx1"/>
                </a:solidFill>
              </a:rPr>
              <a:pPr/>
              <a:t>25.1%</a:t>
            </a:fld>
            <a:endParaRPr lang="en-US" sz="1000" dirty="0">
              <a:solidFill>
                <a:schemeClr val="tx1"/>
              </a:solidFill>
            </a:endParaRPr>
          </a:p>
        </p:txBody>
      </p:sp>
      <p:sp>
        <p:nvSpPr>
          <p:cNvPr id="129" name="Rectangle 128">
            <a:extLst>
              <a:ext uri="{FF2B5EF4-FFF2-40B4-BE49-F238E27FC236}">
                <a16:creationId xmlns:a16="http://schemas.microsoft.com/office/drawing/2014/main" id="{0B5F92B1-3BFE-5742-D47B-538DF09066CD}"/>
              </a:ext>
            </a:extLst>
          </p:cNvPr>
          <p:cNvSpPr/>
          <p:nvPr>
            <p:custDataLst>
              <p:tags r:id="rId14"/>
            </p:custDataLst>
          </p:nvPr>
        </p:nvSpPr>
        <p:spPr bwMode="gray">
          <a:xfrm>
            <a:off x="3371850" y="3427413"/>
            <a:ext cx="40640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algn="ctr">
              <a:lnSpc>
                <a:spcPct val="90000"/>
              </a:lnSpc>
              <a:spcBef>
                <a:spcPct val="0"/>
              </a:spcBef>
              <a:spcAft>
                <a:spcPct val="0"/>
              </a:spcAft>
            </a:pPr>
            <a:fld id="{E35C674B-E9BF-43F5-A6F5-01751F9420AE}" type="datetime'2''4.''''''''''''0''''''''''''''''''''''''''''%'''''">
              <a:rPr lang="en-US" altLang="en-US" sz="1000" smtClean="0">
                <a:solidFill>
                  <a:schemeClr val="tx1"/>
                </a:solidFill>
              </a:rPr>
              <a:pPr/>
              <a:t>24.0%</a:t>
            </a:fld>
            <a:endParaRPr lang="en-US" sz="1000">
              <a:solidFill>
                <a:schemeClr val="tx1"/>
              </a:solidFill>
            </a:endParaRPr>
          </a:p>
        </p:txBody>
      </p:sp>
      <p:sp>
        <p:nvSpPr>
          <p:cNvPr id="16" name="Text Placeholder 2">
            <a:extLst>
              <a:ext uri="{FF2B5EF4-FFF2-40B4-BE49-F238E27FC236}">
                <a16:creationId xmlns:a16="http://schemas.microsoft.com/office/drawing/2014/main" id="{63227D4D-0934-DF67-58AD-0B1D1E0E55EB}"/>
              </a:ext>
            </a:extLst>
          </p:cNvPr>
          <p:cNvSpPr>
            <a:spLocks noGrp="1" noChangeArrowheads="1"/>
          </p:cNvSpPr>
          <p:nvPr>
            <p:custDataLst>
              <p:tags r:id="rId15"/>
            </p:custDataLst>
          </p:nvPr>
        </p:nvSpPr>
        <p:spPr bwMode="auto">
          <a:xfrm>
            <a:off x="3436938" y="6070600"/>
            <a:ext cx="276225"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A28A8ACE-E2F9-47CF-A83B-94D680C15D02}" type="datetime'''''''''''''A''''''''''''''''''''''u''''''''g'">
              <a:rPr lang="en-US" altLang="en-US" sz="1000" smtClean="0"/>
              <a:pPr/>
              <a:t>Aug</a:t>
            </a:fld>
            <a:endParaRPr lang="en-US" altLang="en-US" sz="1000"/>
          </a:p>
        </p:txBody>
      </p:sp>
      <p:sp>
        <p:nvSpPr>
          <p:cNvPr id="750" name="Rectangle 749">
            <a:extLst>
              <a:ext uri="{FF2B5EF4-FFF2-40B4-BE49-F238E27FC236}">
                <a16:creationId xmlns:a16="http://schemas.microsoft.com/office/drawing/2014/main" id="{C41BE53C-4BC7-5CE1-26A1-3248B25DA537}"/>
              </a:ext>
            </a:extLst>
          </p:cNvPr>
          <p:cNvSpPr/>
          <p:nvPr>
            <p:custDataLst>
              <p:tags r:id="rId16"/>
            </p:custDataLst>
          </p:nvPr>
        </p:nvSpPr>
        <p:spPr bwMode="gray">
          <a:xfrm>
            <a:off x="3995738" y="2973388"/>
            <a:ext cx="39370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163023BA-0994-4C1A-A12E-C93324652FFD}" type="datetime'''''2''''6''''''''''''''''''''.''''''''6%'''''''''''">
              <a:rPr lang="en-US" altLang="en-US" sz="1000" smtClean="0">
                <a:solidFill>
                  <a:schemeClr val="tx1"/>
                </a:solidFill>
              </a:rPr>
              <a:pPr/>
              <a:t>26.6%</a:t>
            </a:fld>
            <a:endParaRPr lang="en-US" sz="1000" dirty="0">
              <a:solidFill>
                <a:schemeClr val="tx1"/>
              </a:solidFill>
            </a:endParaRPr>
          </a:p>
        </p:txBody>
      </p:sp>
      <p:sp>
        <p:nvSpPr>
          <p:cNvPr id="130" name="Rectangle 129">
            <a:extLst>
              <a:ext uri="{FF2B5EF4-FFF2-40B4-BE49-F238E27FC236}">
                <a16:creationId xmlns:a16="http://schemas.microsoft.com/office/drawing/2014/main" id="{791F412B-B930-F263-BDD8-3E1666FB91F7}"/>
              </a:ext>
            </a:extLst>
          </p:cNvPr>
          <p:cNvSpPr/>
          <p:nvPr>
            <p:custDataLst>
              <p:tags r:id="rId17"/>
            </p:custDataLst>
          </p:nvPr>
        </p:nvSpPr>
        <p:spPr bwMode="gray">
          <a:xfrm>
            <a:off x="3992563" y="3379788"/>
            <a:ext cx="40005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algn="ctr">
              <a:lnSpc>
                <a:spcPct val="90000"/>
              </a:lnSpc>
              <a:spcBef>
                <a:spcPct val="0"/>
              </a:spcBef>
              <a:spcAft>
                <a:spcPct val="0"/>
              </a:spcAft>
            </a:pPr>
            <a:fld id="{D11DDB6F-C0C7-4EBA-8483-4A0B067F23B6}" type="datetime'''''''''''''''''''''''''''''2''''''4''''''''''''.''9''%'''''''">
              <a:rPr lang="en-US" altLang="en-US" sz="1000" smtClean="0">
                <a:solidFill>
                  <a:schemeClr val="tx1"/>
                </a:solidFill>
              </a:rPr>
              <a:pPr/>
              <a:t>24.9%</a:t>
            </a:fld>
            <a:endParaRPr lang="en-US" sz="1000">
              <a:solidFill>
                <a:schemeClr val="tx1"/>
              </a:solidFill>
            </a:endParaRPr>
          </a:p>
        </p:txBody>
      </p:sp>
      <p:sp>
        <p:nvSpPr>
          <p:cNvPr id="17" name="Text Placeholder 2">
            <a:extLst>
              <a:ext uri="{FF2B5EF4-FFF2-40B4-BE49-F238E27FC236}">
                <a16:creationId xmlns:a16="http://schemas.microsoft.com/office/drawing/2014/main" id="{12BA1291-0E0B-000A-1E44-3E9974794623}"/>
              </a:ext>
            </a:extLst>
          </p:cNvPr>
          <p:cNvSpPr>
            <a:spLocks noGrp="1" noChangeArrowheads="1"/>
          </p:cNvSpPr>
          <p:nvPr>
            <p:custDataLst>
              <p:tags r:id="rId18"/>
            </p:custDataLst>
          </p:nvPr>
        </p:nvSpPr>
        <p:spPr bwMode="auto">
          <a:xfrm>
            <a:off x="4067175" y="6070600"/>
            <a:ext cx="252413"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816CE3FA-DFF3-495C-81B9-488F4AA2265A}" type="datetime'''S''''''''''e''''''''''''''''''''''''''p'''''''''''''">
              <a:rPr lang="en-US" altLang="en-US" sz="1000" smtClean="0"/>
              <a:pPr/>
              <a:t>Sep</a:t>
            </a:fld>
            <a:endParaRPr lang="en-US" altLang="en-US" sz="1000"/>
          </a:p>
        </p:txBody>
      </p:sp>
      <p:sp>
        <p:nvSpPr>
          <p:cNvPr id="751" name="Rectangle 750">
            <a:extLst>
              <a:ext uri="{FF2B5EF4-FFF2-40B4-BE49-F238E27FC236}">
                <a16:creationId xmlns:a16="http://schemas.microsoft.com/office/drawing/2014/main" id="{097FCB1B-9140-FD44-549B-64174B6F2DCC}"/>
              </a:ext>
            </a:extLst>
          </p:cNvPr>
          <p:cNvSpPr/>
          <p:nvPr>
            <p:custDataLst>
              <p:tags r:id="rId19"/>
            </p:custDataLst>
          </p:nvPr>
        </p:nvSpPr>
        <p:spPr bwMode="gray">
          <a:xfrm>
            <a:off x="4614863" y="3009900"/>
            <a:ext cx="38735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BE8D33A9-C80D-42B8-9CAF-ED5C5F6C00C0}" type="datetime'2''5''.''''''''''''''9''''''''''''''''%'">
              <a:rPr lang="en-US" altLang="en-US" sz="1000" smtClean="0">
                <a:solidFill>
                  <a:schemeClr val="tx1"/>
                </a:solidFill>
              </a:rPr>
              <a:pPr/>
              <a:t>25.9%</a:t>
            </a:fld>
            <a:endParaRPr lang="en-US" sz="1000" dirty="0">
              <a:solidFill>
                <a:schemeClr val="tx1"/>
              </a:solidFill>
            </a:endParaRPr>
          </a:p>
        </p:txBody>
      </p:sp>
      <p:sp>
        <p:nvSpPr>
          <p:cNvPr id="131" name="Rectangle 130">
            <a:extLst>
              <a:ext uri="{FF2B5EF4-FFF2-40B4-BE49-F238E27FC236}">
                <a16:creationId xmlns:a16="http://schemas.microsoft.com/office/drawing/2014/main" id="{11A02EE1-5CCD-3161-C5B9-5EA17B20D5FE}"/>
              </a:ext>
            </a:extLst>
          </p:cNvPr>
          <p:cNvSpPr/>
          <p:nvPr>
            <p:custDataLst>
              <p:tags r:id="rId20"/>
            </p:custDataLst>
          </p:nvPr>
        </p:nvSpPr>
        <p:spPr bwMode="gray">
          <a:xfrm>
            <a:off x="4605338" y="3425825"/>
            <a:ext cx="40640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9DB1C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algn="ctr">
              <a:lnSpc>
                <a:spcPct val="90000"/>
              </a:lnSpc>
              <a:spcBef>
                <a:spcPct val="0"/>
              </a:spcBef>
              <a:spcAft>
                <a:spcPct val="0"/>
              </a:spcAft>
            </a:pPr>
            <a:fld id="{487F0D70-963A-46AA-B424-CD27D13674C2}" type="datetime'''''24''''''.''''''''''''''''''''''''''''0''''''''%'''''''''''">
              <a:rPr lang="en-US" altLang="en-US" sz="1000" smtClean="0">
                <a:solidFill>
                  <a:schemeClr val="tx1"/>
                </a:solidFill>
              </a:rPr>
              <a:pPr/>
              <a:t>24.0%</a:t>
            </a:fld>
            <a:endParaRPr lang="en-US" sz="1000">
              <a:solidFill>
                <a:schemeClr val="tx1"/>
              </a:solidFill>
            </a:endParaRPr>
          </a:p>
        </p:txBody>
      </p:sp>
      <p:sp>
        <p:nvSpPr>
          <p:cNvPr id="19" name="Text Placeholder 2">
            <a:extLst>
              <a:ext uri="{FF2B5EF4-FFF2-40B4-BE49-F238E27FC236}">
                <a16:creationId xmlns:a16="http://schemas.microsoft.com/office/drawing/2014/main" id="{4D7A8A3F-5A85-BC29-D85A-D61168AEB85B}"/>
              </a:ext>
            </a:extLst>
          </p:cNvPr>
          <p:cNvSpPr>
            <a:spLocks noGrp="1" noChangeArrowheads="1"/>
          </p:cNvSpPr>
          <p:nvPr>
            <p:custDataLst>
              <p:tags r:id="rId21"/>
            </p:custDataLst>
          </p:nvPr>
        </p:nvSpPr>
        <p:spPr bwMode="auto">
          <a:xfrm>
            <a:off x="4687888" y="6070600"/>
            <a:ext cx="241300"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FF3842FE-FE98-4E85-AC41-B970F80AA523}" type="datetime'''''''O''c''''''''''''t'''''''''''''''''''''''''''''''">
              <a:rPr lang="en-US" altLang="en-US" sz="1000" smtClean="0"/>
              <a:pPr/>
              <a:t>Oct</a:t>
            </a:fld>
            <a:endParaRPr lang="en-US" altLang="en-US" sz="1000"/>
          </a:p>
        </p:txBody>
      </p:sp>
      <p:sp>
        <p:nvSpPr>
          <p:cNvPr id="752" name="Rectangle 751">
            <a:extLst>
              <a:ext uri="{FF2B5EF4-FFF2-40B4-BE49-F238E27FC236}">
                <a16:creationId xmlns:a16="http://schemas.microsoft.com/office/drawing/2014/main" id="{9973EC7C-48D8-F38A-124D-65289B910279}"/>
              </a:ext>
            </a:extLst>
          </p:cNvPr>
          <p:cNvSpPr/>
          <p:nvPr>
            <p:custDataLst>
              <p:tags r:id="rId22"/>
            </p:custDataLst>
          </p:nvPr>
        </p:nvSpPr>
        <p:spPr bwMode="gray">
          <a:xfrm>
            <a:off x="5226050" y="2979738"/>
            <a:ext cx="40005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C92675EC-6AE1-49C5-BD40-8956E12E92E8}" type="datetime'''''''''''''2''6''''''''''''''''''''''''''''''''''''''.4%'">
              <a:rPr lang="en-US" altLang="en-US" sz="1000" smtClean="0">
                <a:solidFill>
                  <a:schemeClr val="tx1"/>
                </a:solidFill>
              </a:rPr>
              <a:pPr/>
              <a:t>26.4%</a:t>
            </a:fld>
            <a:endParaRPr lang="en-US" sz="1000" dirty="0">
              <a:solidFill>
                <a:schemeClr val="tx1"/>
              </a:solidFill>
            </a:endParaRPr>
          </a:p>
        </p:txBody>
      </p:sp>
      <p:sp>
        <p:nvSpPr>
          <p:cNvPr id="132" name="Rectangle 131">
            <a:extLst>
              <a:ext uri="{FF2B5EF4-FFF2-40B4-BE49-F238E27FC236}">
                <a16:creationId xmlns:a16="http://schemas.microsoft.com/office/drawing/2014/main" id="{4C0F4F4E-5BCE-3030-A515-C43EEEE0A01D}"/>
              </a:ext>
            </a:extLst>
          </p:cNvPr>
          <p:cNvSpPr/>
          <p:nvPr>
            <p:custDataLst>
              <p:tags r:id="rId23"/>
            </p:custDataLst>
          </p:nvPr>
        </p:nvSpPr>
        <p:spPr bwMode="gray">
          <a:xfrm>
            <a:off x="5227638" y="3392488"/>
            <a:ext cx="396875"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algn="ctr">
              <a:lnSpc>
                <a:spcPct val="90000"/>
              </a:lnSpc>
              <a:spcBef>
                <a:spcPct val="0"/>
              </a:spcBef>
              <a:spcAft>
                <a:spcPct val="0"/>
              </a:spcAft>
            </a:pPr>
            <a:fld id="{FEE69195-8842-4922-8F25-4CC475B6A199}" type="datetime'''''''2''''''''''''''''''''''''''4''''.''''''''''7%'''''''''''">
              <a:rPr lang="en-US" altLang="en-US" sz="1000" smtClean="0">
                <a:solidFill>
                  <a:schemeClr val="tx1"/>
                </a:solidFill>
              </a:rPr>
              <a:pPr/>
              <a:t>24.7%</a:t>
            </a:fld>
            <a:endParaRPr lang="en-US" sz="1000">
              <a:solidFill>
                <a:schemeClr val="tx1"/>
              </a:solidFill>
            </a:endParaRPr>
          </a:p>
        </p:txBody>
      </p:sp>
      <p:sp>
        <p:nvSpPr>
          <p:cNvPr id="21" name="Text Placeholder 2">
            <a:extLst>
              <a:ext uri="{FF2B5EF4-FFF2-40B4-BE49-F238E27FC236}">
                <a16:creationId xmlns:a16="http://schemas.microsoft.com/office/drawing/2014/main" id="{94DEC1C6-763A-DE84-1245-D2247728D2A4}"/>
              </a:ext>
            </a:extLst>
          </p:cNvPr>
          <p:cNvSpPr>
            <a:spLocks noGrp="1" noChangeArrowheads="1"/>
          </p:cNvSpPr>
          <p:nvPr>
            <p:custDataLst>
              <p:tags r:id="rId24"/>
            </p:custDataLst>
          </p:nvPr>
        </p:nvSpPr>
        <p:spPr bwMode="auto">
          <a:xfrm>
            <a:off x="5294313" y="6070600"/>
            <a:ext cx="263525"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F93F4C68-1E3B-43EA-AF3E-426322AC10C2}" type="datetime'''''''''''''''''''''''''''''N''o''''''''''''''''''''''v'''''">
              <a:rPr lang="en-US" altLang="en-US" sz="1000" smtClean="0"/>
              <a:pPr/>
              <a:t>Nov</a:t>
            </a:fld>
            <a:endParaRPr lang="en-US" altLang="en-US" sz="1000"/>
          </a:p>
        </p:txBody>
      </p:sp>
      <p:sp>
        <p:nvSpPr>
          <p:cNvPr id="133" name="Rectangle 132">
            <a:extLst>
              <a:ext uri="{FF2B5EF4-FFF2-40B4-BE49-F238E27FC236}">
                <a16:creationId xmlns:a16="http://schemas.microsoft.com/office/drawing/2014/main" id="{791C3EAC-6E96-C0D8-B5C5-90481BCD2F60}"/>
              </a:ext>
            </a:extLst>
          </p:cNvPr>
          <p:cNvSpPr/>
          <p:nvPr>
            <p:custDataLst>
              <p:tags r:id="rId25"/>
            </p:custDataLst>
          </p:nvPr>
        </p:nvSpPr>
        <p:spPr bwMode="gray">
          <a:xfrm>
            <a:off x="5848350" y="3440113"/>
            <a:ext cx="390525"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algn="ctr">
              <a:lnSpc>
                <a:spcPct val="90000"/>
              </a:lnSpc>
              <a:spcBef>
                <a:spcPct val="0"/>
              </a:spcBef>
              <a:spcAft>
                <a:spcPct val="0"/>
              </a:spcAft>
            </a:pPr>
            <a:fld id="{36068CC1-C3D6-4A9E-B838-7F86CEEF627C}" type="datetime'''''''''''''2''''''3''''''''''''.''''''''''''''''''''8%'''''''">
              <a:rPr lang="en-US" altLang="en-US" sz="1000" smtClean="0">
                <a:solidFill>
                  <a:schemeClr val="tx1"/>
                </a:solidFill>
              </a:rPr>
              <a:pPr/>
              <a:t>23.8%</a:t>
            </a:fld>
            <a:endParaRPr lang="en-US" sz="1000" dirty="0">
              <a:solidFill>
                <a:schemeClr val="tx1"/>
              </a:solidFill>
            </a:endParaRPr>
          </a:p>
        </p:txBody>
      </p:sp>
      <p:sp>
        <p:nvSpPr>
          <p:cNvPr id="22" name="Text Placeholder 2">
            <a:extLst>
              <a:ext uri="{FF2B5EF4-FFF2-40B4-BE49-F238E27FC236}">
                <a16:creationId xmlns:a16="http://schemas.microsoft.com/office/drawing/2014/main" id="{4DBE66D3-E827-524E-B00B-B8207C9BE3A5}"/>
              </a:ext>
            </a:extLst>
          </p:cNvPr>
          <p:cNvSpPr>
            <a:spLocks noGrp="1" noChangeArrowheads="1"/>
          </p:cNvSpPr>
          <p:nvPr>
            <p:custDataLst>
              <p:tags r:id="rId26"/>
            </p:custDataLst>
          </p:nvPr>
        </p:nvSpPr>
        <p:spPr bwMode="auto">
          <a:xfrm>
            <a:off x="5911850" y="6070600"/>
            <a:ext cx="265113"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0011173C-E512-4B01-A936-22EECE9B17E4}" type="datetime'''''''''''''''''''''''D''''''''''''''e''''''''''''''''''''''c'">
              <a:rPr lang="en-US" altLang="en-US" sz="1000" smtClean="0"/>
              <a:pPr/>
              <a:t>Dec</a:t>
            </a:fld>
            <a:endParaRPr lang="en-US" altLang="en-US" sz="1000"/>
          </a:p>
        </p:txBody>
      </p:sp>
      <p:sp>
        <p:nvSpPr>
          <p:cNvPr id="754" name="Rectangle 753">
            <a:extLst>
              <a:ext uri="{FF2B5EF4-FFF2-40B4-BE49-F238E27FC236}">
                <a16:creationId xmlns:a16="http://schemas.microsoft.com/office/drawing/2014/main" id="{955C5C36-235C-BBA1-8355-FE0A4DB59224}"/>
              </a:ext>
            </a:extLst>
          </p:cNvPr>
          <p:cNvSpPr/>
          <p:nvPr>
            <p:custDataLst>
              <p:tags r:id="rId27"/>
            </p:custDataLst>
          </p:nvPr>
        </p:nvSpPr>
        <p:spPr bwMode="gray">
          <a:xfrm>
            <a:off x="6470650" y="3360738"/>
            <a:ext cx="38100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algn="ctr">
              <a:lnSpc>
                <a:spcPct val="90000"/>
              </a:lnSpc>
              <a:spcBef>
                <a:spcPct val="0"/>
              </a:spcBef>
              <a:spcAft>
                <a:spcPct val="0"/>
              </a:spcAft>
            </a:pPr>
            <a:fld id="{3E0D207A-0F99-4525-915D-15E3FDD5C8D9}" type="datetime'''''''25.''2''''''''''''''''''''''''''%'''''''''''''''">
              <a:rPr lang="en-US" altLang="en-US" sz="1000" smtClean="0">
                <a:solidFill>
                  <a:schemeClr val="tx1"/>
                </a:solidFill>
              </a:rPr>
              <a:pPr/>
              <a:t>25.2%</a:t>
            </a:fld>
            <a:endParaRPr lang="en-US" sz="1000">
              <a:solidFill>
                <a:schemeClr val="tx1"/>
              </a:solidFill>
            </a:endParaRPr>
          </a:p>
        </p:txBody>
      </p:sp>
      <p:sp>
        <p:nvSpPr>
          <p:cNvPr id="134" name="Rectangle 133">
            <a:extLst>
              <a:ext uri="{FF2B5EF4-FFF2-40B4-BE49-F238E27FC236}">
                <a16:creationId xmlns:a16="http://schemas.microsoft.com/office/drawing/2014/main" id="{9F02ADC7-D244-9BA6-4FD9-C16FF5E304E6}"/>
              </a:ext>
            </a:extLst>
          </p:cNvPr>
          <p:cNvSpPr/>
          <p:nvPr>
            <p:custDataLst>
              <p:tags r:id="rId28"/>
            </p:custDataLst>
          </p:nvPr>
        </p:nvSpPr>
        <p:spPr bwMode="gray">
          <a:xfrm>
            <a:off x="6464300" y="3036888"/>
            <a:ext cx="39370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74889AA4-9400-44B0-A4C1-64CEEA999AB1}" type="datetime'''''''''2''''''''''''''''''''''''''''''''''''''5.''''4''%'">
              <a:rPr lang="en-US" altLang="en-US" sz="1000" smtClean="0">
                <a:solidFill>
                  <a:schemeClr val="tx1"/>
                </a:solidFill>
              </a:rPr>
              <a:pPr/>
              <a:t>25.4%</a:t>
            </a:fld>
            <a:endParaRPr lang="en-US" sz="1000" dirty="0">
              <a:solidFill>
                <a:schemeClr val="tx1"/>
              </a:solidFill>
            </a:endParaRPr>
          </a:p>
        </p:txBody>
      </p:sp>
      <p:sp>
        <p:nvSpPr>
          <p:cNvPr id="753" name="Rectangle 752">
            <a:extLst>
              <a:ext uri="{FF2B5EF4-FFF2-40B4-BE49-F238E27FC236}">
                <a16:creationId xmlns:a16="http://schemas.microsoft.com/office/drawing/2014/main" id="{C98FE19A-F0EB-8616-D332-7209F9D89778}"/>
              </a:ext>
            </a:extLst>
          </p:cNvPr>
          <p:cNvSpPr/>
          <p:nvPr>
            <p:custDataLst>
              <p:tags r:id="rId29"/>
            </p:custDataLst>
          </p:nvPr>
        </p:nvSpPr>
        <p:spPr bwMode="gray">
          <a:xfrm>
            <a:off x="5846763" y="3057525"/>
            <a:ext cx="39370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9AA695C7-B309-4E0A-AE38-5B41DA1D7B5C}" type="datetime'''2''''5''.''''''''''''''''''''''''''''''''0''''''%'''''''">
              <a:rPr lang="en-US" altLang="en-US" sz="1000" smtClean="0">
                <a:solidFill>
                  <a:schemeClr val="tx1"/>
                </a:solidFill>
              </a:rPr>
              <a:pPr/>
              <a:t>25.0%</a:t>
            </a:fld>
            <a:endParaRPr lang="en-US" sz="1000" dirty="0">
              <a:solidFill>
                <a:schemeClr val="tx1"/>
              </a:solidFill>
            </a:endParaRPr>
          </a:p>
        </p:txBody>
      </p:sp>
      <p:sp>
        <p:nvSpPr>
          <p:cNvPr id="23" name="Text Placeholder 2">
            <a:extLst>
              <a:ext uri="{FF2B5EF4-FFF2-40B4-BE49-F238E27FC236}">
                <a16:creationId xmlns:a16="http://schemas.microsoft.com/office/drawing/2014/main" id="{896113D0-BAEF-CA52-4963-60DB6F26A468}"/>
              </a:ext>
            </a:extLst>
          </p:cNvPr>
          <p:cNvSpPr>
            <a:spLocks noGrp="1" noChangeArrowheads="1"/>
          </p:cNvSpPr>
          <p:nvPr>
            <p:custDataLst>
              <p:tags r:id="rId30"/>
            </p:custDataLst>
          </p:nvPr>
        </p:nvSpPr>
        <p:spPr bwMode="auto">
          <a:xfrm>
            <a:off x="6451600" y="6070600"/>
            <a:ext cx="419100"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70241F4E-3213-43C6-B719-3A4F0E450835}" type="datetime'''Jan''''''’''''2''''''''''4'''''">
              <a:rPr lang="en-US" altLang="en-US" sz="1000" smtClean="0"/>
              <a:pPr/>
              <a:t>Jan’24</a:t>
            </a:fld>
            <a:endParaRPr lang="en-US" altLang="en-US" sz="1000"/>
          </a:p>
        </p:txBody>
      </p:sp>
      <p:sp>
        <p:nvSpPr>
          <p:cNvPr id="755" name="Rectangle 754">
            <a:extLst>
              <a:ext uri="{FF2B5EF4-FFF2-40B4-BE49-F238E27FC236}">
                <a16:creationId xmlns:a16="http://schemas.microsoft.com/office/drawing/2014/main" id="{342E6E1A-ED87-4D0C-CA93-FE8D03DDA0B9}"/>
              </a:ext>
            </a:extLst>
          </p:cNvPr>
          <p:cNvSpPr/>
          <p:nvPr>
            <p:custDataLst>
              <p:tags r:id="rId31"/>
            </p:custDataLst>
          </p:nvPr>
        </p:nvSpPr>
        <p:spPr bwMode="gray">
          <a:xfrm>
            <a:off x="7085013" y="2936875"/>
            <a:ext cx="384175"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001FD95F-F335-485B-8242-F4EAAF386F20}" type="datetime'''''''''''''2''7''''.''''''''''''''''''''''''''''''''2%'''''''">
              <a:rPr lang="en-US" altLang="en-US" sz="1000" smtClean="0">
                <a:solidFill>
                  <a:schemeClr val="tx1"/>
                </a:solidFill>
              </a:rPr>
              <a:pPr/>
              <a:t>27.2%</a:t>
            </a:fld>
            <a:endParaRPr lang="en-US" sz="1000" dirty="0">
              <a:solidFill>
                <a:schemeClr val="tx1"/>
              </a:solidFill>
            </a:endParaRPr>
          </a:p>
        </p:txBody>
      </p:sp>
      <p:sp>
        <p:nvSpPr>
          <p:cNvPr id="135" name="Rectangle 134">
            <a:extLst>
              <a:ext uri="{FF2B5EF4-FFF2-40B4-BE49-F238E27FC236}">
                <a16:creationId xmlns:a16="http://schemas.microsoft.com/office/drawing/2014/main" id="{FAEFEBC9-8B6D-4615-A443-34478265FEA2}"/>
              </a:ext>
            </a:extLst>
          </p:cNvPr>
          <p:cNvSpPr/>
          <p:nvPr>
            <p:custDataLst>
              <p:tags r:id="rId32"/>
            </p:custDataLst>
          </p:nvPr>
        </p:nvSpPr>
        <p:spPr bwMode="gray">
          <a:xfrm>
            <a:off x="7086600" y="3471863"/>
            <a:ext cx="38100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algn="ctr">
              <a:lnSpc>
                <a:spcPct val="90000"/>
              </a:lnSpc>
              <a:spcBef>
                <a:spcPct val="0"/>
              </a:spcBef>
              <a:spcAft>
                <a:spcPct val="0"/>
              </a:spcAft>
            </a:pPr>
            <a:fld id="{4586F26D-DC5A-4909-BD7C-D48DED6D5FAB}" type="datetime'''''2''''''''''''''''''3''''''.''''''''''''''''''''''''2''%'">
              <a:rPr lang="en-US" altLang="en-US" sz="1000" smtClean="0">
                <a:solidFill>
                  <a:schemeClr val="tx1"/>
                </a:solidFill>
              </a:rPr>
              <a:pPr/>
              <a:t>23.2%</a:t>
            </a:fld>
            <a:endParaRPr lang="en-US" sz="1000" dirty="0">
              <a:solidFill>
                <a:schemeClr val="tx1"/>
              </a:solidFill>
            </a:endParaRPr>
          </a:p>
        </p:txBody>
      </p:sp>
      <p:sp>
        <p:nvSpPr>
          <p:cNvPr id="25" name="Text Placeholder 2">
            <a:extLst>
              <a:ext uri="{FF2B5EF4-FFF2-40B4-BE49-F238E27FC236}">
                <a16:creationId xmlns:a16="http://schemas.microsoft.com/office/drawing/2014/main" id="{D8C6862E-4AD4-14BF-0CE3-225777556ACC}"/>
              </a:ext>
            </a:extLst>
          </p:cNvPr>
          <p:cNvSpPr>
            <a:spLocks noGrp="1" noChangeArrowheads="1"/>
          </p:cNvSpPr>
          <p:nvPr>
            <p:custDataLst>
              <p:tags r:id="rId33"/>
            </p:custDataLst>
          </p:nvPr>
        </p:nvSpPr>
        <p:spPr bwMode="auto">
          <a:xfrm>
            <a:off x="7150100" y="6070600"/>
            <a:ext cx="255588"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D3A2CD30-108E-4D79-8665-6809FBD18E05}" type="datetime'''''''F''''''e''''''''''''''''''''''''''''''''''b'''">
              <a:rPr lang="en-US" altLang="en-US" sz="1000" smtClean="0"/>
              <a:pPr/>
              <a:t>Feb</a:t>
            </a:fld>
            <a:endParaRPr lang="en-US" altLang="en-US" sz="1000"/>
          </a:p>
        </p:txBody>
      </p:sp>
      <p:sp>
        <p:nvSpPr>
          <p:cNvPr id="756" name="Rectangle 755">
            <a:extLst>
              <a:ext uri="{FF2B5EF4-FFF2-40B4-BE49-F238E27FC236}">
                <a16:creationId xmlns:a16="http://schemas.microsoft.com/office/drawing/2014/main" id="{B356A6E5-3F4F-B70B-E7E7-B7536599A187}"/>
              </a:ext>
            </a:extLst>
          </p:cNvPr>
          <p:cNvSpPr/>
          <p:nvPr>
            <p:custDataLst>
              <p:tags r:id="rId34"/>
            </p:custDataLst>
          </p:nvPr>
        </p:nvSpPr>
        <p:spPr bwMode="gray">
          <a:xfrm>
            <a:off x="7697788" y="2954338"/>
            <a:ext cx="39370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0EBD86B8-BA0B-4273-A9AC-0BEDFC140F10}" type="datetime'''2''''''''6''''.''''''9''''''''''''''''''%'''''''''''''''">
              <a:rPr lang="en-US" altLang="en-US" sz="1000" smtClean="0">
                <a:solidFill>
                  <a:schemeClr val="tx1"/>
                </a:solidFill>
              </a:rPr>
              <a:pPr/>
              <a:t>26.9%</a:t>
            </a:fld>
            <a:endParaRPr lang="en-US" sz="1000" dirty="0">
              <a:solidFill>
                <a:schemeClr val="tx1"/>
              </a:solidFill>
            </a:endParaRPr>
          </a:p>
        </p:txBody>
      </p:sp>
      <p:sp>
        <p:nvSpPr>
          <p:cNvPr id="136" name="Rectangle 135">
            <a:extLst>
              <a:ext uri="{FF2B5EF4-FFF2-40B4-BE49-F238E27FC236}">
                <a16:creationId xmlns:a16="http://schemas.microsoft.com/office/drawing/2014/main" id="{38A35749-C0AC-6547-FBF0-F8CB56A6F5C2}"/>
              </a:ext>
            </a:extLst>
          </p:cNvPr>
          <p:cNvSpPr/>
          <p:nvPr>
            <p:custDataLst>
              <p:tags r:id="rId35"/>
            </p:custDataLst>
          </p:nvPr>
        </p:nvSpPr>
        <p:spPr bwMode="gray">
          <a:xfrm>
            <a:off x="7704138" y="3465513"/>
            <a:ext cx="38100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algn="ctr">
              <a:lnSpc>
                <a:spcPct val="90000"/>
              </a:lnSpc>
              <a:spcBef>
                <a:spcPct val="0"/>
              </a:spcBef>
              <a:spcAft>
                <a:spcPct val="0"/>
              </a:spcAft>
            </a:pPr>
            <a:fld id="{570DFED1-4AEF-4124-B628-BF37C74C7C3A}" type="datetime'2''''''3''''''''''''''.''''''''''''''''''''''''''3''''%'''">
              <a:rPr lang="en-US" altLang="en-US" sz="1000" smtClean="0">
                <a:solidFill>
                  <a:schemeClr val="tx1"/>
                </a:solidFill>
              </a:rPr>
              <a:pPr/>
              <a:t>23.3%</a:t>
            </a:fld>
            <a:endParaRPr lang="en-US" sz="1000">
              <a:solidFill>
                <a:schemeClr val="tx1"/>
              </a:solidFill>
            </a:endParaRPr>
          </a:p>
        </p:txBody>
      </p:sp>
      <p:sp>
        <p:nvSpPr>
          <p:cNvPr id="26" name="Text Placeholder 2">
            <a:extLst>
              <a:ext uri="{FF2B5EF4-FFF2-40B4-BE49-F238E27FC236}">
                <a16:creationId xmlns:a16="http://schemas.microsoft.com/office/drawing/2014/main" id="{C3B7EA80-C08D-EF5A-A9F8-0EB7CCB09140}"/>
              </a:ext>
            </a:extLst>
          </p:cNvPr>
          <p:cNvSpPr>
            <a:spLocks noGrp="1" noChangeArrowheads="1"/>
          </p:cNvSpPr>
          <p:nvPr>
            <p:custDataLst>
              <p:tags r:id="rId36"/>
            </p:custDataLst>
          </p:nvPr>
        </p:nvSpPr>
        <p:spPr bwMode="auto">
          <a:xfrm>
            <a:off x="7766050" y="6070600"/>
            <a:ext cx="258763"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ED347495-90C6-4D37-BDDD-B82D2C74E07C}" type="datetime'''''''''''''''''''''''''''''M''''''''''''ar'''">
              <a:rPr lang="en-US" altLang="en-US" sz="1000" smtClean="0"/>
              <a:pPr/>
              <a:t>Mar</a:t>
            </a:fld>
            <a:endParaRPr lang="en-US" altLang="en-US" sz="1000"/>
          </a:p>
        </p:txBody>
      </p:sp>
      <p:sp>
        <p:nvSpPr>
          <p:cNvPr id="757" name="Rectangle 756">
            <a:extLst>
              <a:ext uri="{FF2B5EF4-FFF2-40B4-BE49-F238E27FC236}">
                <a16:creationId xmlns:a16="http://schemas.microsoft.com/office/drawing/2014/main" id="{693DB589-3F42-414C-65CD-C1A5196F2BCC}"/>
              </a:ext>
            </a:extLst>
          </p:cNvPr>
          <p:cNvSpPr/>
          <p:nvPr>
            <p:custDataLst>
              <p:tags r:id="rId37"/>
            </p:custDataLst>
          </p:nvPr>
        </p:nvSpPr>
        <p:spPr bwMode="gray">
          <a:xfrm>
            <a:off x="8321675" y="3040063"/>
            <a:ext cx="38100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EACEE05B-8673-4514-AA91-9B578E62EECD}" type="datetime'''''''''''''''''2''''''''''''''''''5''''''''.3%'''">
              <a:rPr lang="en-US" altLang="en-US" sz="1000" smtClean="0">
                <a:solidFill>
                  <a:schemeClr val="tx1"/>
                </a:solidFill>
              </a:rPr>
              <a:pPr/>
              <a:t>25.3%</a:t>
            </a:fld>
            <a:endParaRPr lang="en-US" sz="1000" dirty="0">
              <a:solidFill>
                <a:schemeClr val="tx1"/>
              </a:solidFill>
            </a:endParaRPr>
          </a:p>
        </p:txBody>
      </p:sp>
      <p:sp>
        <p:nvSpPr>
          <p:cNvPr id="137" name="Rectangle 136">
            <a:extLst>
              <a:ext uri="{FF2B5EF4-FFF2-40B4-BE49-F238E27FC236}">
                <a16:creationId xmlns:a16="http://schemas.microsoft.com/office/drawing/2014/main" id="{F13211DF-2C72-067F-FDB1-403E9BD0AA95}"/>
              </a:ext>
            </a:extLst>
          </p:cNvPr>
          <p:cNvSpPr/>
          <p:nvPr>
            <p:custDataLst>
              <p:tags r:id="rId38"/>
            </p:custDataLst>
          </p:nvPr>
        </p:nvSpPr>
        <p:spPr bwMode="gray">
          <a:xfrm>
            <a:off x="8315325" y="3462338"/>
            <a:ext cx="39370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algn="ctr">
              <a:lnSpc>
                <a:spcPct val="90000"/>
              </a:lnSpc>
              <a:spcBef>
                <a:spcPct val="0"/>
              </a:spcBef>
              <a:spcAft>
                <a:spcPct val="0"/>
              </a:spcAft>
            </a:pPr>
            <a:fld id="{AEC2901C-A059-46E6-BC70-8A8B69E3C030}" type="datetime'''''''''2''''3''''''''''''''''.''4''''''''''%'''''''''''''''">
              <a:rPr lang="en-US" altLang="en-US" sz="1000" smtClean="0">
                <a:solidFill>
                  <a:schemeClr val="tx1"/>
                </a:solidFill>
              </a:rPr>
              <a:pPr/>
              <a:t>23.4%</a:t>
            </a:fld>
            <a:endParaRPr lang="en-US" sz="1000">
              <a:solidFill>
                <a:schemeClr val="tx1"/>
              </a:solidFill>
            </a:endParaRPr>
          </a:p>
        </p:txBody>
      </p:sp>
      <p:sp>
        <p:nvSpPr>
          <p:cNvPr id="27" name="Text Placeholder 2">
            <a:extLst>
              <a:ext uri="{FF2B5EF4-FFF2-40B4-BE49-F238E27FC236}">
                <a16:creationId xmlns:a16="http://schemas.microsoft.com/office/drawing/2014/main" id="{BEB19021-9A20-F225-001B-E69D83E02B6B}"/>
              </a:ext>
            </a:extLst>
          </p:cNvPr>
          <p:cNvSpPr>
            <a:spLocks noGrp="1" noChangeArrowheads="1"/>
          </p:cNvSpPr>
          <p:nvPr>
            <p:custDataLst>
              <p:tags r:id="rId39"/>
            </p:custDataLst>
          </p:nvPr>
        </p:nvSpPr>
        <p:spPr bwMode="auto">
          <a:xfrm>
            <a:off x="8301038" y="6070600"/>
            <a:ext cx="422275"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C6DF5624-526C-4E0A-ACAB-AB3E0357E67F}" type="datetime'''''''''A''''''''''''''''pr''''''''’2''''''''''4'''">
              <a:rPr lang="en-US" altLang="en-US" sz="1000" smtClean="0"/>
              <a:pPr/>
              <a:t>Apr’24</a:t>
            </a:fld>
            <a:endParaRPr lang="en-US" altLang="en-US" sz="1000"/>
          </a:p>
        </p:txBody>
      </p:sp>
      <p:sp>
        <p:nvSpPr>
          <p:cNvPr id="499" name="Rectangle 498">
            <a:extLst>
              <a:ext uri="{FF2B5EF4-FFF2-40B4-BE49-F238E27FC236}">
                <a16:creationId xmlns:a16="http://schemas.microsoft.com/office/drawing/2014/main" id="{654E54C3-2A90-0EFC-171B-A172E9D9CDAE}"/>
              </a:ext>
            </a:extLst>
          </p:cNvPr>
          <p:cNvSpPr/>
          <p:nvPr>
            <p:custDataLst>
              <p:tags r:id="rId40"/>
            </p:custDataLst>
          </p:nvPr>
        </p:nvSpPr>
        <p:spPr bwMode="gray">
          <a:xfrm>
            <a:off x="8932863" y="2916238"/>
            <a:ext cx="390525"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303B0A24-544F-4C56-8A1B-5ACA06625042}" type="datetime'''''''''''''2''7''''''''''''.6''''''''''''''''''''''''%'''''">
              <a:rPr lang="en-US" altLang="en-US" sz="1000" smtClean="0">
                <a:solidFill>
                  <a:schemeClr val="tx1"/>
                </a:solidFill>
              </a:rPr>
              <a:pPr/>
              <a:t>27.6%</a:t>
            </a:fld>
            <a:endParaRPr lang="en-US" sz="1000" dirty="0">
              <a:solidFill>
                <a:schemeClr val="tx1"/>
              </a:solidFill>
            </a:endParaRPr>
          </a:p>
        </p:txBody>
      </p:sp>
      <p:sp>
        <p:nvSpPr>
          <p:cNvPr id="502" name="Rectangle 501">
            <a:extLst>
              <a:ext uri="{FF2B5EF4-FFF2-40B4-BE49-F238E27FC236}">
                <a16:creationId xmlns:a16="http://schemas.microsoft.com/office/drawing/2014/main" id="{C9852078-F374-5236-DD9D-5CE467EA1F05}"/>
              </a:ext>
            </a:extLst>
          </p:cNvPr>
          <p:cNvSpPr/>
          <p:nvPr>
            <p:custDataLst>
              <p:tags r:id="rId41"/>
            </p:custDataLst>
          </p:nvPr>
        </p:nvSpPr>
        <p:spPr bwMode="gray">
          <a:xfrm>
            <a:off x="8937625" y="3527425"/>
            <a:ext cx="38100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algn="ctr">
              <a:lnSpc>
                <a:spcPct val="90000"/>
              </a:lnSpc>
              <a:spcBef>
                <a:spcPct val="0"/>
              </a:spcBef>
              <a:spcAft>
                <a:spcPct val="0"/>
              </a:spcAft>
            </a:pPr>
            <a:fld id="{A54B8982-ADFE-49B1-AE4C-DDAD7EB51F4D}" type="datetime'''''''''''2''2''''''''''''''''''''''''.''2''''''''%'''''''''''">
              <a:rPr lang="en-US" altLang="en-US" sz="1000" smtClean="0">
                <a:solidFill>
                  <a:schemeClr val="tx1"/>
                </a:solidFill>
              </a:rPr>
              <a:pPr/>
              <a:t>22.2%</a:t>
            </a:fld>
            <a:endParaRPr lang="en-US" sz="1000">
              <a:solidFill>
                <a:schemeClr val="tx1"/>
              </a:solidFill>
            </a:endParaRPr>
          </a:p>
        </p:txBody>
      </p:sp>
      <p:sp>
        <p:nvSpPr>
          <p:cNvPr id="59" name="Text Placeholder 2">
            <a:extLst>
              <a:ext uri="{FF2B5EF4-FFF2-40B4-BE49-F238E27FC236}">
                <a16:creationId xmlns:a16="http://schemas.microsoft.com/office/drawing/2014/main" id="{6DBEC091-71AA-94B3-F10B-60E54B9D6A14}"/>
              </a:ext>
            </a:extLst>
          </p:cNvPr>
          <p:cNvSpPr>
            <a:spLocks noGrp="1" noChangeArrowheads="1"/>
          </p:cNvSpPr>
          <p:nvPr>
            <p:custDataLst>
              <p:tags r:id="rId42"/>
            </p:custDataLst>
          </p:nvPr>
        </p:nvSpPr>
        <p:spPr bwMode="auto">
          <a:xfrm>
            <a:off x="8899524" y="6070600"/>
            <a:ext cx="458788"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A006FB1D-555A-49DF-BDF1-02CDB052AEA0}" type="datetime'''''M''a''y''’''''''''''''''''''''''''''''''24'">
              <a:rPr lang="en-US" altLang="en-US" sz="1000" smtClean="0"/>
              <a:pPr/>
              <a:t>May’24</a:t>
            </a:fld>
            <a:endParaRPr lang="en-US" altLang="en-US" sz="1000"/>
          </a:p>
        </p:txBody>
      </p:sp>
      <p:sp>
        <p:nvSpPr>
          <p:cNvPr id="30" name="Rectangle 29">
            <a:extLst>
              <a:ext uri="{FF2B5EF4-FFF2-40B4-BE49-F238E27FC236}">
                <a16:creationId xmlns:a16="http://schemas.microsoft.com/office/drawing/2014/main" id="{842C98D1-A9CC-7AFB-0932-8DF198D4998D}"/>
              </a:ext>
            </a:extLst>
          </p:cNvPr>
          <p:cNvSpPr/>
          <p:nvPr>
            <p:custDataLst>
              <p:tags r:id="rId43"/>
            </p:custDataLst>
          </p:nvPr>
        </p:nvSpPr>
        <p:spPr bwMode="gray">
          <a:xfrm>
            <a:off x="1595438" y="3949700"/>
            <a:ext cx="25876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A1CC7ECB-07EF-406D-8516-07DB9789586C}" type="datetime'''''''''''''''33''''''''''''''''''''2'''''''''''''''''''''">
              <a:rPr lang="en-US" altLang="en-US" sz="1000" b="1" smtClean="0">
                <a:solidFill>
                  <a:schemeClr val="tx1"/>
                </a:solidFill>
              </a:rPr>
              <a:pPr/>
              <a:t>332</a:t>
            </a:fld>
            <a:endParaRPr lang="en-US" sz="1000" b="1">
              <a:solidFill>
                <a:schemeClr val="tx1"/>
              </a:solidFill>
            </a:endParaRPr>
          </a:p>
        </p:txBody>
      </p:sp>
      <p:sp>
        <p:nvSpPr>
          <p:cNvPr id="746" name="Rectangle 745">
            <a:extLst>
              <a:ext uri="{FF2B5EF4-FFF2-40B4-BE49-F238E27FC236}">
                <a16:creationId xmlns:a16="http://schemas.microsoft.com/office/drawing/2014/main" id="{790C3763-7070-1B8C-80CC-D2C5FBD015EA}"/>
              </a:ext>
            </a:extLst>
          </p:cNvPr>
          <p:cNvSpPr/>
          <p:nvPr>
            <p:custDataLst>
              <p:tags r:id="rId44"/>
            </p:custDataLst>
          </p:nvPr>
        </p:nvSpPr>
        <p:spPr bwMode="gray">
          <a:xfrm>
            <a:off x="1525588" y="3076575"/>
            <a:ext cx="396875"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3C5B1FD8-4B4B-4EAB-B896-13FFE0044858}" type="datetime'''''''''''''''2''4.''''''''''''''7''''''''''''''%'''''''''">
              <a:rPr lang="en-US" altLang="en-US" sz="1000" smtClean="0">
                <a:solidFill>
                  <a:schemeClr val="tx1"/>
                </a:solidFill>
              </a:rPr>
              <a:pPr/>
              <a:t>24.7%</a:t>
            </a:fld>
            <a:endParaRPr lang="en-US" sz="1000" dirty="0">
              <a:solidFill>
                <a:schemeClr val="tx1"/>
              </a:solidFill>
            </a:endParaRPr>
          </a:p>
        </p:txBody>
      </p:sp>
      <p:sp>
        <p:nvSpPr>
          <p:cNvPr id="32" name="Rectangle 31">
            <a:extLst>
              <a:ext uri="{FF2B5EF4-FFF2-40B4-BE49-F238E27FC236}">
                <a16:creationId xmlns:a16="http://schemas.microsoft.com/office/drawing/2014/main" id="{84F8A69E-CDE7-D37D-ABC5-11771F19E9C0}"/>
              </a:ext>
            </a:extLst>
          </p:cNvPr>
          <p:cNvSpPr/>
          <p:nvPr>
            <p:custDataLst>
              <p:tags r:id="rId45"/>
            </p:custDataLst>
          </p:nvPr>
        </p:nvSpPr>
        <p:spPr bwMode="gray">
          <a:xfrm>
            <a:off x="2825751" y="3925888"/>
            <a:ext cx="26511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4B4E51FB-E928-4379-B161-841B13F58C96}" type="datetime'''33''''''''''''6'''''''''''''''''''''''''''">
              <a:rPr lang="en-US" altLang="en-US" sz="1000" b="1" smtClean="0">
                <a:solidFill>
                  <a:schemeClr val="tx1"/>
                </a:solidFill>
              </a:rPr>
              <a:pPr/>
              <a:t>336</a:t>
            </a:fld>
            <a:endParaRPr lang="en-US" sz="1000" b="1" dirty="0">
              <a:solidFill>
                <a:schemeClr val="tx1"/>
              </a:solidFill>
            </a:endParaRPr>
          </a:p>
        </p:txBody>
      </p:sp>
      <p:sp>
        <p:nvSpPr>
          <p:cNvPr id="33" name="Rectangle 32">
            <a:extLst>
              <a:ext uri="{FF2B5EF4-FFF2-40B4-BE49-F238E27FC236}">
                <a16:creationId xmlns:a16="http://schemas.microsoft.com/office/drawing/2014/main" id="{8FA7E229-A6B1-53A7-2D6F-A45EB4607CDE}"/>
              </a:ext>
            </a:extLst>
          </p:cNvPr>
          <p:cNvSpPr/>
          <p:nvPr>
            <p:custDataLst>
              <p:tags r:id="rId46"/>
            </p:custDataLst>
          </p:nvPr>
        </p:nvSpPr>
        <p:spPr bwMode="gray">
          <a:xfrm>
            <a:off x="3443288" y="3967163"/>
            <a:ext cx="26511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2AFD5D22-2271-4305-B73F-8E2A6586A9E1}" type="datetime'''''''''''''''''''''''''''''3''''''''2''''''''9'''">
              <a:rPr lang="en-US" altLang="en-US" sz="1000" b="1" smtClean="0">
                <a:solidFill>
                  <a:schemeClr val="tx1"/>
                </a:solidFill>
              </a:rPr>
              <a:pPr/>
              <a:t>329</a:t>
            </a:fld>
            <a:endParaRPr lang="en-US" sz="1000" b="1">
              <a:solidFill>
                <a:schemeClr val="tx1"/>
              </a:solidFill>
            </a:endParaRPr>
          </a:p>
        </p:txBody>
      </p:sp>
      <p:sp>
        <p:nvSpPr>
          <p:cNvPr id="34" name="Rectangle 33">
            <a:extLst>
              <a:ext uri="{FF2B5EF4-FFF2-40B4-BE49-F238E27FC236}">
                <a16:creationId xmlns:a16="http://schemas.microsoft.com/office/drawing/2014/main" id="{78FEFB6C-672D-A174-7DA0-4FCBC3E014C0}"/>
              </a:ext>
            </a:extLst>
          </p:cNvPr>
          <p:cNvSpPr/>
          <p:nvPr>
            <p:custDataLst>
              <p:tags r:id="rId47"/>
            </p:custDataLst>
          </p:nvPr>
        </p:nvSpPr>
        <p:spPr bwMode="gray">
          <a:xfrm>
            <a:off x="4060826" y="3805238"/>
            <a:ext cx="26511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4705543D-65DF-48E3-A614-767A6241F32D}" type="datetime'''''''''''''''''3''5''''''''''''''''7'''''''''''''''''''">
              <a:rPr lang="en-US" altLang="en-US" sz="1000" b="1" smtClean="0">
                <a:solidFill>
                  <a:schemeClr val="tx1"/>
                </a:solidFill>
              </a:rPr>
              <a:pPr/>
              <a:t>357</a:t>
            </a:fld>
            <a:endParaRPr lang="en-US" sz="1000" b="1" dirty="0">
              <a:solidFill>
                <a:schemeClr val="tx1"/>
              </a:solidFill>
            </a:endParaRPr>
          </a:p>
        </p:txBody>
      </p:sp>
      <p:sp>
        <p:nvSpPr>
          <p:cNvPr id="35" name="Rectangle 34">
            <a:extLst>
              <a:ext uri="{FF2B5EF4-FFF2-40B4-BE49-F238E27FC236}">
                <a16:creationId xmlns:a16="http://schemas.microsoft.com/office/drawing/2014/main" id="{BDD98296-82DF-91CA-E037-19C5814641E3}"/>
              </a:ext>
            </a:extLst>
          </p:cNvPr>
          <p:cNvSpPr/>
          <p:nvPr>
            <p:custDataLst>
              <p:tags r:id="rId48"/>
            </p:custDataLst>
          </p:nvPr>
        </p:nvSpPr>
        <p:spPr bwMode="gray">
          <a:xfrm>
            <a:off x="4691063" y="3840163"/>
            <a:ext cx="23495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35E3CF4F-1A2D-4302-B8A1-EB5967217F7A}" type="datetime'''''3''''''5''''''''''''''''1'''">
              <a:rPr lang="en-US" altLang="en-US" sz="1000" b="1" smtClean="0">
                <a:solidFill>
                  <a:schemeClr val="tx1"/>
                </a:solidFill>
              </a:rPr>
              <a:pPr/>
              <a:t>351</a:t>
            </a:fld>
            <a:endParaRPr lang="en-US" sz="1000" b="1">
              <a:solidFill>
                <a:schemeClr val="tx1"/>
              </a:solidFill>
            </a:endParaRPr>
          </a:p>
        </p:txBody>
      </p:sp>
      <p:sp>
        <p:nvSpPr>
          <p:cNvPr id="36" name="Rectangle 35">
            <a:extLst>
              <a:ext uri="{FF2B5EF4-FFF2-40B4-BE49-F238E27FC236}">
                <a16:creationId xmlns:a16="http://schemas.microsoft.com/office/drawing/2014/main" id="{F9ECDDAC-4EE6-020E-B031-4173C07A1E92}"/>
              </a:ext>
            </a:extLst>
          </p:cNvPr>
          <p:cNvSpPr/>
          <p:nvPr>
            <p:custDataLst>
              <p:tags r:id="rId49"/>
            </p:custDataLst>
          </p:nvPr>
        </p:nvSpPr>
        <p:spPr bwMode="gray">
          <a:xfrm>
            <a:off x="5294314" y="3984625"/>
            <a:ext cx="26511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2354945D-E1FE-4196-BE43-2E701F105FC0}" type="datetime'''''''''''''''''''''3''''''''''''''''2''''''''''6'''''''">
              <a:rPr lang="en-US" altLang="en-US" sz="1000" b="1" smtClean="0">
                <a:solidFill>
                  <a:schemeClr val="tx1"/>
                </a:solidFill>
              </a:rPr>
              <a:pPr/>
              <a:t>326</a:t>
            </a:fld>
            <a:endParaRPr lang="en-US" sz="1000" b="1">
              <a:solidFill>
                <a:schemeClr val="tx1"/>
              </a:solidFill>
            </a:endParaRPr>
          </a:p>
        </p:txBody>
      </p:sp>
      <p:sp>
        <p:nvSpPr>
          <p:cNvPr id="31" name="Rectangle 30">
            <a:extLst>
              <a:ext uri="{FF2B5EF4-FFF2-40B4-BE49-F238E27FC236}">
                <a16:creationId xmlns:a16="http://schemas.microsoft.com/office/drawing/2014/main" id="{5C0112F6-734A-9873-1C90-D159974F5682}"/>
              </a:ext>
            </a:extLst>
          </p:cNvPr>
          <p:cNvSpPr/>
          <p:nvPr>
            <p:custDataLst>
              <p:tags r:id="rId50"/>
            </p:custDataLst>
          </p:nvPr>
        </p:nvSpPr>
        <p:spPr bwMode="gray">
          <a:xfrm>
            <a:off x="2206625" y="3960813"/>
            <a:ext cx="269875"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6B8EA2D9-D473-40D9-8F73-6712FF590FBC}" type="datetime'''''''''''''''''3''''3''''''0'''''''''''''''''''''''''''''">
              <a:rPr lang="en-US" altLang="en-US" sz="1000" b="1" smtClean="0">
                <a:solidFill>
                  <a:schemeClr val="tx1"/>
                </a:solidFill>
              </a:rPr>
              <a:pPr/>
              <a:t>330</a:t>
            </a:fld>
            <a:endParaRPr lang="en-US" sz="1000" b="1">
              <a:solidFill>
                <a:schemeClr val="tx1"/>
              </a:solidFill>
            </a:endParaRPr>
          </a:p>
        </p:txBody>
      </p:sp>
      <p:sp>
        <p:nvSpPr>
          <p:cNvPr id="38" name="Rectangle 37">
            <a:extLst>
              <a:ext uri="{FF2B5EF4-FFF2-40B4-BE49-F238E27FC236}">
                <a16:creationId xmlns:a16="http://schemas.microsoft.com/office/drawing/2014/main" id="{0CFE31A7-87DE-7019-6382-3735946A949A}"/>
              </a:ext>
            </a:extLst>
          </p:cNvPr>
          <p:cNvSpPr/>
          <p:nvPr>
            <p:custDataLst>
              <p:tags r:id="rId51"/>
            </p:custDataLst>
          </p:nvPr>
        </p:nvSpPr>
        <p:spPr bwMode="gray">
          <a:xfrm>
            <a:off x="6524625" y="4144963"/>
            <a:ext cx="274638"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89B58E93-B12E-47C0-86EA-417574BF90C4}" type="datetime'''''''''2''''''''''''''''''''''''''''9''''''''''''''''8'''">
              <a:rPr lang="en-US" altLang="en-US" sz="1000" b="1" smtClean="0">
                <a:solidFill>
                  <a:schemeClr val="tx1"/>
                </a:solidFill>
              </a:rPr>
              <a:pPr/>
              <a:t>298</a:t>
            </a:fld>
            <a:endParaRPr lang="en-US" sz="1000" b="1">
              <a:solidFill>
                <a:schemeClr val="tx1"/>
              </a:solidFill>
            </a:endParaRPr>
          </a:p>
        </p:txBody>
      </p:sp>
      <p:sp>
        <p:nvSpPr>
          <p:cNvPr id="39" name="Rectangle 38">
            <a:extLst>
              <a:ext uri="{FF2B5EF4-FFF2-40B4-BE49-F238E27FC236}">
                <a16:creationId xmlns:a16="http://schemas.microsoft.com/office/drawing/2014/main" id="{23F2247F-03E8-C531-51AF-6C9B439B2207}"/>
              </a:ext>
            </a:extLst>
          </p:cNvPr>
          <p:cNvSpPr/>
          <p:nvPr>
            <p:custDataLst>
              <p:tags r:id="rId52"/>
            </p:custDataLst>
          </p:nvPr>
        </p:nvSpPr>
        <p:spPr bwMode="gray">
          <a:xfrm>
            <a:off x="7156450" y="4030663"/>
            <a:ext cx="242888"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304ADF47-3A58-43C3-AD25-1913FDBC8B71}" type="datetime'''''''''3''''''''''''''1''''''''''''''''''''''''8'''''''">
              <a:rPr lang="en-US" altLang="en-US" sz="1000" b="1" smtClean="0">
                <a:solidFill>
                  <a:schemeClr val="tx1"/>
                </a:solidFill>
              </a:rPr>
              <a:pPr/>
              <a:t>318</a:t>
            </a:fld>
            <a:endParaRPr lang="en-US" sz="1000" b="1">
              <a:solidFill>
                <a:schemeClr val="tx1"/>
              </a:solidFill>
            </a:endParaRPr>
          </a:p>
        </p:txBody>
      </p:sp>
      <p:sp>
        <p:nvSpPr>
          <p:cNvPr id="40" name="Rectangle 39">
            <a:extLst>
              <a:ext uri="{FF2B5EF4-FFF2-40B4-BE49-F238E27FC236}">
                <a16:creationId xmlns:a16="http://schemas.microsoft.com/office/drawing/2014/main" id="{0FF54054-AD1D-94D9-0159-71BBD6BAEA0F}"/>
              </a:ext>
            </a:extLst>
          </p:cNvPr>
          <p:cNvSpPr/>
          <p:nvPr>
            <p:custDataLst>
              <p:tags r:id="rId53"/>
            </p:custDataLst>
          </p:nvPr>
        </p:nvSpPr>
        <p:spPr bwMode="gray">
          <a:xfrm>
            <a:off x="7754938" y="4087813"/>
            <a:ext cx="27940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0EE5227A-0A75-449D-95DE-A7ACBA0FDCA7}" type="datetime'''''''''''''''''''''''''''3''''''''08'''''''''''''">
              <a:rPr lang="en-US" altLang="en-US" sz="1000" b="1" smtClean="0">
                <a:solidFill>
                  <a:schemeClr val="tx1"/>
                </a:solidFill>
              </a:rPr>
              <a:pPr/>
              <a:t>308</a:t>
            </a:fld>
            <a:endParaRPr lang="en-US" sz="1000" b="1">
              <a:solidFill>
                <a:schemeClr val="tx1"/>
              </a:solidFill>
            </a:endParaRPr>
          </a:p>
        </p:txBody>
      </p:sp>
      <p:sp>
        <p:nvSpPr>
          <p:cNvPr id="41" name="Rectangle 40">
            <a:extLst>
              <a:ext uri="{FF2B5EF4-FFF2-40B4-BE49-F238E27FC236}">
                <a16:creationId xmlns:a16="http://schemas.microsoft.com/office/drawing/2014/main" id="{9B7C6EA9-D17C-43A7-EFEA-10B2E902C67F}"/>
              </a:ext>
            </a:extLst>
          </p:cNvPr>
          <p:cNvSpPr/>
          <p:nvPr>
            <p:custDataLst>
              <p:tags r:id="rId54"/>
            </p:custDataLst>
          </p:nvPr>
        </p:nvSpPr>
        <p:spPr bwMode="gray">
          <a:xfrm>
            <a:off x="8377238" y="4122738"/>
            <a:ext cx="269875"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8DA6D783-2C6F-4938-9C59-54FEACA19C0B}" type="datetime'''''''''''''''''''''''3''''''''''''''''''''''0''''''''''''2'''">
              <a:rPr lang="en-US" altLang="en-US" sz="1000" b="1" smtClean="0">
                <a:solidFill>
                  <a:schemeClr val="tx1"/>
                </a:solidFill>
              </a:rPr>
              <a:pPr/>
              <a:t>302</a:t>
            </a:fld>
            <a:endParaRPr lang="en-US" sz="1000" b="1" dirty="0">
              <a:solidFill>
                <a:schemeClr val="tx1"/>
              </a:solidFill>
            </a:endParaRPr>
          </a:p>
        </p:txBody>
      </p:sp>
      <p:sp>
        <p:nvSpPr>
          <p:cNvPr id="450" name="Rectangle 449">
            <a:extLst>
              <a:ext uri="{FF2B5EF4-FFF2-40B4-BE49-F238E27FC236}">
                <a16:creationId xmlns:a16="http://schemas.microsoft.com/office/drawing/2014/main" id="{938DF584-B8C1-037A-4382-D56358C2731B}"/>
              </a:ext>
            </a:extLst>
          </p:cNvPr>
          <p:cNvSpPr/>
          <p:nvPr>
            <p:custDataLst>
              <p:tags r:id="rId55"/>
            </p:custDataLst>
          </p:nvPr>
        </p:nvSpPr>
        <p:spPr bwMode="gray">
          <a:xfrm>
            <a:off x="8991599" y="4260850"/>
            <a:ext cx="27305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D03AE8A7-2441-4A81-8AC6-C4A82C111C26}" type="datetime'''''''''''''2''''''7''''''8'''''''''''''''''''''''">
              <a:rPr lang="en-US" altLang="en-US" sz="1000" b="1" smtClean="0">
                <a:solidFill>
                  <a:schemeClr val="tx1"/>
                </a:solidFill>
              </a:rPr>
              <a:pPr/>
              <a:t>278</a:t>
            </a:fld>
            <a:endParaRPr lang="en-US" sz="1000" b="1">
              <a:solidFill>
                <a:schemeClr val="tx1"/>
              </a:solidFill>
            </a:endParaRPr>
          </a:p>
        </p:txBody>
      </p:sp>
      <p:sp>
        <p:nvSpPr>
          <p:cNvPr id="37" name="Rectangle 36">
            <a:extLst>
              <a:ext uri="{FF2B5EF4-FFF2-40B4-BE49-F238E27FC236}">
                <a16:creationId xmlns:a16="http://schemas.microsoft.com/office/drawing/2014/main" id="{E9DEE1AD-AF7B-56F6-B6C4-D02F1F4DCC57}"/>
              </a:ext>
            </a:extLst>
          </p:cNvPr>
          <p:cNvSpPr/>
          <p:nvPr>
            <p:custDataLst>
              <p:tags r:id="rId56"/>
            </p:custDataLst>
          </p:nvPr>
        </p:nvSpPr>
        <p:spPr bwMode="gray">
          <a:xfrm>
            <a:off x="5921376" y="4052888"/>
            <a:ext cx="24606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2495B9A6-0ABB-4954-96D6-FF3519A7B194}" type="datetime'''''''''''''''''''''''''''''3''''1''''''''''''''''''''''4'''">
              <a:rPr lang="en-US" altLang="en-US" sz="1000" b="1" smtClean="0">
                <a:solidFill>
                  <a:schemeClr val="tx1"/>
                </a:solidFill>
              </a:rPr>
              <a:pPr/>
              <a:t>314</a:t>
            </a:fld>
            <a:endParaRPr lang="en-US" sz="1000" b="1">
              <a:solidFill>
                <a:schemeClr val="tx1"/>
              </a:solidFill>
            </a:endParaRPr>
          </a:p>
        </p:txBody>
      </p:sp>
      <p:sp>
        <p:nvSpPr>
          <p:cNvPr id="515" name="Rectangle 514">
            <a:extLst>
              <a:ext uri="{FF2B5EF4-FFF2-40B4-BE49-F238E27FC236}">
                <a16:creationId xmlns:a16="http://schemas.microsoft.com/office/drawing/2014/main" id="{36749081-D1A1-66FD-FC92-EDCBEC1A12A1}"/>
              </a:ext>
            </a:extLst>
          </p:cNvPr>
          <p:cNvSpPr/>
          <p:nvPr>
            <p:custDataLst>
              <p:tags r:id="rId57"/>
            </p:custDataLst>
          </p:nvPr>
        </p:nvSpPr>
        <p:spPr bwMode="auto">
          <a:xfrm>
            <a:off x="177800" y="5099050"/>
            <a:ext cx="160338" cy="120650"/>
          </a:xfrm>
          <a:prstGeom prst="rect">
            <a:avLst/>
          </a:prstGeom>
          <a:solidFill>
            <a:srgbClr val="9DB1CF"/>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0" name="Rectangle 479">
            <a:extLst>
              <a:ext uri="{FF2B5EF4-FFF2-40B4-BE49-F238E27FC236}">
                <a16:creationId xmlns:a16="http://schemas.microsoft.com/office/drawing/2014/main" id="{9D17A094-3730-92AC-0394-E2AA79BD2A5D}"/>
              </a:ext>
            </a:extLst>
          </p:cNvPr>
          <p:cNvSpPr/>
          <p:nvPr>
            <p:custDataLst>
              <p:tags r:id="rId58"/>
            </p:custDataLst>
          </p:nvPr>
        </p:nvSpPr>
        <p:spPr bwMode="auto">
          <a:xfrm>
            <a:off x="177800" y="5286375"/>
            <a:ext cx="160338" cy="120650"/>
          </a:xfrm>
          <a:prstGeom prst="rect">
            <a:avLst/>
          </a:prstGeom>
          <a:solidFill>
            <a:schemeClr val="accent4"/>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1" name="Rectangle 480">
            <a:extLst>
              <a:ext uri="{FF2B5EF4-FFF2-40B4-BE49-F238E27FC236}">
                <a16:creationId xmlns:a16="http://schemas.microsoft.com/office/drawing/2014/main" id="{C118ADF1-3B36-CCF3-BB9A-9DA3C458919A}"/>
              </a:ext>
            </a:extLst>
          </p:cNvPr>
          <p:cNvSpPr/>
          <p:nvPr>
            <p:custDataLst>
              <p:tags r:id="rId59"/>
            </p:custDataLst>
          </p:nvPr>
        </p:nvSpPr>
        <p:spPr bwMode="auto">
          <a:xfrm>
            <a:off x="177800" y="5473700"/>
            <a:ext cx="160338" cy="120650"/>
          </a:xfrm>
          <a:prstGeom prst="rect">
            <a:avLst/>
          </a:prstGeom>
          <a:solidFill>
            <a:schemeClr val="accent3"/>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4" name="Rectangle 483">
            <a:extLst>
              <a:ext uri="{FF2B5EF4-FFF2-40B4-BE49-F238E27FC236}">
                <a16:creationId xmlns:a16="http://schemas.microsoft.com/office/drawing/2014/main" id="{779BA480-B683-889E-BE85-BF79C2178EF5}"/>
              </a:ext>
            </a:extLst>
          </p:cNvPr>
          <p:cNvSpPr/>
          <p:nvPr>
            <p:custDataLst>
              <p:tags r:id="rId60"/>
            </p:custDataLst>
          </p:nvPr>
        </p:nvSpPr>
        <p:spPr bwMode="auto">
          <a:xfrm>
            <a:off x="177800" y="5661025"/>
            <a:ext cx="160338" cy="120650"/>
          </a:xfrm>
          <a:prstGeom prst="rect">
            <a:avLst/>
          </a:prstGeom>
          <a:solidFill>
            <a:schemeClr val="accent2"/>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5" name="Rectangle 484">
            <a:extLst>
              <a:ext uri="{FF2B5EF4-FFF2-40B4-BE49-F238E27FC236}">
                <a16:creationId xmlns:a16="http://schemas.microsoft.com/office/drawing/2014/main" id="{3237B12C-EAD2-4547-9CD7-278A53CBF885}"/>
              </a:ext>
            </a:extLst>
          </p:cNvPr>
          <p:cNvSpPr/>
          <p:nvPr>
            <p:custDataLst>
              <p:tags r:id="rId61"/>
            </p:custDataLst>
          </p:nvPr>
        </p:nvSpPr>
        <p:spPr bwMode="auto">
          <a:xfrm>
            <a:off x="177800" y="5848350"/>
            <a:ext cx="160338" cy="120650"/>
          </a:xfrm>
          <a:prstGeom prst="rect">
            <a:avLst/>
          </a:prstGeom>
          <a:solidFill>
            <a:schemeClr val="accent1"/>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2" name="Rectangle 511">
            <a:extLst>
              <a:ext uri="{FF2B5EF4-FFF2-40B4-BE49-F238E27FC236}">
                <a16:creationId xmlns:a16="http://schemas.microsoft.com/office/drawing/2014/main" id="{A8380279-994B-A9F0-1883-551936181782}"/>
              </a:ext>
            </a:extLst>
          </p:cNvPr>
          <p:cNvSpPr/>
          <p:nvPr>
            <p:custDataLst>
              <p:tags r:id="rId62"/>
            </p:custDataLst>
          </p:nvPr>
        </p:nvSpPr>
        <p:spPr bwMode="auto">
          <a:xfrm>
            <a:off x="388938" y="5095875"/>
            <a:ext cx="585788"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1FBB31CE-A4E7-4133-9E4E-E42C09D3F55E}" type="datetime'''S''a''''''''le''s'''''''''''''''''' ''''''C''''''a''''lls'''">
              <a:rPr lang="en-US" altLang="en-US" sz="900" smtClean="0">
                <a:solidFill>
                  <a:schemeClr val="tx1"/>
                </a:solidFill>
              </a:rPr>
              <a:pPr/>
              <a:t>Sales Calls</a:t>
            </a:fld>
            <a:endParaRPr lang="en-US" sz="900">
              <a:solidFill>
                <a:schemeClr val="tx1"/>
              </a:solidFill>
            </a:endParaRPr>
          </a:p>
        </p:txBody>
      </p:sp>
      <p:sp>
        <p:nvSpPr>
          <p:cNvPr id="489" name="Rectangle 488">
            <a:extLst>
              <a:ext uri="{FF2B5EF4-FFF2-40B4-BE49-F238E27FC236}">
                <a16:creationId xmlns:a16="http://schemas.microsoft.com/office/drawing/2014/main" id="{E054506D-29D9-7388-CD00-9BCF63FDF381}"/>
              </a:ext>
            </a:extLst>
          </p:cNvPr>
          <p:cNvSpPr/>
          <p:nvPr>
            <p:custDataLst>
              <p:tags r:id="rId63"/>
            </p:custDataLst>
          </p:nvPr>
        </p:nvSpPr>
        <p:spPr bwMode="auto">
          <a:xfrm>
            <a:off x="388938" y="5283200"/>
            <a:ext cx="661988"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E93F9BCB-C1C1-47FD-8C70-39210FE653C4}" type="datetime'''Pr''''''i''c''i''n''g'''' ''''In''''''''''''fo'''''''''">
              <a:rPr lang="en-US" altLang="en-US" sz="900" smtClean="0">
                <a:solidFill>
                  <a:schemeClr val="tx1"/>
                </a:solidFill>
              </a:rPr>
              <a:pPr/>
              <a:t>Pricing Info</a:t>
            </a:fld>
            <a:endParaRPr lang="en-US" sz="900">
              <a:solidFill>
                <a:schemeClr val="tx1"/>
              </a:solidFill>
            </a:endParaRPr>
          </a:p>
        </p:txBody>
      </p:sp>
      <p:sp>
        <p:nvSpPr>
          <p:cNvPr id="490" name="Rectangle 489">
            <a:extLst>
              <a:ext uri="{FF2B5EF4-FFF2-40B4-BE49-F238E27FC236}">
                <a16:creationId xmlns:a16="http://schemas.microsoft.com/office/drawing/2014/main" id="{7A729A1B-A715-491F-B4D4-E89063E35C9C}"/>
              </a:ext>
            </a:extLst>
          </p:cNvPr>
          <p:cNvSpPr/>
          <p:nvPr>
            <p:custDataLst>
              <p:tags r:id="rId64"/>
            </p:custDataLst>
          </p:nvPr>
        </p:nvSpPr>
        <p:spPr bwMode="auto">
          <a:xfrm>
            <a:off x="388938" y="5470525"/>
            <a:ext cx="51911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23ABA884-405E-480B-91A4-6083CD146860}" type="datetime'B''ou''''''n''''''c''''e''''''''''''''''''X'''''''''">
              <a:rPr lang="en-US" altLang="en-US" sz="900" smtClean="0">
                <a:solidFill>
                  <a:schemeClr val="tx1"/>
                </a:solidFill>
              </a:rPr>
              <a:pPr/>
              <a:t>BounceX</a:t>
            </a:fld>
            <a:endParaRPr lang="en-US" sz="900">
              <a:solidFill>
                <a:schemeClr val="tx1"/>
              </a:solidFill>
            </a:endParaRPr>
          </a:p>
        </p:txBody>
      </p:sp>
      <p:sp>
        <p:nvSpPr>
          <p:cNvPr id="491" name="Rectangle 490">
            <a:extLst>
              <a:ext uri="{FF2B5EF4-FFF2-40B4-BE49-F238E27FC236}">
                <a16:creationId xmlns:a16="http://schemas.microsoft.com/office/drawing/2014/main" id="{3733E0F2-F388-60A0-A101-2046463F6E80}"/>
              </a:ext>
            </a:extLst>
          </p:cNvPr>
          <p:cNvSpPr/>
          <p:nvPr>
            <p:custDataLst>
              <p:tags r:id="rId65"/>
            </p:custDataLst>
          </p:nvPr>
        </p:nvSpPr>
        <p:spPr bwMode="auto">
          <a:xfrm>
            <a:off x="388938" y="5657850"/>
            <a:ext cx="85090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A3E1426A-1EED-4EB0-BDC4-2FAC0498B849}" type="datetime'''C''''h''a''''t''s'''''' H''''''''''a''''''''nd''l''''e''d'">
              <a:rPr lang="en-US" altLang="en-US" sz="900" smtClean="0">
                <a:solidFill>
                  <a:schemeClr val="tx1"/>
                </a:solidFill>
              </a:rPr>
              <a:pPr/>
              <a:t>Chats Handled</a:t>
            </a:fld>
            <a:endParaRPr lang="en-US" sz="900">
              <a:solidFill>
                <a:schemeClr val="tx1"/>
              </a:solidFill>
            </a:endParaRPr>
          </a:p>
        </p:txBody>
      </p:sp>
      <p:sp>
        <p:nvSpPr>
          <p:cNvPr id="492" name="Rectangle 491">
            <a:extLst>
              <a:ext uri="{FF2B5EF4-FFF2-40B4-BE49-F238E27FC236}">
                <a16:creationId xmlns:a16="http://schemas.microsoft.com/office/drawing/2014/main" id="{D189A4F2-B30B-7E00-878C-5E89E021212E}"/>
              </a:ext>
            </a:extLst>
          </p:cNvPr>
          <p:cNvSpPr/>
          <p:nvPr>
            <p:custDataLst>
              <p:tags r:id="rId66"/>
            </p:custDataLst>
          </p:nvPr>
        </p:nvSpPr>
        <p:spPr bwMode="auto">
          <a:xfrm>
            <a:off x="388938" y="5845175"/>
            <a:ext cx="82391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AC767326-5F86-49A6-9735-E2A552207009}" type="datetime'''Bu''y''''''''''f''l''o''w'' St''''''''''ar''t''''s'''''">
              <a:rPr lang="en-US" altLang="en-US" sz="900" smtClean="0">
                <a:solidFill>
                  <a:schemeClr val="tx1"/>
                </a:solidFill>
              </a:rPr>
              <a:pPr/>
              <a:t>Buyflow Starts</a:t>
            </a:fld>
            <a:endParaRPr lang="en-US" sz="900">
              <a:solidFill>
                <a:schemeClr val="tx1"/>
              </a:solidFill>
            </a:endParaRPr>
          </a:p>
        </p:txBody>
      </p:sp>
      <p:sp>
        <p:nvSpPr>
          <p:cNvPr id="601" name="Rectangle 600">
            <a:extLst>
              <a:ext uri="{FF2B5EF4-FFF2-40B4-BE49-F238E27FC236}">
                <a16:creationId xmlns:a16="http://schemas.microsoft.com/office/drawing/2014/main" id="{6F314E84-DFFD-5DC0-EC3D-54A966647E53}"/>
              </a:ext>
            </a:extLst>
          </p:cNvPr>
          <p:cNvSpPr/>
          <p:nvPr/>
        </p:nvSpPr>
        <p:spPr>
          <a:xfrm>
            <a:off x="9617869" y="3059832"/>
            <a:ext cx="2236788" cy="685800"/>
          </a:xfrm>
          <a:prstGeom prst="rect">
            <a:avLst/>
          </a:prstGeom>
          <a:solidFill>
            <a:schemeClr val="bg2"/>
          </a:solidFill>
          <a:ln w="9525">
            <a:solidFill>
              <a:schemeClr val="bg2">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050" b="1">
                <a:solidFill>
                  <a:schemeClr val="tx1"/>
                </a:solidFill>
              </a:rPr>
              <a:t>vs. BUD</a:t>
            </a:r>
          </a:p>
        </p:txBody>
      </p:sp>
      <p:grpSp>
        <p:nvGrpSpPr>
          <p:cNvPr id="602" name="Group 601">
            <a:extLst>
              <a:ext uri="{FF2B5EF4-FFF2-40B4-BE49-F238E27FC236}">
                <a16:creationId xmlns:a16="http://schemas.microsoft.com/office/drawing/2014/main" id="{A18655A7-94A9-19D2-8D20-079362B4BF7A}"/>
              </a:ext>
            </a:extLst>
          </p:cNvPr>
          <p:cNvGrpSpPr/>
          <p:nvPr/>
        </p:nvGrpSpPr>
        <p:grpSpPr>
          <a:xfrm>
            <a:off x="10246518" y="3034432"/>
            <a:ext cx="1682749" cy="750888"/>
            <a:chOff x="10106556" y="4845052"/>
            <a:chExt cx="1682296" cy="750818"/>
          </a:xfrm>
        </p:grpSpPr>
        <p:sp>
          <p:nvSpPr>
            <p:cNvPr id="603" name="Rectangle 602">
              <a:extLst>
                <a:ext uri="{FF2B5EF4-FFF2-40B4-BE49-F238E27FC236}">
                  <a16:creationId xmlns:a16="http://schemas.microsoft.com/office/drawing/2014/main" id="{9846DB5D-0C35-AD32-3ADD-D346C62EF916}"/>
                </a:ext>
              </a:extLst>
            </p:cNvPr>
            <p:cNvSpPr/>
            <p:nvPr/>
          </p:nvSpPr>
          <p:spPr>
            <a:xfrm>
              <a:off x="10106556" y="5246620"/>
              <a:ext cx="586217"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C00000"/>
                  </a:solidFill>
                </a:rPr>
                <a:t> 83%</a:t>
              </a:r>
            </a:p>
          </p:txBody>
        </p:sp>
        <p:sp>
          <p:nvSpPr>
            <p:cNvPr id="604" name="Rectangle 603">
              <a:extLst>
                <a:ext uri="{FF2B5EF4-FFF2-40B4-BE49-F238E27FC236}">
                  <a16:creationId xmlns:a16="http://schemas.microsoft.com/office/drawing/2014/main" id="{82E0838B-9AB4-879E-5415-7A0A1408106A}"/>
                </a:ext>
              </a:extLst>
            </p:cNvPr>
            <p:cNvSpPr/>
            <p:nvPr/>
          </p:nvSpPr>
          <p:spPr>
            <a:xfrm>
              <a:off x="10633986" y="5246620"/>
              <a:ext cx="586217"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accent3">
                      <a:lumMod val="50000"/>
                    </a:schemeClr>
                  </a:solidFill>
                </a:rPr>
                <a:t> </a:t>
              </a:r>
              <a:r>
                <a:rPr lang="en-US" sz="1050" dirty="0">
                  <a:solidFill>
                    <a:srgbClr val="C00000"/>
                  </a:solidFill>
                </a:rPr>
                <a:t>80%</a:t>
              </a:r>
            </a:p>
          </p:txBody>
        </p:sp>
        <p:sp>
          <p:nvSpPr>
            <p:cNvPr id="605" name="Rectangle 604">
              <a:extLst>
                <a:ext uri="{FF2B5EF4-FFF2-40B4-BE49-F238E27FC236}">
                  <a16:creationId xmlns:a16="http://schemas.microsoft.com/office/drawing/2014/main" id="{B21E7E9C-C372-DD0E-E8FB-FFA1507362DB}"/>
                </a:ext>
              </a:extLst>
            </p:cNvPr>
            <p:cNvSpPr/>
            <p:nvPr/>
          </p:nvSpPr>
          <p:spPr>
            <a:xfrm>
              <a:off x="11153248" y="5246620"/>
              <a:ext cx="586217"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C00000"/>
                  </a:solidFill>
                </a:rPr>
                <a:t>87%</a:t>
              </a:r>
            </a:p>
          </p:txBody>
        </p:sp>
        <p:cxnSp>
          <p:nvCxnSpPr>
            <p:cNvPr id="606" name="Straight Connector 605">
              <a:extLst>
                <a:ext uri="{FF2B5EF4-FFF2-40B4-BE49-F238E27FC236}">
                  <a16:creationId xmlns:a16="http://schemas.microsoft.com/office/drawing/2014/main" id="{F2AC6C91-CF8D-657D-D7D0-FFF7EB0BA461}"/>
                </a:ext>
              </a:extLst>
            </p:cNvPr>
            <p:cNvCxnSpPr>
              <a:cxnSpLocks/>
            </p:cNvCxnSpPr>
            <p:nvPr/>
          </p:nvCxnSpPr>
          <p:spPr>
            <a:xfrm>
              <a:off x="10217648" y="5158793"/>
              <a:ext cx="1418892" cy="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607" name="Straight Connector 606">
              <a:extLst>
                <a:ext uri="{FF2B5EF4-FFF2-40B4-BE49-F238E27FC236}">
                  <a16:creationId xmlns:a16="http://schemas.microsoft.com/office/drawing/2014/main" id="{3A6A12B8-C277-C0DB-8C36-F914CBB2B6C3}"/>
                </a:ext>
              </a:extLst>
            </p:cNvPr>
            <p:cNvCxnSpPr>
              <a:cxnSpLocks/>
            </p:cNvCxnSpPr>
            <p:nvPr/>
          </p:nvCxnSpPr>
          <p:spPr>
            <a:xfrm>
              <a:off x="11181972" y="5155618"/>
              <a:ext cx="0" cy="265113"/>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608" name="Straight Connector 607">
              <a:extLst>
                <a:ext uri="{FF2B5EF4-FFF2-40B4-BE49-F238E27FC236}">
                  <a16:creationId xmlns:a16="http://schemas.microsoft.com/office/drawing/2014/main" id="{1357F0EC-CDED-87BC-EAB5-C3167F0EEDE0}"/>
                </a:ext>
              </a:extLst>
            </p:cNvPr>
            <p:cNvCxnSpPr>
              <a:cxnSpLocks/>
            </p:cNvCxnSpPr>
            <p:nvPr/>
          </p:nvCxnSpPr>
          <p:spPr>
            <a:xfrm>
              <a:off x="10672217" y="5158793"/>
              <a:ext cx="0" cy="274638"/>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sp>
          <p:nvSpPr>
            <p:cNvPr id="609" name="Rectangle 608">
              <a:extLst>
                <a:ext uri="{FF2B5EF4-FFF2-40B4-BE49-F238E27FC236}">
                  <a16:creationId xmlns:a16="http://schemas.microsoft.com/office/drawing/2014/main" id="{998EECED-167E-2B2B-7744-CFE1F630ED9E}"/>
                </a:ext>
              </a:extLst>
            </p:cNvPr>
            <p:cNvSpPr/>
            <p:nvPr/>
          </p:nvSpPr>
          <p:spPr>
            <a:xfrm>
              <a:off x="10515614" y="4845052"/>
              <a:ext cx="822960"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200" b="1" dirty="0">
                  <a:solidFill>
                    <a:srgbClr val="C00000"/>
                  </a:solidFill>
                </a:rPr>
                <a:t>83%</a:t>
              </a:r>
            </a:p>
          </p:txBody>
        </p:sp>
        <p:sp>
          <p:nvSpPr>
            <p:cNvPr id="610" name="Rectangle 609">
              <a:extLst>
                <a:ext uri="{FF2B5EF4-FFF2-40B4-BE49-F238E27FC236}">
                  <a16:creationId xmlns:a16="http://schemas.microsoft.com/office/drawing/2014/main" id="{C30319D6-2725-7C53-6F2D-E6C1C3335812}"/>
                </a:ext>
              </a:extLst>
            </p:cNvPr>
            <p:cNvSpPr/>
            <p:nvPr/>
          </p:nvSpPr>
          <p:spPr>
            <a:xfrm>
              <a:off x="10106556" y="5080724"/>
              <a:ext cx="586217" cy="349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rPr>
                <a:t>NED</a:t>
              </a:r>
            </a:p>
          </p:txBody>
        </p:sp>
        <p:sp>
          <p:nvSpPr>
            <p:cNvPr id="611" name="Rectangle 610">
              <a:extLst>
                <a:ext uri="{FF2B5EF4-FFF2-40B4-BE49-F238E27FC236}">
                  <a16:creationId xmlns:a16="http://schemas.microsoft.com/office/drawing/2014/main" id="{D751C87C-DFA3-0B4E-09C3-D18799869087}"/>
                </a:ext>
              </a:extLst>
            </p:cNvPr>
            <p:cNvSpPr/>
            <p:nvPr/>
          </p:nvSpPr>
          <p:spPr>
            <a:xfrm>
              <a:off x="10633986" y="5085817"/>
              <a:ext cx="586217" cy="349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rPr>
                <a:t>CEN</a:t>
              </a:r>
            </a:p>
          </p:txBody>
        </p:sp>
        <p:sp>
          <p:nvSpPr>
            <p:cNvPr id="612" name="Rectangle 611">
              <a:extLst>
                <a:ext uri="{FF2B5EF4-FFF2-40B4-BE49-F238E27FC236}">
                  <a16:creationId xmlns:a16="http://schemas.microsoft.com/office/drawing/2014/main" id="{F195941E-B957-9D63-3B1D-DB8E1F5B4446}"/>
                </a:ext>
              </a:extLst>
            </p:cNvPr>
            <p:cNvSpPr/>
            <p:nvPr/>
          </p:nvSpPr>
          <p:spPr>
            <a:xfrm>
              <a:off x="11103861" y="5080724"/>
              <a:ext cx="684991" cy="349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rPr>
                <a:t>WEST</a:t>
              </a:r>
            </a:p>
          </p:txBody>
        </p:sp>
      </p:grpSp>
      <p:sp>
        <p:nvSpPr>
          <p:cNvPr id="613" name="Rectangle 612">
            <a:extLst>
              <a:ext uri="{FF2B5EF4-FFF2-40B4-BE49-F238E27FC236}">
                <a16:creationId xmlns:a16="http://schemas.microsoft.com/office/drawing/2014/main" id="{C06E4C02-BE40-1515-6D22-7A24C51C6694}"/>
              </a:ext>
            </a:extLst>
          </p:cNvPr>
          <p:cNvSpPr/>
          <p:nvPr/>
        </p:nvSpPr>
        <p:spPr>
          <a:xfrm>
            <a:off x="9617869" y="3998044"/>
            <a:ext cx="2236788" cy="685800"/>
          </a:xfrm>
          <a:prstGeom prst="rect">
            <a:avLst/>
          </a:prstGeom>
          <a:solidFill>
            <a:schemeClr val="bg2"/>
          </a:solidFill>
          <a:ln w="9525">
            <a:solidFill>
              <a:schemeClr val="bg2">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050" b="1" dirty="0">
                <a:solidFill>
                  <a:schemeClr val="tx1"/>
                </a:solidFill>
              </a:rPr>
              <a:t>vs. PM</a:t>
            </a:r>
          </a:p>
          <a:p>
            <a:r>
              <a:rPr lang="en-US" sz="800" dirty="0">
                <a:solidFill>
                  <a:schemeClr val="tx1"/>
                </a:solidFill>
              </a:rPr>
              <a:t>Apr ’24</a:t>
            </a:r>
          </a:p>
        </p:txBody>
      </p:sp>
      <p:grpSp>
        <p:nvGrpSpPr>
          <p:cNvPr id="614" name="Group 613">
            <a:extLst>
              <a:ext uri="{FF2B5EF4-FFF2-40B4-BE49-F238E27FC236}">
                <a16:creationId xmlns:a16="http://schemas.microsoft.com/office/drawing/2014/main" id="{EF732826-D64A-D50F-AF79-7A81AF5797EA}"/>
              </a:ext>
            </a:extLst>
          </p:cNvPr>
          <p:cNvGrpSpPr/>
          <p:nvPr/>
        </p:nvGrpSpPr>
        <p:grpSpPr>
          <a:xfrm>
            <a:off x="10263987" y="3980582"/>
            <a:ext cx="1681163" cy="750888"/>
            <a:chOff x="10100487" y="5518068"/>
            <a:chExt cx="1682296" cy="750818"/>
          </a:xfrm>
        </p:grpSpPr>
        <p:sp>
          <p:nvSpPr>
            <p:cNvPr id="615" name="Rectangle 614">
              <a:extLst>
                <a:ext uri="{FF2B5EF4-FFF2-40B4-BE49-F238E27FC236}">
                  <a16:creationId xmlns:a16="http://schemas.microsoft.com/office/drawing/2014/main" id="{1D42D61C-24B0-2AA1-8E8C-FA510CAD65D1}"/>
                </a:ext>
              </a:extLst>
            </p:cNvPr>
            <p:cNvSpPr/>
            <p:nvPr/>
          </p:nvSpPr>
          <p:spPr>
            <a:xfrm>
              <a:off x="10100487" y="5919636"/>
              <a:ext cx="586217"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accent3">
                      <a:lumMod val="50000"/>
                    </a:schemeClr>
                  </a:solidFill>
                </a:rPr>
                <a:t>97%</a:t>
              </a:r>
            </a:p>
          </p:txBody>
        </p:sp>
        <p:sp>
          <p:nvSpPr>
            <p:cNvPr id="616" name="Rectangle 615">
              <a:extLst>
                <a:ext uri="{FF2B5EF4-FFF2-40B4-BE49-F238E27FC236}">
                  <a16:creationId xmlns:a16="http://schemas.microsoft.com/office/drawing/2014/main" id="{7DF19FF5-E03E-19A6-55E7-1F4D6D04FA69}"/>
                </a:ext>
              </a:extLst>
            </p:cNvPr>
            <p:cNvSpPr/>
            <p:nvPr/>
          </p:nvSpPr>
          <p:spPr>
            <a:xfrm>
              <a:off x="10627917" y="5919636"/>
              <a:ext cx="586217"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accent3">
                      <a:lumMod val="50000"/>
                    </a:schemeClr>
                  </a:solidFill>
                </a:rPr>
                <a:t>98%</a:t>
              </a:r>
            </a:p>
          </p:txBody>
        </p:sp>
        <p:sp>
          <p:nvSpPr>
            <p:cNvPr id="617" name="Rectangle 616">
              <a:extLst>
                <a:ext uri="{FF2B5EF4-FFF2-40B4-BE49-F238E27FC236}">
                  <a16:creationId xmlns:a16="http://schemas.microsoft.com/office/drawing/2014/main" id="{DB3C2094-7DFC-A575-E153-16030C30F919}"/>
                </a:ext>
              </a:extLst>
            </p:cNvPr>
            <p:cNvSpPr/>
            <p:nvPr/>
          </p:nvSpPr>
          <p:spPr>
            <a:xfrm>
              <a:off x="11147179" y="5919636"/>
              <a:ext cx="586217"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C00000"/>
                  </a:solidFill>
                </a:rPr>
                <a:t> 102%</a:t>
              </a:r>
            </a:p>
          </p:txBody>
        </p:sp>
        <p:cxnSp>
          <p:nvCxnSpPr>
            <p:cNvPr id="618" name="Straight Connector 617">
              <a:extLst>
                <a:ext uri="{FF2B5EF4-FFF2-40B4-BE49-F238E27FC236}">
                  <a16:creationId xmlns:a16="http://schemas.microsoft.com/office/drawing/2014/main" id="{96A8C716-A7AD-801F-E36B-053C6E346103}"/>
                </a:ext>
              </a:extLst>
            </p:cNvPr>
            <p:cNvCxnSpPr>
              <a:cxnSpLocks/>
            </p:cNvCxnSpPr>
            <p:nvPr/>
          </p:nvCxnSpPr>
          <p:spPr>
            <a:xfrm>
              <a:off x="10211579" y="5831809"/>
              <a:ext cx="1418892" cy="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619" name="Straight Connector 618">
              <a:extLst>
                <a:ext uri="{FF2B5EF4-FFF2-40B4-BE49-F238E27FC236}">
                  <a16:creationId xmlns:a16="http://schemas.microsoft.com/office/drawing/2014/main" id="{5F926788-5FAE-DC2F-D6E9-2AB3CB1566D6}"/>
                </a:ext>
              </a:extLst>
            </p:cNvPr>
            <p:cNvCxnSpPr>
              <a:cxnSpLocks/>
            </p:cNvCxnSpPr>
            <p:nvPr/>
          </p:nvCxnSpPr>
          <p:spPr>
            <a:xfrm>
              <a:off x="11175903" y="5828634"/>
              <a:ext cx="0" cy="265113"/>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620" name="Straight Connector 619">
              <a:extLst>
                <a:ext uri="{FF2B5EF4-FFF2-40B4-BE49-F238E27FC236}">
                  <a16:creationId xmlns:a16="http://schemas.microsoft.com/office/drawing/2014/main" id="{47E29605-8934-8169-4A7D-FB3AE0BA5670}"/>
                </a:ext>
              </a:extLst>
            </p:cNvPr>
            <p:cNvCxnSpPr>
              <a:cxnSpLocks/>
            </p:cNvCxnSpPr>
            <p:nvPr/>
          </p:nvCxnSpPr>
          <p:spPr>
            <a:xfrm>
              <a:off x="10666148" y="5831809"/>
              <a:ext cx="0" cy="274638"/>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sp>
          <p:nvSpPr>
            <p:cNvPr id="621" name="Rectangle 620">
              <a:extLst>
                <a:ext uri="{FF2B5EF4-FFF2-40B4-BE49-F238E27FC236}">
                  <a16:creationId xmlns:a16="http://schemas.microsoft.com/office/drawing/2014/main" id="{52152F55-89DC-3A72-44A7-700DD458D0FF}"/>
                </a:ext>
              </a:extLst>
            </p:cNvPr>
            <p:cNvSpPr/>
            <p:nvPr/>
          </p:nvSpPr>
          <p:spPr>
            <a:xfrm>
              <a:off x="10509545" y="5518068"/>
              <a:ext cx="822960"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accent3">
                      <a:lumMod val="50000"/>
                    </a:schemeClr>
                  </a:solidFill>
                </a:rPr>
                <a:t>99%</a:t>
              </a:r>
            </a:p>
          </p:txBody>
        </p:sp>
        <p:sp>
          <p:nvSpPr>
            <p:cNvPr id="622" name="Rectangle 621">
              <a:extLst>
                <a:ext uri="{FF2B5EF4-FFF2-40B4-BE49-F238E27FC236}">
                  <a16:creationId xmlns:a16="http://schemas.microsoft.com/office/drawing/2014/main" id="{81811F4D-E5A7-B49F-6A4B-F65ED1323DD6}"/>
                </a:ext>
              </a:extLst>
            </p:cNvPr>
            <p:cNvSpPr/>
            <p:nvPr/>
          </p:nvSpPr>
          <p:spPr>
            <a:xfrm>
              <a:off x="10100487" y="5753740"/>
              <a:ext cx="586217" cy="349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rPr>
                <a:t>NED</a:t>
              </a:r>
            </a:p>
          </p:txBody>
        </p:sp>
        <p:sp>
          <p:nvSpPr>
            <p:cNvPr id="623" name="Rectangle 622">
              <a:extLst>
                <a:ext uri="{FF2B5EF4-FFF2-40B4-BE49-F238E27FC236}">
                  <a16:creationId xmlns:a16="http://schemas.microsoft.com/office/drawing/2014/main" id="{EFE81AC6-F85E-E880-B44B-EE8AB5456574}"/>
                </a:ext>
              </a:extLst>
            </p:cNvPr>
            <p:cNvSpPr/>
            <p:nvPr/>
          </p:nvSpPr>
          <p:spPr>
            <a:xfrm>
              <a:off x="10627917" y="5758833"/>
              <a:ext cx="586217" cy="349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rPr>
                <a:t>CEN</a:t>
              </a:r>
            </a:p>
          </p:txBody>
        </p:sp>
        <p:sp>
          <p:nvSpPr>
            <p:cNvPr id="624" name="Rectangle 623">
              <a:extLst>
                <a:ext uri="{FF2B5EF4-FFF2-40B4-BE49-F238E27FC236}">
                  <a16:creationId xmlns:a16="http://schemas.microsoft.com/office/drawing/2014/main" id="{25158062-9BAD-258A-DAB5-07FEC77C63E1}"/>
                </a:ext>
              </a:extLst>
            </p:cNvPr>
            <p:cNvSpPr/>
            <p:nvPr/>
          </p:nvSpPr>
          <p:spPr>
            <a:xfrm>
              <a:off x="11097792" y="5753740"/>
              <a:ext cx="684991" cy="349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rPr>
                <a:t>WEST</a:t>
              </a:r>
            </a:p>
          </p:txBody>
        </p:sp>
      </p:grpSp>
      <p:sp>
        <p:nvSpPr>
          <p:cNvPr id="625" name="Rectangle 624">
            <a:extLst>
              <a:ext uri="{FF2B5EF4-FFF2-40B4-BE49-F238E27FC236}">
                <a16:creationId xmlns:a16="http://schemas.microsoft.com/office/drawing/2014/main" id="{8969AF66-6ACF-1382-60F8-8E71EA4AFA90}"/>
              </a:ext>
            </a:extLst>
          </p:cNvPr>
          <p:cNvSpPr/>
          <p:nvPr/>
        </p:nvSpPr>
        <p:spPr>
          <a:xfrm>
            <a:off x="9617869" y="4941019"/>
            <a:ext cx="2236788" cy="685800"/>
          </a:xfrm>
          <a:prstGeom prst="rect">
            <a:avLst/>
          </a:prstGeom>
          <a:solidFill>
            <a:schemeClr val="bg2"/>
          </a:solidFill>
          <a:ln w="9525">
            <a:solidFill>
              <a:schemeClr val="bg2">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050" b="1" dirty="0">
                <a:solidFill>
                  <a:schemeClr val="tx1"/>
                </a:solidFill>
              </a:rPr>
              <a:t>vs. PY</a:t>
            </a:r>
          </a:p>
          <a:p>
            <a:r>
              <a:rPr lang="en-US" sz="800" dirty="0">
                <a:solidFill>
                  <a:schemeClr val="tx1"/>
                </a:solidFill>
              </a:rPr>
              <a:t>May ’23</a:t>
            </a:r>
          </a:p>
        </p:txBody>
      </p:sp>
      <p:grpSp>
        <p:nvGrpSpPr>
          <p:cNvPr id="626" name="Group 625">
            <a:extLst>
              <a:ext uri="{FF2B5EF4-FFF2-40B4-BE49-F238E27FC236}">
                <a16:creationId xmlns:a16="http://schemas.microsoft.com/office/drawing/2014/main" id="{0F1CE430-421A-5418-3C88-81B3CF43B6D8}"/>
              </a:ext>
            </a:extLst>
          </p:cNvPr>
          <p:cNvGrpSpPr/>
          <p:nvPr/>
        </p:nvGrpSpPr>
        <p:grpSpPr>
          <a:xfrm>
            <a:off x="10230649" y="4921969"/>
            <a:ext cx="1681163" cy="750888"/>
            <a:chOff x="10100487" y="5518068"/>
            <a:chExt cx="1682296" cy="750818"/>
          </a:xfrm>
        </p:grpSpPr>
        <p:sp>
          <p:nvSpPr>
            <p:cNvPr id="627" name="Rectangle 626">
              <a:extLst>
                <a:ext uri="{FF2B5EF4-FFF2-40B4-BE49-F238E27FC236}">
                  <a16:creationId xmlns:a16="http://schemas.microsoft.com/office/drawing/2014/main" id="{64941666-668E-2B86-78FD-65A40B87C1E4}"/>
                </a:ext>
              </a:extLst>
            </p:cNvPr>
            <p:cNvSpPr/>
            <p:nvPr/>
          </p:nvSpPr>
          <p:spPr>
            <a:xfrm>
              <a:off x="10100487" y="5919636"/>
              <a:ext cx="586217"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C00000"/>
                  </a:solidFill>
                </a:rPr>
                <a:t>88%</a:t>
              </a:r>
            </a:p>
          </p:txBody>
        </p:sp>
        <p:sp>
          <p:nvSpPr>
            <p:cNvPr id="628" name="Rectangle 627">
              <a:extLst>
                <a:ext uri="{FF2B5EF4-FFF2-40B4-BE49-F238E27FC236}">
                  <a16:creationId xmlns:a16="http://schemas.microsoft.com/office/drawing/2014/main" id="{3EF0C8FD-C44E-0C04-0F54-E20CFE2F8818}"/>
                </a:ext>
              </a:extLst>
            </p:cNvPr>
            <p:cNvSpPr/>
            <p:nvPr/>
          </p:nvSpPr>
          <p:spPr>
            <a:xfrm>
              <a:off x="10627917" y="5919636"/>
              <a:ext cx="586217"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C00000"/>
                  </a:solidFill>
                </a:rPr>
                <a:t>82%</a:t>
              </a:r>
            </a:p>
          </p:txBody>
        </p:sp>
        <p:sp>
          <p:nvSpPr>
            <p:cNvPr id="629" name="Rectangle 628">
              <a:extLst>
                <a:ext uri="{FF2B5EF4-FFF2-40B4-BE49-F238E27FC236}">
                  <a16:creationId xmlns:a16="http://schemas.microsoft.com/office/drawing/2014/main" id="{60FF4D3C-DA1C-E4D9-D443-19494D158D51}"/>
                </a:ext>
              </a:extLst>
            </p:cNvPr>
            <p:cNvSpPr/>
            <p:nvPr/>
          </p:nvSpPr>
          <p:spPr>
            <a:xfrm>
              <a:off x="11147179" y="5919636"/>
              <a:ext cx="586217"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C00000"/>
                  </a:solidFill>
                </a:rPr>
                <a:t> 94%</a:t>
              </a:r>
            </a:p>
          </p:txBody>
        </p:sp>
        <p:cxnSp>
          <p:nvCxnSpPr>
            <p:cNvPr id="630" name="Straight Connector 629">
              <a:extLst>
                <a:ext uri="{FF2B5EF4-FFF2-40B4-BE49-F238E27FC236}">
                  <a16:creationId xmlns:a16="http://schemas.microsoft.com/office/drawing/2014/main" id="{77108294-E262-EEF2-CA0D-F09D6CEC1C14}"/>
                </a:ext>
              </a:extLst>
            </p:cNvPr>
            <p:cNvCxnSpPr>
              <a:cxnSpLocks/>
            </p:cNvCxnSpPr>
            <p:nvPr/>
          </p:nvCxnSpPr>
          <p:spPr>
            <a:xfrm>
              <a:off x="10211579" y="5831809"/>
              <a:ext cx="1418892" cy="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631" name="Straight Connector 630">
              <a:extLst>
                <a:ext uri="{FF2B5EF4-FFF2-40B4-BE49-F238E27FC236}">
                  <a16:creationId xmlns:a16="http://schemas.microsoft.com/office/drawing/2014/main" id="{E5AEE8AC-935A-5873-20B6-9FF6495E76CC}"/>
                </a:ext>
              </a:extLst>
            </p:cNvPr>
            <p:cNvCxnSpPr>
              <a:cxnSpLocks/>
            </p:cNvCxnSpPr>
            <p:nvPr/>
          </p:nvCxnSpPr>
          <p:spPr>
            <a:xfrm>
              <a:off x="11175903" y="5828634"/>
              <a:ext cx="0" cy="265113"/>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632" name="Straight Connector 631">
              <a:extLst>
                <a:ext uri="{FF2B5EF4-FFF2-40B4-BE49-F238E27FC236}">
                  <a16:creationId xmlns:a16="http://schemas.microsoft.com/office/drawing/2014/main" id="{FD140A76-F96A-FE52-1C20-F2B4BC2F7D02}"/>
                </a:ext>
              </a:extLst>
            </p:cNvPr>
            <p:cNvCxnSpPr>
              <a:cxnSpLocks/>
            </p:cNvCxnSpPr>
            <p:nvPr/>
          </p:nvCxnSpPr>
          <p:spPr>
            <a:xfrm>
              <a:off x="10666148" y="5831809"/>
              <a:ext cx="0" cy="274638"/>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sp>
          <p:nvSpPr>
            <p:cNvPr id="633" name="Rectangle 632">
              <a:extLst>
                <a:ext uri="{FF2B5EF4-FFF2-40B4-BE49-F238E27FC236}">
                  <a16:creationId xmlns:a16="http://schemas.microsoft.com/office/drawing/2014/main" id="{C9771912-1E05-52EE-8401-AB316A820C2C}"/>
                </a:ext>
              </a:extLst>
            </p:cNvPr>
            <p:cNvSpPr/>
            <p:nvPr/>
          </p:nvSpPr>
          <p:spPr>
            <a:xfrm>
              <a:off x="10509545" y="5518068"/>
              <a:ext cx="822960"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rgbClr val="C00000"/>
                  </a:solidFill>
                </a:rPr>
                <a:t>87%</a:t>
              </a:r>
            </a:p>
          </p:txBody>
        </p:sp>
        <p:sp>
          <p:nvSpPr>
            <p:cNvPr id="634" name="Rectangle 633">
              <a:extLst>
                <a:ext uri="{FF2B5EF4-FFF2-40B4-BE49-F238E27FC236}">
                  <a16:creationId xmlns:a16="http://schemas.microsoft.com/office/drawing/2014/main" id="{7D54D544-F02B-1511-DEB6-8D573A01F91D}"/>
                </a:ext>
              </a:extLst>
            </p:cNvPr>
            <p:cNvSpPr/>
            <p:nvPr/>
          </p:nvSpPr>
          <p:spPr>
            <a:xfrm>
              <a:off x="10100487" y="5753740"/>
              <a:ext cx="586217" cy="349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rPr>
                <a:t>NED</a:t>
              </a:r>
            </a:p>
          </p:txBody>
        </p:sp>
        <p:sp>
          <p:nvSpPr>
            <p:cNvPr id="635" name="Rectangle 634">
              <a:extLst>
                <a:ext uri="{FF2B5EF4-FFF2-40B4-BE49-F238E27FC236}">
                  <a16:creationId xmlns:a16="http://schemas.microsoft.com/office/drawing/2014/main" id="{4163117A-DF92-4A1D-46F0-870D5EAB669F}"/>
                </a:ext>
              </a:extLst>
            </p:cNvPr>
            <p:cNvSpPr/>
            <p:nvPr/>
          </p:nvSpPr>
          <p:spPr>
            <a:xfrm>
              <a:off x="10627917" y="5758833"/>
              <a:ext cx="586217" cy="349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rPr>
                <a:t>CEN</a:t>
              </a:r>
            </a:p>
          </p:txBody>
        </p:sp>
        <p:sp>
          <p:nvSpPr>
            <p:cNvPr id="636" name="Rectangle 635">
              <a:extLst>
                <a:ext uri="{FF2B5EF4-FFF2-40B4-BE49-F238E27FC236}">
                  <a16:creationId xmlns:a16="http://schemas.microsoft.com/office/drawing/2014/main" id="{7ADFB26A-34D2-4F1B-5241-8EC9C434DDF7}"/>
                </a:ext>
              </a:extLst>
            </p:cNvPr>
            <p:cNvSpPr/>
            <p:nvPr/>
          </p:nvSpPr>
          <p:spPr>
            <a:xfrm>
              <a:off x="11097792" y="5753740"/>
              <a:ext cx="684991" cy="349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rPr>
                <a:t>WEST</a:t>
              </a:r>
            </a:p>
          </p:txBody>
        </p:sp>
      </p:grpSp>
      <p:sp>
        <p:nvSpPr>
          <p:cNvPr id="644" name="TextBox 643">
            <a:extLst>
              <a:ext uri="{FF2B5EF4-FFF2-40B4-BE49-F238E27FC236}">
                <a16:creationId xmlns:a16="http://schemas.microsoft.com/office/drawing/2014/main" id="{9C1AED09-73A5-F369-D004-6798E5F03DF5}"/>
              </a:ext>
            </a:extLst>
          </p:cNvPr>
          <p:cNvSpPr txBox="1"/>
          <p:nvPr/>
        </p:nvSpPr>
        <p:spPr>
          <a:xfrm>
            <a:off x="327131" y="2968502"/>
            <a:ext cx="960225" cy="261938"/>
          </a:xfrm>
          <a:prstGeom prst="rect">
            <a:avLst/>
          </a:prstGeom>
          <a:noFill/>
        </p:spPr>
        <p:txBody>
          <a:bodyPr wrap="square" lIns="0" tIns="0" rIns="0" bIns="0" rtlCol="0">
            <a:noAutofit/>
          </a:bodyPr>
          <a:lstStyle/>
          <a:p>
            <a:pPr algn="r"/>
            <a:r>
              <a:rPr lang="en-US" sz="900" b="1" dirty="0"/>
              <a:t>Digital CR</a:t>
            </a:r>
          </a:p>
        </p:txBody>
      </p:sp>
      <p:sp>
        <p:nvSpPr>
          <p:cNvPr id="645" name="TextBox 644">
            <a:extLst>
              <a:ext uri="{FF2B5EF4-FFF2-40B4-BE49-F238E27FC236}">
                <a16:creationId xmlns:a16="http://schemas.microsoft.com/office/drawing/2014/main" id="{3117A91D-62EC-12C3-616D-515E7CF78E62}"/>
              </a:ext>
            </a:extLst>
          </p:cNvPr>
          <p:cNvSpPr txBox="1"/>
          <p:nvPr/>
        </p:nvSpPr>
        <p:spPr>
          <a:xfrm>
            <a:off x="368575" y="3282031"/>
            <a:ext cx="960225" cy="260350"/>
          </a:xfrm>
          <a:prstGeom prst="rect">
            <a:avLst/>
          </a:prstGeom>
          <a:noFill/>
        </p:spPr>
        <p:txBody>
          <a:bodyPr wrap="square" lIns="0" tIns="0" rIns="0" bIns="0" rtlCol="0">
            <a:noAutofit/>
          </a:bodyPr>
          <a:lstStyle/>
          <a:p>
            <a:pPr algn="r"/>
            <a:r>
              <a:rPr lang="en-US" sz="900" b="1" dirty="0"/>
              <a:t>Digital Share</a:t>
            </a:r>
          </a:p>
        </p:txBody>
      </p:sp>
      <p:grpSp>
        <p:nvGrpSpPr>
          <p:cNvPr id="762" name="Group 761">
            <a:extLst>
              <a:ext uri="{FF2B5EF4-FFF2-40B4-BE49-F238E27FC236}">
                <a16:creationId xmlns:a16="http://schemas.microsoft.com/office/drawing/2014/main" id="{7FC1D85A-54A8-B577-6CDF-3123E31364EF}"/>
              </a:ext>
            </a:extLst>
          </p:cNvPr>
          <p:cNvGrpSpPr/>
          <p:nvPr/>
        </p:nvGrpSpPr>
        <p:grpSpPr>
          <a:xfrm>
            <a:off x="717550" y="1725611"/>
            <a:ext cx="567776" cy="896695"/>
            <a:chOff x="55563" y="1526625"/>
            <a:chExt cx="825977" cy="897327"/>
          </a:xfrm>
          <a:solidFill>
            <a:schemeClr val="tx1">
              <a:lumMod val="50000"/>
              <a:lumOff val="50000"/>
            </a:schemeClr>
          </a:solidFill>
        </p:grpSpPr>
        <p:sp>
          <p:nvSpPr>
            <p:cNvPr id="763" name="Arrow: Pentagon 762">
              <a:extLst>
                <a:ext uri="{FF2B5EF4-FFF2-40B4-BE49-F238E27FC236}">
                  <a16:creationId xmlns:a16="http://schemas.microsoft.com/office/drawing/2014/main" id="{65076702-9967-2803-C809-D728A0444AD7}"/>
                </a:ext>
              </a:extLst>
            </p:cNvPr>
            <p:cNvSpPr/>
            <p:nvPr/>
          </p:nvSpPr>
          <p:spPr>
            <a:xfrm>
              <a:off x="55563" y="1526625"/>
              <a:ext cx="825977" cy="274320"/>
            </a:xfrm>
            <a:prstGeom prst="homePlate">
              <a:avLst/>
            </a:prstGeom>
            <a:grp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a:solidFill>
                    <a:schemeClr val="bg1"/>
                  </a:solidFill>
                </a:rPr>
                <a:t>NED</a:t>
              </a:r>
            </a:p>
          </p:txBody>
        </p:sp>
        <p:sp>
          <p:nvSpPr>
            <p:cNvPr id="764" name="Arrow: Pentagon 763">
              <a:extLst>
                <a:ext uri="{FF2B5EF4-FFF2-40B4-BE49-F238E27FC236}">
                  <a16:creationId xmlns:a16="http://schemas.microsoft.com/office/drawing/2014/main" id="{0B10C5B9-AF56-D8B0-2FC2-92E3A5F5EF31}"/>
                </a:ext>
              </a:extLst>
            </p:cNvPr>
            <p:cNvSpPr/>
            <p:nvPr/>
          </p:nvSpPr>
          <p:spPr>
            <a:xfrm>
              <a:off x="55563" y="1833373"/>
              <a:ext cx="825977" cy="274320"/>
            </a:xfrm>
            <a:prstGeom prst="homePlate">
              <a:avLst/>
            </a:prstGeom>
            <a:grp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a:solidFill>
                    <a:schemeClr val="bg1"/>
                  </a:solidFill>
                </a:rPr>
                <a:t>CEN</a:t>
              </a:r>
            </a:p>
          </p:txBody>
        </p:sp>
        <p:sp>
          <p:nvSpPr>
            <p:cNvPr id="765" name="Arrow: Pentagon 764">
              <a:extLst>
                <a:ext uri="{FF2B5EF4-FFF2-40B4-BE49-F238E27FC236}">
                  <a16:creationId xmlns:a16="http://schemas.microsoft.com/office/drawing/2014/main" id="{6E90479B-3D34-00CE-C7EA-8AA96D1A7807}"/>
                </a:ext>
              </a:extLst>
            </p:cNvPr>
            <p:cNvSpPr/>
            <p:nvPr/>
          </p:nvSpPr>
          <p:spPr>
            <a:xfrm>
              <a:off x="55563" y="2149632"/>
              <a:ext cx="825977" cy="274320"/>
            </a:xfrm>
            <a:prstGeom prst="homePlate">
              <a:avLst/>
            </a:prstGeom>
            <a:grp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a:solidFill>
                    <a:schemeClr val="bg1"/>
                  </a:solidFill>
                </a:rPr>
                <a:t>WEST</a:t>
              </a:r>
            </a:p>
          </p:txBody>
        </p:sp>
      </p:grpSp>
      <p:grpSp>
        <p:nvGrpSpPr>
          <p:cNvPr id="2" name="Group 1">
            <a:extLst>
              <a:ext uri="{FF2B5EF4-FFF2-40B4-BE49-F238E27FC236}">
                <a16:creationId xmlns:a16="http://schemas.microsoft.com/office/drawing/2014/main" id="{6E87B781-7013-563A-3A92-2850881DD1BE}"/>
              </a:ext>
            </a:extLst>
          </p:cNvPr>
          <p:cNvGrpSpPr/>
          <p:nvPr/>
        </p:nvGrpSpPr>
        <p:grpSpPr>
          <a:xfrm>
            <a:off x="1415614" y="1736702"/>
            <a:ext cx="1435535" cy="932968"/>
            <a:chOff x="3317132" y="1496763"/>
            <a:chExt cx="1636640" cy="901154"/>
          </a:xfrm>
        </p:grpSpPr>
        <p:sp>
          <p:nvSpPr>
            <p:cNvPr id="4" name="Rectangle 3">
              <a:extLst>
                <a:ext uri="{FF2B5EF4-FFF2-40B4-BE49-F238E27FC236}">
                  <a16:creationId xmlns:a16="http://schemas.microsoft.com/office/drawing/2014/main" id="{85863559-BB24-73E6-DA94-C9893F3123D3}"/>
                </a:ext>
              </a:extLst>
            </p:cNvPr>
            <p:cNvSpPr/>
            <p:nvPr/>
          </p:nvSpPr>
          <p:spPr>
            <a:xfrm>
              <a:off x="3997427" y="1496763"/>
              <a:ext cx="956345" cy="569969"/>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highlight>
                    <a:srgbClr val="FFFFFF"/>
                  </a:highlight>
                </a:rPr>
                <a:t>$49 BI 100 + SE Converged*</a:t>
              </a:r>
            </a:p>
          </p:txBody>
        </p:sp>
        <p:sp>
          <p:nvSpPr>
            <p:cNvPr id="5" name="Rectangle 4">
              <a:extLst>
                <a:ext uri="{FF2B5EF4-FFF2-40B4-BE49-F238E27FC236}">
                  <a16:creationId xmlns:a16="http://schemas.microsoft.com/office/drawing/2014/main" id="{5B8484A9-CA32-507C-E0B7-EAA7C0947200}"/>
                </a:ext>
              </a:extLst>
            </p:cNvPr>
            <p:cNvSpPr/>
            <p:nvPr/>
          </p:nvSpPr>
          <p:spPr>
            <a:xfrm>
              <a:off x="3318355" y="2110263"/>
              <a:ext cx="643435" cy="287654"/>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highlight>
                    <a:srgbClr val="FFFFFF"/>
                  </a:highlight>
                </a:rPr>
                <a:t>$39 BI 50</a:t>
              </a:r>
            </a:p>
          </p:txBody>
        </p:sp>
        <p:sp>
          <p:nvSpPr>
            <p:cNvPr id="7" name="Rectangle 6">
              <a:extLst>
                <a:ext uri="{FF2B5EF4-FFF2-40B4-BE49-F238E27FC236}">
                  <a16:creationId xmlns:a16="http://schemas.microsoft.com/office/drawing/2014/main" id="{6475FF45-08BB-6AD5-E3C1-E7A6863FDCC1}"/>
                </a:ext>
              </a:extLst>
            </p:cNvPr>
            <p:cNvSpPr/>
            <p:nvPr/>
          </p:nvSpPr>
          <p:spPr>
            <a:xfrm>
              <a:off x="3317132" y="1496764"/>
              <a:ext cx="644658" cy="576619"/>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highlight>
                    <a:srgbClr val="FFFFFF"/>
                  </a:highlight>
                </a:rPr>
                <a:t>$39 BI 50</a:t>
              </a:r>
            </a:p>
          </p:txBody>
        </p:sp>
        <p:sp>
          <p:nvSpPr>
            <p:cNvPr id="9" name="Rectangle 8">
              <a:extLst>
                <a:ext uri="{FF2B5EF4-FFF2-40B4-BE49-F238E27FC236}">
                  <a16:creationId xmlns:a16="http://schemas.microsoft.com/office/drawing/2014/main" id="{D19F5B38-7C7C-BF57-E9CA-297C892A6D54}"/>
                </a:ext>
              </a:extLst>
            </p:cNvPr>
            <p:cNvSpPr/>
            <p:nvPr/>
          </p:nvSpPr>
          <p:spPr>
            <a:xfrm>
              <a:off x="3996048" y="2092048"/>
              <a:ext cx="957724" cy="297208"/>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highlight>
                    <a:srgbClr val="FFFFFF"/>
                  </a:highlight>
                </a:rPr>
                <a:t>$49 BI 100 + SE Converged</a:t>
              </a:r>
            </a:p>
          </p:txBody>
        </p:sp>
      </p:grpSp>
      <p:sp>
        <p:nvSpPr>
          <p:cNvPr id="11" name="Rectangle 10">
            <a:extLst>
              <a:ext uri="{FF2B5EF4-FFF2-40B4-BE49-F238E27FC236}">
                <a16:creationId xmlns:a16="http://schemas.microsoft.com/office/drawing/2014/main" id="{C9599262-A7ED-E036-5C71-FA5BF9642A72}"/>
              </a:ext>
            </a:extLst>
          </p:cNvPr>
          <p:cNvSpPr/>
          <p:nvPr/>
        </p:nvSpPr>
        <p:spPr>
          <a:xfrm>
            <a:off x="2898597" y="1755762"/>
            <a:ext cx="633403" cy="283265"/>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highlight>
                  <a:srgbClr val="FFFFFF"/>
                </a:highlight>
              </a:rPr>
              <a:t>$39 BI 50 + SE</a:t>
            </a:r>
          </a:p>
        </p:txBody>
      </p:sp>
      <p:sp>
        <p:nvSpPr>
          <p:cNvPr id="12" name="Rectangle 11">
            <a:extLst>
              <a:ext uri="{FF2B5EF4-FFF2-40B4-BE49-F238E27FC236}">
                <a16:creationId xmlns:a16="http://schemas.microsoft.com/office/drawing/2014/main" id="{D1CA7F7E-C7D0-3E5B-E40B-F24FB340110D}"/>
              </a:ext>
            </a:extLst>
          </p:cNvPr>
          <p:cNvSpPr/>
          <p:nvPr/>
        </p:nvSpPr>
        <p:spPr>
          <a:xfrm>
            <a:off x="2897631" y="2108201"/>
            <a:ext cx="2102409" cy="229098"/>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solidFill>
                  <a:schemeClr val="tx1"/>
                </a:solidFill>
                <a:highlight>
                  <a:srgbClr val="FFFFFF"/>
                </a:highlight>
              </a:rPr>
              <a:t>$39 BI 100 + SE</a:t>
            </a:r>
          </a:p>
        </p:txBody>
      </p:sp>
      <p:sp>
        <p:nvSpPr>
          <p:cNvPr id="13" name="Rectangle 12">
            <a:extLst>
              <a:ext uri="{FF2B5EF4-FFF2-40B4-BE49-F238E27FC236}">
                <a16:creationId xmlns:a16="http://schemas.microsoft.com/office/drawing/2014/main" id="{733315FC-C9FB-E02A-7298-0893F674D664}"/>
              </a:ext>
            </a:extLst>
          </p:cNvPr>
          <p:cNvSpPr/>
          <p:nvPr/>
        </p:nvSpPr>
        <p:spPr>
          <a:xfrm>
            <a:off x="2897631" y="2415632"/>
            <a:ext cx="2102409" cy="216929"/>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solidFill>
                  <a:schemeClr val="tx1"/>
                </a:solidFill>
                <a:highlight>
                  <a:srgbClr val="FFFFFF"/>
                </a:highlight>
              </a:rPr>
              <a:t>$</a:t>
            </a:r>
            <a:r>
              <a:rPr lang="en-US" sz="700" dirty="0">
                <a:solidFill>
                  <a:schemeClr val="tx1"/>
                </a:solidFill>
                <a:highlight>
                  <a:srgbClr val="FFFFFF"/>
                </a:highlight>
              </a:rPr>
              <a:t>49.99</a:t>
            </a:r>
            <a:r>
              <a:rPr lang="en-US" sz="700">
                <a:solidFill>
                  <a:schemeClr val="tx1"/>
                </a:solidFill>
                <a:highlight>
                  <a:srgbClr val="FFFFFF"/>
                </a:highlight>
              </a:rPr>
              <a:t> BI 50 + SE</a:t>
            </a:r>
          </a:p>
        </p:txBody>
      </p:sp>
      <p:sp>
        <p:nvSpPr>
          <p:cNvPr id="15" name="Rectangle 14">
            <a:extLst>
              <a:ext uri="{FF2B5EF4-FFF2-40B4-BE49-F238E27FC236}">
                <a16:creationId xmlns:a16="http://schemas.microsoft.com/office/drawing/2014/main" id="{8D8A9835-87DD-AA50-0FD2-23E57212EBB5}"/>
              </a:ext>
            </a:extLst>
          </p:cNvPr>
          <p:cNvSpPr/>
          <p:nvPr/>
        </p:nvSpPr>
        <p:spPr>
          <a:xfrm>
            <a:off x="3594736" y="1765420"/>
            <a:ext cx="614115" cy="283265"/>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solidFill>
                  <a:schemeClr val="tx1"/>
                </a:solidFill>
                <a:highlight>
                  <a:srgbClr val="FFFFFF"/>
                </a:highlight>
              </a:rPr>
              <a:t>$</a:t>
            </a:r>
            <a:r>
              <a:rPr lang="en-US" sz="700" dirty="0">
                <a:solidFill>
                  <a:schemeClr val="tx1"/>
                </a:solidFill>
                <a:highlight>
                  <a:srgbClr val="FFFFFF"/>
                </a:highlight>
              </a:rPr>
              <a:t>69.99</a:t>
            </a:r>
            <a:r>
              <a:rPr lang="en-US" sz="700">
                <a:solidFill>
                  <a:schemeClr val="tx1"/>
                </a:solidFill>
                <a:highlight>
                  <a:srgbClr val="FFFFFF"/>
                </a:highlight>
              </a:rPr>
              <a:t> BI 100+ SE</a:t>
            </a:r>
          </a:p>
        </p:txBody>
      </p:sp>
      <p:sp>
        <p:nvSpPr>
          <p:cNvPr id="18" name="Rectangle 17">
            <a:extLst>
              <a:ext uri="{FF2B5EF4-FFF2-40B4-BE49-F238E27FC236}">
                <a16:creationId xmlns:a16="http://schemas.microsoft.com/office/drawing/2014/main" id="{53FB7047-10DC-8602-5579-95EFE7A110CE}"/>
              </a:ext>
            </a:extLst>
          </p:cNvPr>
          <p:cNvSpPr/>
          <p:nvPr/>
        </p:nvSpPr>
        <p:spPr>
          <a:xfrm>
            <a:off x="4232568" y="1755762"/>
            <a:ext cx="767472" cy="292922"/>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solidFill>
                  <a:schemeClr val="tx1"/>
                </a:solidFill>
                <a:highlight>
                  <a:srgbClr val="FFFFFF"/>
                </a:highlight>
              </a:rPr>
              <a:t>$49 BI 50+SE</a:t>
            </a:r>
          </a:p>
        </p:txBody>
      </p:sp>
      <p:sp>
        <p:nvSpPr>
          <p:cNvPr id="20" name="Rectangle 19">
            <a:extLst>
              <a:ext uri="{FF2B5EF4-FFF2-40B4-BE49-F238E27FC236}">
                <a16:creationId xmlns:a16="http://schemas.microsoft.com/office/drawing/2014/main" id="{3EFAE215-8366-4A3B-7784-2D49FD70204E}"/>
              </a:ext>
            </a:extLst>
          </p:cNvPr>
          <p:cNvSpPr/>
          <p:nvPr/>
        </p:nvSpPr>
        <p:spPr>
          <a:xfrm>
            <a:off x="5046522" y="2057898"/>
            <a:ext cx="1819743" cy="274127"/>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solidFill>
                  <a:schemeClr val="tx1"/>
                </a:solidFill>
                <a:highlight>
                  <a:srgbClr val="FFFFFF"/>
                </a:highlight>
              </a:rPr>
              <a:t>$49 BI 100 + SE</a:t>
            </a:r>
          </a:p>
        </p:txBody>
      </p:sp>
      <p:sp>
        <p:nvSpPr>
          <p:cNvPr id="28" name="Rectangle 27">
            <a:extLst>
              <a:ext uri="{FF2B5EF4-FFF2-40B4-BE49-F238E27FC236}">
                <a16:creationId xmlns:a16="http://schemas.microsoft.com/office/drawing/2014/main" id="{25E17000-BBB0-8773-2E94-E3D7D3594B79}"/>
              </a:ext>
            </a:extLst>
          </p:cNvPr>
          <p:cNvSpPr/>
          <p:nvPr/>
        </p:nvSpPr>
        <p:spPr>
          <a:xfrm>
            <a:off x="5048807" y="2357857"/>
            <a:ext cx="1152562" cy="283285"/>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solidFill>
                  <a:schemeClr val="tx1"/>
                </a:solidFill>
                <a:highlight>
                  <a:srgbClr val="FFFFFF"/>
                </a:highlight>
              </a:rPr>
              <a:t>$59.99 BI50 +SE</a:t>
            </a:r>
          </a:p>
        </p:txBody>
      </p:sp>
      <p:sp>
        <p:nvSpPr>
          <p:cNvPr id="42" name="Rectangle 41">
            <a:extLst>
              <a:ext uri="{FF2B5EF4-FFF2-40B4-BE49-F238E27FC236}">
                <a16:creationId xmlns:a16="http://schemas.microsoft.com/office/drawing/2014/main" id="{264380FB-6BF8-C494-C4C8-415097C2735B}"/>
              </a:ext>
            </a:extLst>
          </p:cNvPr>
          <p:cNvSpPr/>
          <p:nvPr/>
        </p:nvSpPr>
        <p:spPr>
          <a:xfrm>
            <a:off x="5048806" y="1759364"/>
            <a:ext cx="1160226" cy="272702"/>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solidFill>
                  <a:schemeClr val="tx1"/>
                </a:solidFill>
                <a:highlight>
                  <a:srgbClr val="FFFFFF"/>
                </a:highlight>
              </a:rPr>
              <a:t>$39 BI 50+SE</a:t>
            </a:r>
          </a:p>
        </p:txBody>
      </p:sp>
      <p:sp>
        <p:nvSpPr>
          <p:cNvPr id="43" name="Rectangle 42">
            <a:extLst>
              <a:ext uri="{FF2B5EF4-FFF2-40B4-BE49-F238E27FC236}">
                <a16:creationId xmlns:a16="http://schemas.microsoft.com/office/drawing/2014/main" id="{061A50C1-C462-E0CB-C6A6-0A0F9BDD4442}"/>
              </a:ext>
            </a:extLst>
          </p:cNvPr>
          <p:cNvSpPr/>
          <p:nvPr/>
        </p:nvSpPr>
        <p:spPr>
          <a:xfrm>
            <a:off x="6224280" y="1757187"/>
            <a:ext cx="645845" cy="272702"/>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solidFill>
                  <a:schemeClr val="tx1"/>
                </a:solidFill>
                <a:highlight>
                  <a:srgbClr val="FFFFFF"/>
                </a:highlight>
              </a:rPr>
              <a:t>$49BI 50+SE</a:t>
            </a:r>
          </a:p>
        </p:txBody>
      </p:sp>
      <p:sp>
        <p:nvSpPr>
          <p:cNvPr id="44" name="Rectangle 43">
            <a:extLst>
              <a:ext uri="{FF2B5EF4-FFF2-40B4-BE49-F238E27FC236}">
                <a16:creationId xmlns:a16="http://schemas.microsoft.com/office/drawing/2014/main" id="{81A96C26-ECCC-06E0-64B2-93F027736BB6}"/>
              </a:ext>
            </a:extLst>
          </p:cNvPr>
          <p:cNvSpPr/>
          <p:nvPr/>
        </p:nvSpPr>
        <p:spPr>
          <a:xfrm>
            <a:off x="6224280" y="2360117"/>
            <a:ext cx="644134" cy="281003"/>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solidFill>
                  <a:schemeClr val="tx1"/>
                </a:solidFill>
                <a:highlight>
                  <a:srgbClr val="FFFFFF"/>
                </a:highlight>
              </a:rPr>
              <a:t>$49BI 50+SE</a:t>
            </a:r>
          </a:p>
        </p:txBody>
      </p:sp>
      <p:sp>
        <p:nvSpPr>
          <p:cNvPr id="45" name="Rectangle 44">
            <a:extLst>
              <a:ext uri="{FF2B5EF4-FFF2-40B4-BE49-F238E27FC236}">
                <a16:creationId xmlns:a16="http://schemas.microsoft.com/office/drawing/2014/main" id="{E4DEF310-1037-2E2E-B8C7-837D7542CE42}"/>
              </a:ext>
            </a:extLst>
          </p:cNvPr>
          <p:cNvSpPr/>
          <p:nvPr/>
        </p:nvSpPr>
        <p:spPr>
          <a:xfrm>
            <a:off x="6905171" y="1755763"/>
            <a:ext cx="1577122" cy="243976"/>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solidFill>
                  <a:schemeClr val="tx1"/>
                </a:solidFill>
                <a:highlight>
                  <a:srgbClr val="FFFFFF"/>
                </a:highlight>
              </a:rPr>
              <a:t>$49.99 BI 50 + SE</a:t>
            </a:r>
          </a:p>
        </p:txBody>
      </p:sp>
      <p:sp>
        <p:nvSpPr>
          <p:cNvPr id="46" name="Rectangle 45">
            <a:extLst>
              <a:ext uri="{FF2B5EF4-FFF2-40B4-BE49-F238E27FC236}">
                <a16:creationId xmlns:a16="http://schemas.microsoft.com/office/drawing/2014/main" id="{5A21BE0E-2E8F-10B7-1AC8-3386B36A4EAD}"/>
              </a:ext>
            </a:extLst>
          </p:cNvPr>
          <p:cNvSpPr/>
          <p:nvPr/>
        </p:nvSpPr>
        <p:spPr>
          <a:xfrm>
            <a:off x="6905172" y="2357856"/>
            <a:ext cx="1575927" cy="243977"/>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solidFill>
                  <a:schemeClr val="tx1"/>
                </a:solidFill>
                <a:highlight>
                  <a:srgbClr val="FFFFFF"/>
                </a:highlight>
              </a:rPr>
              <a:t>$49.99 BI 50 + SE</a:t>
            </a:r>
          </a:p>
        </p:txBody>
      </p:sp>
      <p:sp>
        <p:nvSpPr>
          <p:cNvPr id="47" name="Rectangle 46">
            <a:extLst>
              <a:ext uri="{FF2B5EF4-FFF2-40B4-BE49-F238E27FC236}">
                <a16:creationId xmlns:a16="http://schemas.microsoft.com/office/drawing/2014/main" id="{DDBCAB06-5F44-D34F-0C75-A8696DABBC98}"/>
              </a:ext>
            </a:extLst>
          </p:cNvPr>
          <p:cNvSpPr/>
          <p:nvPr/>
        </p:nvSpPr>
        <p:spPr>
          <a:xfrm>
            <a:off x="6906366" y="2057387"/>
            <a:ext cx="1575927" cy="231957"/>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highlight>
                  <a:srgbClr val="FFFFFF"/>
                </a:highlight>
              </a:rPr>
              <a:t>$49 BI 100 + SE w/ Mobile</a:t>
            </a:r>
          </a:p>
        </p:txBody>
      </p:sp>
      <p:sp>
        <p:nvSpPr>
          <p:cNvPr id="48" name="Rectangle 47">
            <a:extLst>
              <a:ext uri="{FF2B5EF4-FFF2-40B4-BE49-F238E27FC236}">
                <a16:creationId xmlns:a16="http://schemas.microsoft.com/office/drawing/2014/main" id="{EB0CB7C0-D1DF-43A6-406A-4E6C0431EA46}"/>
              </a:ext>
            </a:extLst>
          </p:cNvPr>
          <p:cNvSpPr/>
          <p:nvPr/>
        </p:nvSpPr>
        <p:spPr>
          <a:xfrm>
            <a:off x="8517339" y="1750197"/>
            <a:ext cx="1021999" cy="272702"/>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highlight>
                  <a:srgbClr val="FFFFFF"/>
                </a:highlight>
              </a:rPr>
              <a:t>$79.99 BI 300+SE</a:t>
            </a:r>
          </a:p>
        </p:txBody>
      </p:sp>
      <p:sp>
        <p:nvSpPr>
          <p:cNvPr id="49" name="Rectangle 48">
            <a:extLst>
              <a:ext uri="{FF2B5EF4-FFF2-40B4-BE49-F238E27FC236}">
                <a16:creationId xmlns:a16="http://schemas.microsoft.com/office/drawing/2014/main" id="{6E08FA51-7F3E-3F4F-4B1B-FA9DD818B4C2}"/>
              </a:ext>
            </a:extLst>
          </p:cNvPr>
          <p:cNvSpPr/>
          <p:nvPr/>
        </p:nvSpPr>
        <p:spPr>
          <a:xfrm>
            <a:off x="8518302" y="2070163"/>
            <a:ext cx="1016417" cy="227615"/>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highlight>
                  <a:srgbClr val="FFFFFF"/>
                </a:highlight>
              </a:rPr>
              <a:t>$49 BI 300+SE</a:t>
            </a:r>
          </a:p>
        </p:txBody>
      </p:sp>
      <p:sp>
        <p:nvSpPr>
          <p:cNvPr id="50" name="Rectangle 49">
            <a:extLst>
              <a:ext uri="{FF2B5EF4-FFF2-40B4-BE49-F238E27FC236}">
                <a16:creationId xmlns:a16="http://schemas.microsoft.com/office/drawing/2014/main" id="{9E707BD0-281C-7FC5-8446-FA217440E8F9}"/>
              </a:ext>
            </a:extLst>
          </p:cNvPr>
          <p:cNvSpPr/>
          <p:nvPr/>
        </p:nvSpPr>
        <p:spPr>
          <a:xfrm>
            <a:off x="8531016" y="2346091"/>
            <a:ext cx="1016416" cy="243977"/>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highlight>
                  <a:srgbClr val="FFFFFF"/>
                </a:highlight>
              </a:rPr>
              <a:t>$49 BI 150 + SE</a:t>
            </a:r>
          </a:p>
        </p:txBody>
      </p:sp>
    </p:spTree>
    <p:extLst>
      <p:ext uri="{BB962C8B-B14F-4D97-AF65-F5344CB8AC3E}">
        <p14:creationId xmlns:p14="http://schemas.microsoft.com/office/powerpoint/2010/main" val="3577123802"/>
      </p:ext>
    </p:extLst>
  </p:cSld>
  <p:clrMapOvr>
    <a:masterClrMapping/>
  </p:clrMapOvr>
  <p:transition spd="med"/>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37480E6-E559-4F76-AF62-08CFD224694D}"/>
              </a:ext>
            </a:extLst>
          </p:cNvPr>
          <p:cNvGraphicFramePr>
            <a:graphicFrameLocks noChangeAspect="1"/>
          </p:cNvGraphicFramePr>
          <p:nvPr>
            <p:custDataLst>
              <p:tags r:id="rId1"/>
            </p:custDataLst>
            <p:extLst>
              <p:ext uri="{D42A27DB-BD31-4B8C-83A1-F6EECF244321}">
                <p14:modId xmlns:p14="http://schemas.microsoft.com/office/powerpoint/2010/main" val="19823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7" imgW="317" imgH="318" progId="TCLayout.ActiveDocument.1">
                  <p:embed/>
                </p:oleObj>
              </mc:Choice>
              <mc:Fallback>
                <p:oleObj name="think-cell Slide" r:id="rId37" imgW="317" imgH="318" progId="TCLayout.ActiveDocument.1">
                  <p:embed/>
                  <p:pic>
                    <p:nvPicPr>
                      <p:cNvPr id="6" name="think-cell data - do not delete" hidden="1">
                        <a:extLst>
                          <a:ext uri="{FF2B5EF4-FFF2-40B4-BE49-F238E27FC236}">
                            <a16:creationId xmlns:a16="http://schemas.microsoft.com/office/drawing/2014/main" id="{837480E6-E559-4F76-AF62-08CFD224694D}"/>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52BC261-C02D-46AB-91BF-A8AB02AC8AAC}"/>
              </a:ext>
            </a:extLst>
          </p:cNvPr>
          <p:cNvSpPr>
            <a:spLocks noGrp="1"/>
          </p:cNvSpPr>
          <p:nvPr>
            <p:ph type="title"/>
          </p:nvPr>
        </p:nvSpPr>
        <p:spPr>
          <a:xfrm>
            <a:off x="463548" y="514928"/>
            <a:ext cx="11271251" cy="365760"/>
          </a:xfrm>
        </p:spPr>
        <p:txBody>
          <a:bodyPr vert="horz"/>
          <a:lstStyle/>
          <a:p>
            <a:r>
              <a:rPr lang="en-US" dirty="0"/>
              <a:t>SB Digital Influence Revenue xx% MOM; Share xx% MOM</a:t>
            </a:r>
          </a:p>
        </p:txBody>
      </p:sp>
      <p:sp>
        <p:nvSpPr>
          <p:cNvPr id="129" name="TextBox 128">
            <a:extLst>
              <a:ext uri="{FF2B5EF4-FFF2-40B4-BE49-F238E27FC236}">
                <a16:creationId xmlns:a16="http://schemas.microsoft.com/office/drawing/2014/main" id="{F18C0705-4AC6-47BA-B07D-77C5CC7D91DF}"/>
              </a:ext>
            </a:extLst>
          </p:cNvPr>
          <p:cNvSpPr txBox="1"/>
          <p:nvPr/>
        </p:nvSpPr>
        <p:spPr>
          <a:xfrm>
            <a:off x="320694" y="5902325"/>
            <a:ext cx="914400" cy="184150"/>
          </a:xfrm>
          <a:prstGeom prst="rect">
            <a:avLst/>
          </a:prstGeom>
          <a:noFill/>
        </p:spPr>
        <p:txBody>
          <a:bodyPr wrap="square" lIns="0" tIns="0" rIns="0" bIns="0" rtlCol="0" anchor="ctr">
            <a:noAutofit/>
          </a:bodyPr>
          <a:lstStyle/>
          <a:p>
            <a:pPr algn="r"/>
            <a:r>
              <a:rPr lang="en-US" sz="800" b="1" dirty="0"/>
              <a:t>Fiscal Month</a:t>
            </a:r>
          </a:p>
        </p:txBody>
      </p:sp>
      <p:sp>
        <p:nvSpPr>
          <p:cNvPr id="85" name="TextBox 84">
            <a:extLst>
              <a:ext uri="{FF2B5EF4-FFF2-40B4-BE49-F238E27FC236}">
                <a16:creationId xmlns:a16="http://schemas.microsoft.com/office/drawing/2014/main" id="{FAE1ACC1-4826-DA93-A3F1-04B86DFB29B8}"/>
              </a:ext>
            </a:extLst>
          </p:cNvPr>
          <p:cNvSpPr txBox="1">
            <a:spLocks/>
          </p:cNvSpPr>
          <p:nvPr/>
        </p:nvSpPr>
        <p:spPr>
          <a:xfrm>
            <a:off x="2427568" y="6471184"/>
            <a:ext cx="6054725" cy="405866"/>
          </a:xfrm>
          <a:prstGeom prst="rect">
            <a:avLst/>
          </a:prstGeom>
          <a:noFill/>
        </p:spPr>
        <p:txBody>
          <a:bodyPr wrap="square" lIns="0" tIns="0" rIns="0" bIns="0" rtlCol="0">
            <a:noAutofit/>
          </a:bodyPr>
          <a:lstStyle>
            <a:defPPr>
              <a:defRPr lang="en-US"/>
            </a:defPPr>
            <a:lvl1pPr>
              <a:defRPr sz="800" i="1"/>
            </a:lvl1pPr>
          </a:lstStyle>
          <a:p>
            <a:pPr marL="137160" indent="-137160">
              <a:buFont typeface="+mj-lt"/>
              <a:buAutoNum type="arabicPeriod"/>
            </a:pPr>
            <a:r>
              <a:rPr lang="en-US">
                <a:solidFill>
                  <a:schemeClr val="tx1">
                    <a:lumMod val="75000"/>
                    <a:lumOff val="25000"/>
                  </a:schemeClr>
                </a:solidFill>
              </a:rPr>
              <a:t>In market offers sourced from </a:t>
            </a:r>
            <a:r>
              <a:rPr lang="en-US">
                <a:solidFill>
                  <a:schemeClr val="tx1">
                    <a:lumMod val="75000"/>
                    <a:lumOff val="25000"/>
                  </a:schemeClr>
                </a:solidFill>
                <a:hlinkClick r:id="rId39"/>
              </a:rPr>
              <a:t>CB Merchandising Calendar</a:t>
            </a:r>
            <a:endParaRPr lang="en-US">
              <a:solidFill>
                <a:schemeClr val="tx1">
                  <a:lumMod val="75000"/>
                  <a:lumOff val="25000"/>
                </a:schemeClr>
              </a:solidFill>
            </a:endParaRPr>
          </a:p>
          <a:p>
            <a:pPr marL="137160" indent="-137160"/>
            <a:endParaRPr lang="en-US">
              <a:solidFill>
                <a:schemeClr val="tx1">
                  <a:lumMod val="75000"/>
                  <a:lumOff val="25000"/>
                </a:schemeClr>
              </a:solidFill>
            </a:endParaRPr>
          </a:p>
        </p:txBody>
      </p:sp>
      <mc:AlternateContent xmlns:mc="http://schemas.openxmlformats.org/markup-compatibility/2006" xmlns:p14="http://schemas.microsoft.com/office/powerpoint/2010/main">
        <mc:Choice Requires="p14">
          <p:contentPart p14:bwMode="auto" r:id="rId40">
            <p14:nvContentPartPr>
              <p14:cNvPr id="11" name="Ink 10">
                <a:extLst>
                  <a:ext uri="{FF2B5EF4-FFF2-40B4-BE49-F238E27FC236}">
                    <a16:creationId xmlns:a16="http://schemas.microsoft.com/office/drawing/2014/main" id="{A1717E1F-5CAE-4EB7-079D-DF353316C1AF}"/>
                  </a:ext>
                </a:extLst>
              </p14:cNvPr>
              <p14:cNvContentPartPr/>
              <p14:nvPr/>
            </p14:nvContentPartPr>
            <p14:xfrm>
              <a:off x="-444500" y="6036400"/>
              <a:ext cx="0" cy="360"/>
            </p14:xfrm>
          </p:contentPart>
        </mc:Choice>
        <mc:Fallback xmlns="">
          <p:pic>
            <p:nvPicPr>
              <p:cNvPr id="11" name="Ink 10">
                <a:extLst>
                  <a:ext uri="{FF2B5EF4-FFF2-40B4-BE49-F238E27FC236}">
                    <a16:creationId xmlns:a16="http://schemas.microsoft.com/office/drawing/2014/main" id="{A1717E1F-5CAE-4EB7-079D-DF353316C1AF}"/>
                  </a:ext>
                </a:extLst>
              </p:cNvPr>
              <p:cNvPicPr/>
              <p:nvPr/>
            </p:nvPicPr>
            <p:blipFill>
              <a:blip r:embed="rId43"/>
              <a:stretch>
                <a:fillRect/>
              </a:stretch>
            </p:blipFill>
            <p:spPr>
              <a:xfrm>
                <a:off x="-444500" y="6027400"/>
                <a:ext cx="0" cy="18000"/>
              </a:xfrm>
              <a:prstGeom prst="rect">
                <a:avLst/>
              </a:prstGeom>
            </p:spPr>
          </p:pic>
        </mc:Fallback>
      </mc:AlternateContent>
      <p:grpSp>
        <p:nvGrpSpPr>
          <p:cNvPr id="476" name="Group 475">
            <a:extLst>
              <a:ext uri="{FF2B5EF4-FFF2-40B4-BE49-F238E27FC236}">
                <a16:creationId xmlns:a16="http://schemas.microsoft.com/office/drawing/2014/main" id="{21513DDB-EEAD-A20D-CC01-E10A0BDED433}"/>
              </a:ext>
            </a:extLst>
          </p:cNvPr>
          <p:cNvGrpSpPr/>
          <p:nvPr/>
        </p:nvGrpSpPr>
        <p:grpSpPr>
          <a:xfrm>
            <a:off x="717550" y="1725611"/>
            <a:ext cx="567776" cy="896695"/>
            <a:chOff x="55563" y="1526625"/>
            <a:chExt cx="825977" cy="897327"/>
          </a:xfrm>
          <a:solidFill>
            <a:schemeClr val="tx1">
              <a:lumMod val="50000"/>
              <a:lumOff val="50000"/>
            </a:schemeClr>
          </a:solidFill>
        </p:grpSpPr>
        <p:sp>
          <p:nvSpPr>
            <p:cNvPr id="477" name="Arrow: Pentagon 476">
              <a:extLst>
                <a:ext uri="{FF2B5EF4-FFF2-40B4-BE49-F238E27FC236}">
                  <a16:creationId xmlns:a16="http://schemas.microsoft.com/office/drawing/2014/main" id="{7C51C024-689A-1CF8-8F8B-6D3ADC021B2E}"/>
                </a:ext>
              </a:extLst>
            </p:cNvPr>
            <p:cNvSpPr/>
            <p:nvPr/>
          </p:nvSpPr>
          <p:spPr>
            <a:xfrm>
              <a:off x="55563" y="1526625"/>
              <a:ext cx="825977" cy="274320"/>
            </a:xfrm>
            <a:prstGeom prst="homePlate">
              <a:avLst/>
            </a:prstGeom>
            <a:grp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a:solidFill>
                    <a:schemeClr val="bg1"/>
                  </a:solidFill>
                </a:rPr>
                <a:t>NED</a:t>
              </a:r>
            </a:p>
          </p:txBody>
        </p:sp>
        <p:sp>
          <p:nvSpPr>
            <p:cNvPr id="478" name="Arrow: Pentagon 477">
              <a:extLst>
                <a:ext uri="{FF2B5EF4-FFF2-40B4-BE49-F238E27FC236}">
                  <a16:creationId xmlns:a16="http://schemas.microsoft.com/office/drawing/2014/main" id="{0434900D-46FC-E50E-9A08-701D64225D8E}"/>
                </a:ext>
              </a:extLst>
            </p:cNvPr>
            <p:cNvSpPr/>
            <p:nvPr/>
          </p:nvSpPr>
          <p:spPr>
            <a:xfrm>
              <a:off x="55563" y="1833373"/>
              <a:ext cx="825977" cy="274320"/>
            </a:xfrm>
            <a:prstGeom prst="homePlate">
              <a:avLst/>
            </a:prstGeom>
            <a:grp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a:solidFill>
                    <a:schemeClr val="bg1"/>
                  </a:solidFill>
                </a:rPr>
                <a:t>CEN</a:t>
              </a:r>
            </a:p>
          </p:txBody>
        </p:sp>
        <p:sp>
          <p:nvSpPr>
            <p:cNvPr id="479" name="Arrow: Pentagon 478">
              <a:extLst>
                <a:ext uri="{FF2B5EF4-FFF2-40B4-BE49-F238E27FC236}">
                  <a16:creationId xmlns:a16="http://schemas.microsoft.com/office/drawing/2014/main" id="{359D64F4-6411-82C1-DDBD-D45C7C044D1B}"/>
                </a:ext>
              </a:extLst>
            </p:cNvPr>
            <p:cNvSpPr/>
            <p:nvPr/>
          </p:nvSpPr>
          <p:spPr>
            <a:xfrm>
              <a:off x="55563" y="2149632"/>
              <a:ext cx="825977" cy="274320"/>
            </a:xfrm>
            <a:prstGeom prst="homePlate">
              <a:avLst/>
            </a:prstGeom>
            <a:grp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a:solidFill>
                    <a:schemeClr val="bg1"/>
                  </a:solidFill>
                </a:rPr>
                <a:t>WEST</a:t>
              </a:r>
            </a:p>
          </p:txBody>
        </p:sp>
      </p:grpSp>
      <p:sp>
        <p:nvSpPr>
          <p:cNvPr id="4" name="Text Placeholder 3">
            <a:extLst>
              <a:ext uri="{FF2B5EF4-FFF2-40B4-BE49-F238E27FC236}">
                <a16:creationId xmlns:a16="http://schemas.microsoft.com/office/drawing/2014/main" id="{E69BAC63-CD3A-68F1-9B82-0E541FC8F700}"/>
              </a:ext>
            </a:extLst>
          </p:cNvPr>
          <p:cNvSpPr>
            <a:spLocks noGrp="1"/>
          </p:cNvSpPr>
          <p:nvPr>
            <p:ph type="body" sz="quarter" idx="25"/>
          </p:nvPr>
        </p:nvSpPr>
        <p:spPr>
          <a:xfrm>
            <a:off x="463548" y="255612"/>
            <a:ext cx="11271251" cy="201168"/>
          </a:xfrm>
        </p:spPr>
        <p:txBody>
          <a:bodyPr/>
          <a:lstStyle/>
          <a:p>
            <a:r>
              <a:rPr lang="en-US" dirty="0"/>
              <a:t>CB Site Performance</a:t>
            </a:r>
          </a:p>
        </p:txBody>
      </p:sp>
      <p:sp>
        <p:nvSpPr>
          <p:cNvPr id="870" name="TextBox 869">
            <a:extLst>
              <a:ext uri="{FF2B5EF4-FFF2-40B4-BE49-F238E27FC236}">
                <a16:creationId xmlns:a16="http://schemas.microsoft.com/office/drawing/2014/main" id="{519D011D-A8EC-8DCB-B0CB-14B21FB904A5}"/>
              </a:ext>
            </a:extLst>
          </p:cNvPr>
          <p:cNvSpPr txBox="1"/>
          <p:nvPr/>
        </p:nvSpPr>
        <p:spPr>
          <a:xfrm>
            <a:off x="237899" y="2926978"/>
            <a:ext cx="938439" cy="227013"/>
          </a:xfrm>
          <a:prstGeom prst="rect">
            <a:avLst/>
          </a:prstGeom>
          <a:noFill/>
        </p:spPr>
        <p:txBody>
          <a:bodyPr wrap="square" lIns="0" tIns="0" rIns="0" bIns="0" rtlCol="0" anchor="ctr">
            <a:noAutofit/>
          </a:bodyPr>
          <a:lstStyle/>
          <a:p>
            <a:pPr algn="r"/>
            <a:r>
              <a:rPr lang="en-US" sz="900" b="1" dirty="0"/>
              <a:t>Digital Share</a:t>
            </a:r>
          </a:p>
        </p:txBody>
      </p:sp>
      <p:sp>
        <p:nvSpPr>
          <p:cNvPr id="734" name="Rectangle 733">
            <a:extLst>
              <a:ext uri="{FF2B5EF4-FFF2-40B4-BE49-F238E27FC236}">
                <a16:creationId xmlns:a16="http://schemas.microsoft.com/office/drawing/2014/main" id="{81EA4115-54B3-18A0-B8FB-F559D945A8AC}"/>
              </a:ext>
            </a:extLst>
          </p:cNvPr>
          <p:cNvSpPr/>
          <p:nvPr/>
        </p:nvSpPr>
        <p:spPr>
          <a:xfrm>
            <a:off x="9539338" y="4240213"/>
            <a:ext cx="2236788" cy="685800"/>
          </a:xfrm>
          <a:prstGeom prst="rect">
            <a:avLst/>
          </a:prstGeom>
          <a:solidFill>
            <a:schemeClr val="bg2"/>
          </a:solidFill>
          <a:ln w="9525">
            <a:solidFill>
              <a:schemeClr val="bg2">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050" b="1">
                <a:solidFill>
                  <a:schemeClr val="tx1"/>
                </a:solidFill>
              </a:rPr>
              <a:t>vs. PM</a:t>
            </a:r>
          </a:p>
          <a:p>
            <a:r>
              <a:rPr lang="en-US" sz="800" dirty="0">
                <a:solidFill>
                  <a:schemeClr val="tx1"/>
                </a:solidFill>
              </a:rPr>
              <a:t>Feb ’24</a:t>
            </a:r>
            <a:endParaRPr lang="en-US" sz="800">
              <a:solidFill>
                <a:schemeClr val="tx1"/>
              </a:solidFill>
            </a:endParaRPr>
          </a:p>
        </p:txBody>
      </p:sp>
      <p:grpSp>
        <p:nvGrpSpPr>
          <p:cNvPr id="735" name="Group 734">
            <a:extLst>
              <a:ext uri="{FF2B5EF4-FFF2-40B4-BE49-F238E27FC236}">
                <a16:creationId xmlns:a16="http://schemas.microsoft.com/office/drawing/2014/main" id="{D8878619-67D9-C616-0399-EAE30F26DE46}"/>
              </a:ext>
            </a:extLst>
          </p:cNvPr>
          <p:cNvGrpSpPr/>
          <p:nvPr/>
        </p:nvGrpSpPr>
        <p:grpSpPr>
          <a:xfrm>
            <a:off x="10185456" y="4222751"/>
            <a:ext cx="1681163" cy="750888"/>
            <a:chOff x="10100487" y="5518068"/>
            <a:chExt cx="1682296" cy="750818"/>
          </a:xfrm>
        </p:grpSpPr>
        <p:sp>
          <p:nvSpPr>
            <p:cNvPr id="736" name="Rectangle 735">
              <a:extLst>
                <a:ext uri="{FF2B5EF4-FFF2-40B4-BE49-F238E27FC236}">
                  <a16:creationId xmlns:a16="http://schemas.microsoft.com/office/drawing/2014/main" id="{68D976E6-3609-B720-A75C-7795D8C56AA2}"/>
                </a:ext>
              </a:extLst>
            </p:cNvPr>
            <p:cNvSpPr/>
            <p:nvPr/>
          </p:nvSpPr>
          <p:spPr>
            <a:xfrm>
              <a:off x="10100487" y="5919636"/>
              <a:ext cx="586217"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accent3">
                      <a:lumMod val="50000"/>
                    </a:schemeClr>
                  </a:solidFill>
                </a:rPr>
                <a:t>97%</a:t>
              </a:r>
            </a:p>
          </p:txBody>
        </p:sp>
        <p:sp>
          <p:nvSpPr>
            <p:cNvPr id="737" name="Rectangle 736">
              <a:extLst>
                <a:ext uri="{FF2B5EF4-FFF2-40B4-BE49-F238E27FC236}">
                  <a16:creationId xmlns:a16="http://schemas.microsoft.com/office/drawing/2014/main" id="{4674689B-2D71-6BA9-E713-D07C47E5B0AB}"/>
                </a:ext>
              </a:extLst>
            </p:cNvPr>
            <p:cNvSpPr/>
            <p:nvPr/>
          </p:nvSpPr>
          <p:spPr>
            <a:xfrm>
              <a:off x="10627917" y="5919636"/>
              <a:ext cx="586217"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accent3">
                      <a:lumMod val="50000"/>
                    </a:schemeClr>
                  </a:solidFill>
                </a:rPr>
                <a:t>100%</a:t>
              </a:r>
            </a:p>
          </p:txBody>
        </p:sp>
        <p:sp>
          <p:nvSpPr>
            <p:cNvPr id="738" name="Rectangle 737">
              <a:extLst>
                <a:ext uri="{FF2B5EF4-FFF2-40B4-BE49-F238E27FC236}">
                  <a16:creationId xmlns:a16="http://schemas.microsoft.com/office/drawing/2014/main" id="{572BF00F-FFB7-696E-0C1E-FDE9708F88C9}"/>
                </a:ext>
              </a:extLst>
            </p:cNvPr>
            <p:cNvSpPr/>
            <p:nvPr/>
          </p:nvSpPr>
          <p:spPr>
            <a:xfrm>
              <a:off x="11147179" y="5919636"/>
              <a:ext cx="586217"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C00000"/>
                  </a:solidFill>
                </a:rPr>
                <a:t> 94%</a:t>
              </a:r>
            </a:p>
          </p:txBody>
        </p:sp>
        <p:cxnSp>
          <p:nvCxnSpPr>
            <p:cNvPr id="739" name="Straight Connector 738">
              <a:extLst>
                <a:ext uri="{FF2B5EF4-FFF2-40B4-BE49-F238E27FC236}">
                  <a16:creationId xmlns:a16="http://schemas.microsoft.com/office/drawing/2014/main" id="{DDA80D4D-C86E-3E68-1FA2-E108A0E5EDE3}"/>
                </a:ext>
              </a:extLst>
            </p:cNvPr>
            <p:cNvCxnSpPr>
              <a:cxnSpLocks/>
            </p:cNvCxnSpPr>
            <p:nvPr/>
          </p:nvCxnSpPr>
          <p:spPr>
            <a:xfrm>
              <a:off x="10211579" y="5831809"/>
              <a:ext cx="1418892" cy="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740" name="Straight Connector 739">
              <a:extLst>
                <a:ext uri="{FF2B5EF4-FFF2-40B4-BE49-F238E27FC236}">
                  <a16:creationId xmlns:a16="http://schemas.microsoft.com/office/drawing/2014/main" id="{B597F5E9-63FC-494A-198E-F15627AB9440}"/>
                </a:ext>
              </a:extLst>
            </p:cNvPr>
            <p:cNvCxnSpPr>
              <a:cxnSpLocks/>
            </p:cNvCxnSpPr>
            <p:nvPr/>
          </p:nvCxnSpPr>
          <p:spPr>
            <a:xfrm>
              <a:off x="11175903" y="5828634"/>
              <a:ext cx="0" cy="265113"/>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741" name="Straight Connector 740">
              <a:extLst>
                <a:ext uri="{FF2B5EF4-FFF2-40B4-BE49-F238E27FC236}">
                  <a16:creationId xmlns:a16="http://schemas.microsoft.com/office/drawing/2014/main" id="{D909BCA7-6411-8438-4C2C-2675C3BA2711}"/>
                </a:ext>
              </a:extLst>
            </p:cNvPr>
            <p:cNvCxnSpPr>
              <a:cxnSpLocks/>
            </p:cNvCxnSpPr>
            <p:nvPr/>
          </p:nvCxnSpPr>
          <p:spPr>
            <a:xfrm>
              <a:off x="10666148" y="5831809"/>
              <a:ext cx="0" cy="274638"/>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sp>
          <p:nvSpPr>
            <p:cNvPr id="744" name="Rectangle 743">
              <a:extLst>
                <a:ext uri="{FF2B5EF4-FFF2-40B4-BE49-F238E27FC236}">
                  <a16:creationId xmlns:a16="http://schemas.microsoft.com/office/drawing/2014/main" id="{50B469C2-8964-C7DF-6BCC-AA712D3079EA}"/>
                </a:ext>
              </a:extLst>
            </p:cNvPr>
            <p:cNvSpPr/>
            <p:nvPr/>
          </p:nvSpPr>
          <p:spPr>
            <a:xfrm>
              <a:off x="10509545" y="5518068"/>
              <a:ext cx="822960"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accent3">
                      <a:lumMod val="50000"/>
                    </a:schemeClr>
                  </a:solidFill>
                </a:rPr>
                <a:t>97%</a:t>
              </a:r>
            </a:p>
          </p:txBody>
        </p:sp>
        <p:sp>
          <p:nvSpPr>
            <p:cNvPr id="745" name="Rectangle 744">
              <a:extLst>
                <a:ext uri="{FF2B5EF4-FFF2-40B4-BE49-F238E27FC236}">
                  <a16:creationId xmlns:a16="http://schemas.microsoft.com/office/drawing/2014/main" id="{05FD0D07-D93F-A759-A715-2A2E3973C5A1}"/>
                </a:ext>
              </a:extLst>
            </p:cNvPr>
            <p:cNvSpPr/>
            <p:nvPr/>
          </p:nvSpPr>
          <p:spPr>
            <a:xfrm>
              <a:off x="10100487" y="5753740"/>
              <a:ext cx="586217" cy="349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rPr>
                <a:t>NED</a:t>
              </a:r>
            </a:p>
          </p:txBody>
        </p:sp>
        <p:sp>
          <p:nvSpPr>
            <p:cNvPr id="746" name="Rectangle 745">
              <a:extLst>
                <a:ext uri="{FF2B5EF4-FFF2-40B4-BE49-F238E27FC236}">
                  <a16:creationId xmlns:a16="http://schemas.microsoft.com/office/drawing/2014/main" id="{F12D886E-6A3D-837D-51FC-32ED44AE6A96}"/>
                </a:ext>
              </a:extLst>
            </p:cNvPr>
            <p:cNvSpPr/>
            <p:nvPr/>
          </p:nvSpPr>
          <p:spPr>
            <a:xfrm>
              <a:off x="10627917" y="5758833"/>
              <a:ext cx="586217" cy="349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rPr>
                <a:t>CEN</a:t>
              </a:r>
            </a:p>
          </p:txBody>
        </p:sp>
        <p:sp>
          <p:nvSpPr>
            <p:cNvPr id="747" name="Rectangle 746">
              <a:extLst>
                <a:ext uri="{FF2B5EF4-FFF2-40B4-BE49-F238E27FC236}">
                  <a16:creationId xmlns:a16="http://schemas.microsoft.com/office/drawing/2014/main" id="{11B5DD10-7C82-5E68-2122-BB0F90081348}"/>
                </a:ext>
              </a:extLst>
            </p:cNvPr>
            <p:cNvSpPr/>
            <p:nvPr/>
          </p:nvSpPr>
          <p:spPr>
            <a:xfrm>
              <a:off x="11097792" y="5753740"/>
              <a:ext cx="684991" cy="349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rPr>
                <a:t>WEST</a:t>
              </a:r>
            </a:p>
          </p:txBody>
        </p:sp>
      </p:grpSp>
      <p:sp>
        <p:nvSpPr>
          <p:cNvPr id="748" name="Rectangle 747">
            <a:extLst>
              <a:ext uri="{FF2B5EF4-FFF2-40B4-BE49-F238E27FC236}">
                <a16:creationId xmlns:a16="http://schemas.microsoft.com/office/drawing/2014/main" id="{E24D7948-6DF4-4762-6C88-0DBECA478B1F}"/>
              </a:ext>
            </a:extLst>
          </p:cNvPr>
          <p:cNvSpPr/>
          <p:nvPr/>
        </p:nvSpPr>
        <p:spPr>
          <a:xfrm>
            <a:off x="9539338" y="5183188"/>
            <a:ext cx="2236788" cy="685800"/>
          </a:xfrm>
          <a:prstGeom prst="rect">
            <a:avLst/>
          </a:prstGeom>
          <a:solidFill>
            <a:schemeClr val="bg2"/>
          </a:solidFill>
          <a:ln w="9525">
            <a:solidFill>
              <a:schemeClr val="bg2">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050" b="1">
                <a:solidFill>
                  <a:schemeClr val="tx1"/>
                </a:solidFill>
              </a:rPr>
              <a:t>vs. PY</a:t>
            </a:r>
          </a:p>
          <a:p>
            <a:r>
              <a:rPr lang="en-US" sz="800" dirty="0">
                <a:solidFill>
                  <a:schemeClr val="tx1"/>
                </a:solidFill>
              </a:rPr>
              <a:t>Mar ’23</a:t>
            </a:r>
            <a:endParaRPr lang="en-US" sz="800">
              <a:solidFill>
                <a:schemeClr val="tx1"/>
              </a:solidFill>
            </a:endParaRPr>
          </a:p>
        </p:txBody>
      </p:sp>
      <p:grpSp>
        <p:nvGrpSpPr>
          <p:cNvPr id="749" name="Group 748">
            <a:extLst>
              <a:ext uri="{FF2B5EF4-FFF2-40B4-BE49-F238E27FC236}">
                <a16:creationId xmlns:a16="http://schemas.microsoft.com/office/drawing/2014/main" id="{CBFE9721-F507-422E-7973-E691DAD07990}"/>
              </a:ext>
            </a:extLst>
          </p:cNvPr>
          <p:cNvGrpSpPr/>
          <p:nvPr/>
        </p:nvGrpSpPr>
        <p:grpSpPr>
          <a:xfrm>
            <a:off x="10152118" y="5164139"/>
            <a:ext cx="1681163" cy="750888"/>
            <a:chOff x="10100487" y="5518068"/>
            <a:chExt cx="1682296" cy="750818"/>
          </a:xfrm>
        </p:grpSpPr>
        <p:sp>
          <p:nvSpPr>
            <p:cNvPr id="750" name="Rectangle 749">
              <a:extLst>
                <a:ext uri="{FF2B5EF4-FFF2-40B4-BE49-F238E27FC236}">
                  <a16:creationId xmlns:a16="http://schemas.microsoft.com/office/drawing/2014/main" id="{0AF10C00-DBF0-20DE-54E7-F4E7F8715DC4}"/>
                </a:ext>
              </a:extLst>
            </p:cNvPr>
            <p:cNvSpPr/>
            <p:nvPr/>
          </p:nvSpPr>
          <p:spPr>
            <a:xfrm>
              <a:off x="10100487" y="5919636"/>
              <a:ext cx="586217"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C00000"/>
                  </a:solidFill>
                </a:rPr>
                <a:t>76%</a:t>
              </a:r>
            </a:p>
          </p:txBody>
        </p:sp>
        <p:sp>
          <p:nvSpPr>
            <p:cNvPr id="751" name="Rectangle 750">
              <a:extLst>
                <a:ext uri="{FF2B5EF4-FFF2-40B4-BE49-F238E27FC236}">
                  <a16:creationId xmlns:a16="http://schemas.microsoft.com/office/drawing/2014/main" id="{E4AC45D7-4584-E0E2-7A1E-94366BDE0D47}"/>
                </a:ext>
              </a:extLst>
            </p:cNvPr>
            <p:cNvSpPr/>
            <p:nvPr/>
          </p:nvSpPr>
          <p:spPr>
            <a:xfrm>
              <a:off x="10627917" y="5919636"/>
              <a:ext cx="586217"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C00000"/>
                  </a:solidFill>
                </a:rPr>
                <a:t>73%</a:t>
              </a:r>
            </a:p>
          </p:txBody>
        </p:sp>
        <p:sp>
          <p:nvSpPr>
            <p:cNvPr id="752" name="Rectangle 751">
              <a:extLst>
                <a:ext uri="{FF2B5EF4-FFF2-40B4-BE49-F238E27FC236}">
                  <a16:creationId xmlns:a16="http://schemas.microsoft.com/office/drawing/2014/main" id="{4FDE0231-9F2E-4D51-0C23-1CF7F2514F4E}"/>
                </a:ext>
              </a:extLst>
            </p:cNvPr>
            <p:cNvSpPr/>
            <p:nvPr/>
          </p:nvSpPr>
          <p:spPr>
            <a:xfrm>
              <a:off x="11147179" y="5919636"/>
              <a:ext cx="586217"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C00000"/>
                  </a:solidFill>
                </a:rPr>
                <a:t> 73%</a:t>
              </a:r>
            </a:p>
          </p:txBody>
        </p:sp>
        <p:cxnSp>
          <p:nvCxnSpPr>
            <p:cNvPr id="753" name="Straight Connector 752">
              <a:extLst>
                <a:ext uri="{FF2B5EF4-FFF2-40B4-BE49-F238E27FC236}">
                  <a16:creationId xmlns:a16="http://schemas.microsoft.com/office/drawing/2014/main" id="{1380A992-994B-A893-8CB6-A20BC55D202A}"/>
                </a:ext>
              </a:extLst>
            </p:cNvPr>
            <p:cNvCxnSpPr>
              <a:cxnSpLocks/>
            </p:cNvCxnSpPr>
            <p:nvPr/>
          </p:nvCxnSpPr>
          <p:spPr>
            <a:xfrm>
              <a:off x="10211579" y="5831809"/>
              <a:ext cx="1418892" cy="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754" name="Straight Connector 753">
              <a:extLst>
                <a:ext uri="{FF2B5EF4-FFF2-40B4-BE49-F238E27FC236}">
                  <a16:creationId xmlns:a16="http://schemas.microsoft.com/office/drawing/2014/main" id="{95D3C76D-1D4A-4DF8-076B-2EEDE6FBD0AB}"/>
                </a:ext>
              </a:extLst>
            </p:cNvPr>
            <p:cNvCxnSpPr>
              <a:cxnSpLocks/>
            </p:cNvCxnSpPr>
            <p:nvPr/>
          </p:nvCxnSpPr>
          <p:spPr>
            <a:xfrm>
              <a:off x="11175903" y="5828634"/>
              <a:ext cx="0" cy="265113"/>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755" name="Straight Connector 754">
              <a:extLst>
                <a:ext uri="{FF2B5EF4-FFF2-40B4-BE49-F238E27FC236}">
                  <a16:creationId xmlns:a16="http://schemas.microsoft.com/office/drawing/2014/main" id="{241ACA94-1D4F-EBE3-2646-628E24FA4078}"/>
                </a:ext>
              </a:extLst>
            </p:cNvPr>
            <p:cNvCxnSpPr>
              <a:cxnSpLocks/>
            </p:cNvCxnSpPr>
            <p:nvPr/>
          </p:nvCxnSpPr>
          <p:spPr>
            <a:xfrm>
              <a:off x="10666148" y="5831809"/>
              <a:ext cx="0" cy="274638"/>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sp>
          <p:nvSpPr>
            <p:cNvPr id="756" name="Rectangle 755">
              <a:extLst>
                <a:ext uri="{FF2B5EF4-FFF2-40B4-BE49-F238E27FC236}">
                  <a16:creationId xmlns:a16="http://schemas.microsoft.com/office/drawing/2014/main" id="{2EF046EC-4094-D6CE-8855-662EEE5019C1}"/>
                </a:ext>
              </a:extLst>
            </p:cNvPr>
            <p:cNvSpPr/>
            <p:nvPr/>
          </p:nvSpPr>
          <p:spPr>
            <a:xfrm>
              <a:off x="10509545" y="5518068"/>
              <a:ext cx="822960"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rgbClr val="C00000"/>
                  </a:solidFill>
                </a:rPr>
                <a:t>74%</a:t>
              </a:r>
            </a:p>
          </p:txBody>
        </p:sp>
        <p:sp>
          <p:nvSpPr>
            <p:cNvPr id="758" name="Rectangle 757">
              <a:extLst>
                <a:ext uri="{FF2B5EF4-FFF2-40B4-BE49-F238E27FC236}">
                  <a16:creationId xmlns:a16="http://schemas.microsoft.com/office/drawing/2014/main" id="{871842F7-A6FF-F372-9408-4588300F7B67}"/>
                </a:ext>
              </a:extLst>
            </p:cNvPr>
            <p:cNvSpPr/>
            <p:nvPr/>
          </p:nvSpPr>
          <p:spPr>
            <a:xfrm>
              <a:off x="10100487" y="5753740"/>
              <a:ext cx="586217" cy="349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rPr>
                <a:t>NED</a:t>
              </a:r>
            </a:p>
          </p:txBody>
        </p:sp>
        <p:sp>
          <p:nvSpPr>
            <p:cNvPr id="759" name="Rectangle 758">
              <a:extLst>
                <a:ext uri="{FF2B5EF4-FFF2-40B4-BE49-F238E27FC236}">
                  <a16:creationId xmlns:a16="http://schemas.microsoft.com/office/drawing/2014/main" id="{3A7B0B29-9D11-5A38-967F-9A21DBEC544A}"/>
                </a:ext>
              </a:extLst>
            </p:cNvPr>
            <p:cNvSpPr/>
            <p:nvPr/>
          </p:nvSpPr>
          <p:spPr>
            <a:xfrm>
              <a:off x="10627917" y="5758833"/>
              <a:ext cx="586217" cy="349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rPr>
                <a:t>CEN</a:t>
              </a:r>
            </a:p>
          </p:txBody>
        </p:sp>
        <p:sp>
          <p:nvSpPr>
            <p:cNvPr id="761" name="Rectangle 760">
              <a:extLst>
                <a:ext uri="{FF2B5EF4-FFF2-40B4-BE49-F238E27FC236}">
                  <a16:creationId xmlns:a16="http://schemas.microsoft.com/office/drawing/2014/main" id="{833A32EE-1174-1506-37E1-C898A3B3A127}"/>
                </a:ext>
              </a:extLst>
            </p:cNvPr>
            <p:cNvSpPr/>
            <p:nvPr/>
          </p:nvSpPr>
          <p:spPr>
            <a:xfrm>
              <a:off x="11097792" y="5753740"/>
              <a:ext cx="684991" cy="349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rPr>
                <a:t>WEST</a:t>
              </a:r>
            </a:p>
          </p:txBody>
        </p:sp>
      </p:grpSp>
      <p:sp>
        <p:nvSpPr>
          <p:cNvPr id="47" name="TextBox 46">
            <a:extLst>
              <a:ext uri="{FF2B5EF4-FFF2-40B4-BE49-F238E27FC236}">
                <a16:creationId xmlns:a16="http://schemas.microsoft.com/office/drawing/2014/main" id="{41AD7553-37A8-74D2-00FE-CBAD9F4116B3}"/>
              </a:ext>
            </a:extLst>
          </p:cNvPr>
          <p:cNvSpPr txBox="1"/>
          <p:nvPr/>
        </p:nvSpPr>
        <p:spPr>
          <a:xfrm>
            <a:off x="463549" y="6205787"/>
            <a:ext cx="2414590" cy="272800"/>
          </a:xfrm>
          <a:prstGeom prst="rect">
            <a:avLst/>
          </a:prstGeom>
          <a:noFill/>
        </p:spPr>
        <p:txBody>
          <a:bodyPr wrap="square" lIns="0" tIns="0" rIns="0" bIns="0" rtlCol="0">
            <a:noAutofit/>
          </a:bodyPr>
          <a:lstStyle/>
          <a:p>
            <a:pPr algn="l"/>
            <a:r>
              <a:rPr lang="en-US" sz="800"/>
              <a:t>Data Source: CBMA Weekly Leads Summary</a:t>
            </a:r>
          </a:p>
          <a:p>
            <a:pPr algn="l"/>
            <a:r>
              <a:rPr lang="en-US" sz="800" dirty="0"/>
              <a:t>*CEN also ran a $40 BI100 + SE offer 5/3 – 5/21</a:t>
            </a:r>
          </a:p>
        </p:txBody>
      </p:sp>
      <p:sp>
        <p:nvSpPr>
          <p:cNvPr id="530" name="Text Placeholder 15">
            <a:extLst>
              <a:ext uri="{FF2B5EF4-FFF2-40B4-BE49-F238E27FC236}">
                <a16:creationId xmlns:a16="http://schemas.microsoft.com/office/drawing/2014/main" id="{8C86C1AE-D63D-C924-DBC4-EEBC902C4C3F}"/>
              </a:ext>
            </a:extLst>
          </p:cNvPr>
          <p:cNvSpPr txBox="1">
            <a:spLocks/>
          </p:cNvSpPr>
          <p:nvPr/>
        </p:nvSpPr>
        <p:spPr>
          <a:xfrm>
            <a:off x="454025" y="868836"/>
            <a:ext cx="11271250" cy="261466"/>
          </a:xfrm>
          <a:prstGeom prst="rect">
            <a:avLst/>
          </a:prstGeom>
        </p:spPr>
        <p:txBody>
          <a:bodyPr lIns="0" tIns="0" rIns="0" bIns="0"/>
          <a:lstStyle>
            <a:lvl1pPr marL="0" indent="0" algn="l" rtl="0" eaLnBrk="1" fontAlgn="base" hangingPunct="1">
              <a:lnSpc>
                <a:spcPct val="95000"/>
              </a:lnSpc>
              <a:spcBef>
                <a:spcPts val="1000"/>
              </a:spcBef>
              <a:spcAft>
                <a:spcPct val="0"/>
              </a:spcAft>
              <a:buFont typeface="Arial" panose="020B0604020202020204" pitchFamily="34" charset="0"/>
              <a:buNone/>
              <a:defRPr sz="1800" b="0" i="0" kern="1200">
                <a:solidFill>
                  <a:schemeClr val="tx1"/>
                </a:solidFill>
                <a:latin typeface="Montserrat Light" pitchFamily="2" charset="77"/>
                <a:ea typeface="+mn-ea"/>
                <a:cs typeface="Montserrat Light" pitchFamily="2" charset="77"/>
              </a:defRPr>
            </a:lvl1pPr>
            <a:lvl2pPr marL="174625" indent="-174625" algn="l" rtl="0" eaLnBrk="1" fontAlgn="base" hangingPunct="1">
              <a:lnSpc>
                <a:spcPct val="90000"/>
              </a:lnSpc>
              <a:spcBef>
                <a:spcPts val="1200"/>
              </a:spcBef>
              <a:spcAft>
                <a:spcPct val="0"/>
              </a:spcAft>
              <a:buFont typeface="Arial" panose="020B0604020202020204" pitchFamily="34" charset="0"/>
              <a:buChar char="•"/>
              <a:tabLst/>
              <a:defRPr sz="1800" b="0" i="0" kern="1200">
                <a:solidFill>
                  <a:schemeClr val="tx1"/>
                </a:solidFill>
                <a:latin typeface="Montserrat Light" pitchFamily="2" charset="77"/>
                <a:ea typeface="+mn-ea"/>
                <a:cs typeface="Montserrat Light" pitchFamily="2" charset="77"/>
              </a:defRPr>
            </a:lvl2pPr>
            <a:lvl3pPr marL="560070" indent="-285750" algn="l" rtl="0" eaLnBrk="1" fontAlgn="base" hangingPunct="1">
              <a:lnSpc>
                <a:spcPct val="90000"/>
              </a:lnSpc>
              <a:spcBef>
                <a:spcPts val="1200"/>
              </a:spcBef>
              <a:spcAft>
                <a:spcPct val="0"/>
              </a:spcAft>
              <a:buFont typeface="Montserrat" panose="00000500000000000000" pitchFamily="2" charset="0"/>
              <a:buChar char="–"/>
              <a:defRPr sz="1800" b="0" i="0" kern="1200">
                <a:solidFill>
                  <a:schemeClr val="tx1"/>
                </a:solidFill>
                <a:latin typeface="Montserrat Light" pitchFamily="2" charset="77"/>
                <a:ea typeface="+mn-ea"/>
                <a:cs typeface="Montserrat Light" pitchFamily="2" charset="77"/>
              </a:defRPr>
            </a:lvl3pPr>
            <a:lvl4pPr marL="834390" indent="-285750" algn="l" rtl="0" eaLnBrk="1" fontAlgn="base" hangingPunct="1">
              <a:lnSpc>
                <a:spcPct val="90000"/>
              </a:lnSpc>
              <a:spcBef>
                <a:spcPts val="1200"/>
              </a:spcBef>
              <a:spcAft>
                <a:spcPct val="0"/>
              </a:spcAft>
              <a:buFont typeface="Courier New" panose="02070309020205020404" pitchFamily="49" charset="0"/>
              <a:buChar char="o"/>
              <a:defRPr sz="1600" b="0" i="0" kern="1200">
                <a:solidFill>
                  <a:schemeClr val="tx1"/>
                </a:solidFill>
                <a:latin typeface="Montserrat Light" pitchFamily="2" charset="77"/>
                <a:ea typeface="+mn-ea"/>
                <a:cs typeface="Montserrat Light" pitchFamily="2" charset="77"/>
              </a:defRPr>
            </a:lvl4pPr>
            <a:lvl5pPr marL="1108710" indent="-285750" algn="l" rtl="0" eaLnBrk="1" fontAlgn="base" hangingPunct="1">
              <a:lnSpc>
                <a:spcPct val="90000"/>
              </a:lnSpc>
              <a:spcBef>
                <a:spcPts val="500"/>
              </a:spcBef>
              <a:spcAft>
                <a:spcPct val="0"/>
              </a:spcAft>
              <a:buFont typeface="Arial" panose="020B0604020202020204" pitchFamily="34" charset="0"/>
              <a:defRPr lang="en-US" sz="1400" b="0" i="0" u="none" strike="noStrike" kern="1200" cap="none" spc="0" baseline="0" dirty="0">
                <a:solidFill>
                  <a:srgbClr val="000000"/>
                </a:solidFill>
                <a:uFillTx/>
                <a:latin typeface="Montserrat Light" pitchFamily="2" charset="77"/>
                <a:ea typeface="Montserrat" panose="00000500000000000000" pitchFamily="2" charset="0"/>
                <a:cs typeface="Montserrat Light" pitchFamily="2" charset="77"/>
                <a:sym typeface="Montserrat" panose="000005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dirty="0">
                <a:latin typeface="+mn-lt"/>
              </a:rPr>
              <a:t>Lorem ipsum dolor sit </a:t>
            </a:r>
            <a:r>
              <a:rPr lang="en-US" sz="1400" dirty="0" err="1">
                <a:latin typeface="+mn-lt"/>
              </a:rPr>
              <a:t>amet</a:t>
            </a:r>
            <a:r>
              <a:rPr lang="en-US" sz="1400" dirty="0">
                <a:latin typeface="+mn-lt"/>
              </a:rPr>
              <a:t>, </a:t>
            </a:r>
            <a:r>
              <a:rPr lang="en-US" sz="1400" dirty="0" err="1">
                <a:latin typeface="+mn-lt"/>
              </a:rPr>
              <a:t>consectetur</a:t>
            </a:r>
            <a:r>
              <a:rPr lang="en-US" sz="1400" dirty="0">
                <a:latin typeface="+mn-lt"/>
              </a:rPr>
              <a:t> </a:t>
            </a:r>
            <a:r>
              <a:rPr lang="en-US" sz="1400" dirty="0" err="1">
                <a:latin typeface="+mn-lt"/>
              </a:rPr>
              <a:t>adipiscing</a:t>
            </a:r>
            <a:r>
              <a:rPr lang="en-US" sz="1400" dirty="0">
                <a:latin typeface="+mn-lt"/>
              </a:rPr>
              <a:t> </a:t>
            </a:r>
            <a:r>
              <a:rPr lang="en-US" sz="1400" dirty="0" err="1">
                <a:latin typeface="+mn-lt"/>
              </a:rPr>
              <a:t>elit</a:t>
            </a:r>
            <a:r>
              <a:rPr lang="en-US" sz="1400" dirty="0">
                <a:latin typeface="+mn-lt"/>
              </a:rPr>
              <a:t>, sed do </a:t>
            </a:r>
            <a:r>
              <a:rPr lang="en-US" sz="1400" dirty="0" err="1">
                <a:latin typeface="+mn-lt"/>
              </a:rPr>
              <a:t>eiusmod</a:t>
            </a:r>
            <a:r>
              <a:rPr lang="en-US" sz="1400" dirty="0">
                <a:latin typeface="+mn-lt"/>
              </a:rPr>
              <a:t> </a:t>
            </a:r>
            <a:r>
              <a:rPr lang="en-US" sz="1400" dirty="0" err="1">
                <a:latin typeface="+mn-lt"/>
              </a:rPr>
              <a:t>tempor</a:t>
            </a:r>
            <a:r>
              <a:rPr lang="en-US" sz="1400" dirty="0">
                <a:latin typeface="+mn-lt"/>
              </a:rPr>
              <a:t> </a:t>
            </a:r>
            <a:r>
              <a:rPr lang="en-US" sz="1400" dirty="0" err="1">
                <a:latin typeface="+mn-lt"/>
              </a:rPr>
              <a:t>incididunt</a:t>
            </a:r>
            <a:r>
              <a:rPr lang="en-US" sz="1400" dirty="0">
                <a:latin typeface="+mn-lt"/>
              </a:rPr>
              <a:t> </a:t>
            </a:r>
            <a:r>
              <a:rPr lang="en-US" sz="1400" dirty="0" err="1">
                <a:latin typeface="+mn-lt"/>
              </a:rPr>
              <a:t>ut</a:t>
            </a:r>
            <a:r>
              <a:rPr lang="en-US" sz="1400" dirty="0">
                <a:latin typeface="+mn-lt"/>
              </a:rPr>
              <a:t> labore et dolore magna </a:t>
            </a:r>
            <a:r>
              <a:rPr lang="en-US" sz="1400" dirty="0" err="1">
                <a:latin typeface="+mn-lt"/>
              </a:rPr>
              <a:t>aliqua</a:t>
            </a:r>
            <a:r>
              <a:rPr lang="en-US" sz="1400" dirty="0">
                <a:latin typeface="+mn-lt"/>
              </a:rPr>
              <a:t>. Ut </a:t>
            </a:r>
            <a:r>
              <a:rPr lang="en-US" sz="1400" dirty="0" err="1">
                <a:latin typeface="+mn-lt"/>
              </a:rPr>
              <a:t>enim</a:t>
            </a:r>
            <a:r>
              <a:rPr lang="en-US" sz="1400" dirty="0">
                <a:latin typeface="+mn-lt"/>
              </a:rPr>
              <a:t> ad minim </a:t>
            </a:r>
            <a:r>
              <a:rPr lang="en-US" sz="1400" dirty="0" err="1">
                <a:latin typeface="+mn-lt"/>
              </a:rPr>
              <a:t>veniam</a:t>
            </a:r>
            <a:r>
              <a:rPr lang="en-US" sz="1400" dirty="0">
                <a:latin typeface="+mn-lt"/>
              </a:rPr>
              <a:t>, </a:t>
            </a:r>
            <a:r>
              <a:rPr lang="en-US" sz="1400" dirty="0" err="1">
                <a:latin typeface="+mn-lt"/>
              </a:rPr>
              <a:t>quis</a:t>
            </a:r>
            <a:r>
              <a:rPr lang="en-US" sz="1400" dirty="0">
                <a:latin typeface="+mn-lt"/>
              </a:rPr>
              <a:t> </a:t>
            </a:r>
            <a:r>
              <a:rPr lang="en-US" sz="1400" dirty="0" err="1">
                <a:latin typeface="+mn-lt"/>
              </a:rPr>
              <a:t>nostrud</a:t>
            </a:r>
            <a:r>
              <a:rPr lang="en-US" sz="1400" dirty="0">
                <a:latin typeface="+mn-lt"/>
              </a:rPr>
              <a:t> exercitation </a:t>
            </a:r>
            <a:r>
              <a:rPr lang="en-US" sz="1400" dirty="0" err="1">
                <a:latin typeface="+mn-lt"/>
              </a:rPr>
              <a:t>ullamco</a:t>
            </a:r>
            <a:r>
              <a:rPr lang="en-US" sz="1400" dirty="0">
                <a:latin typeface="+mn-lt"/>
              </a:rPr>
              <a:t> </a:t>
            </a:r>
            <a:r>
              <a:rPr lang="en-US" sz="1400" dirty="0" err="1">
                <a:latin typeface="+mn-lt"/>
              </a:rPr>
              <a:t>laboris</a:t>
            </a:r>
            <a:r>
              <a:rPr lang="en-US" sz="1400" dirty="0">
                <a:latin typeface="+mn-lt"/>
              </a:rPr>
              <a:t> nisi </a:t>
            </a:r>
            <a:r>
              <a:rPr lang="en-US" sz="1400" dirty="0" err="1">
                <a:latin typeface="+mn-lt"/>
              </a:rPr>
              <a:t>ut</a:t>
            </a:r>
            <a:r>
              <a:rPr lang="en-US" sz="1400" dirty="0">
                <a:latin typeface="+mn-lt"/>
              </a:rPr>
              <a:t> </a:t>
            </a:r>
            <a:r>
              <a:rPr lang="en-US" sz="1400" dirty="0" err="1">
                <a:latin typeface="+mn-lt"/>
              </a:rPr>
              <a:t>aliquip</a:t>
            </a:r>
            <a:r>
              <a:rPr lang="en-US" sz="1400" dirty="0">
                <a:latin typeface="+mn-lt"/>
              </a:rPr>
              <a:t> ex </a:t>
            </a:r>
            <a:r>
              <a:rPr lang="en-US" sz="1400" dirty="0" err="1">
                <a:latin typeface="+mn-lt"/>
              </a:rPr>
              <a:t>ea</a:t>
            </a:r>
            <a:r>
              <a:rPr lang="en-US" sz="1400" dirty="0">
                <a:latin typeface="+mn-lt"/>
              </a:rPr>
              <a:t> </a:t>
            </a:r>
            <a:r>
              <a:rPr lang="en-US" sz="1400" dirty="0" err="1">
                <a:latin typeface="+mn-lt"/>
              </a:rPr>
              <a:t>commodo</a:t>
            </a:r>
            <a:r>
              <a:rPr lang="en-US" sz="1400" dirty="0">
                <a:latin typeface="+mn-lt"/>
              </a:rPr>
              <a:t> </a:t>
            </a:r>
            <a:r>
              <a:rPr lang="en-US" sz="1400" dirty="0" err="1">
                <a:latin typeface="+mn-lt"/>
              </a:rPr>
              <a:t>consequat</a:t>
            </a:r>
            <a:endParaRPr lang="en-US" sz="1400" dirty="0">
              <a:latin typeface="+mn-lt"/>
            </a:endParaRPr>
          </a:p>
        </p:txBody>
      </p:sp>
      <p:graphicFrame>
        <p:nvGraphicFramePr>
          <p:cNvPr id="8" name="Chart 7">
            <a:extLst>
              <a:ext uri="{FF2B5EF4-FFF2-40B4-BE49-F238E27FC236}">
                <a16:creationId xmlns:a16="http://schemas.microsoft.com/office/drawing/2014/main" id="{19713A33-A352-3900-96FE-ECA254ADFF06}"/>
              </a:ext>
            </a:extLst>
          </p:cNvPr>
          <p:cNvGraphicFramePr/>
          <p:nvPr>
            <p:custDataLst>
              <p:tags r:id="rId2"/>
            </p:custDataLst>
            <p:extLst>
              <p:ext uri="{D42A27DB-BD31-4B8C-83A1-F6EECF244321}">
                <p14:modId xmlns:p14="http://schemas.microsoft.com/office/powerpoint/2010/main" val="421982699"/>
              </p:ext>
            </p:extLst>
          </p:nvPr>
        </p:nvGraphicFramePr>
        <p:xfrm>
          <a:off x="1333500" y="2598738"/>
          <a:ext cx="8170863" cy="3502025"/>
        </p:xfrm>
        <a:graphic>
          <a:graphicData uri="http://schemas.openxmlformats.org/drawingml/2006/chart">
            <c:chart xmlns:c="http://schemas.openxmlformats.org/drawingml/2006/chart" xmlns:r="http://schemas.openxmlformats.org/officeDocument/2006/relationships" r:id="rId44"/>
          </a:graphicData>
        </a:graphic>
      </p:graphicFrame>
      <p:sp>
        <p:nvSpPr>
          <p:cNvPr id="489" name="Text Placeholder 2">
            <a:extLst>
              <a:ext uri="{FF2B5EF4-FFF2-40B4-BE49-F238E27FC236}">
                <a16:creationId xmlns:a16="http://schemas.microsoft.com/office/drawing/2014/main" id="{9BFC30AB-F9A6-4735-ABBD-BFD0A5232532}"/>
              </a:ext>
            </a:extLst>
          </p:cNvPr>
          <p:cNvSpPr>
            <a:spLocks noGrp="1" noChangeArrowheads="1"/>
          </p:cNvSpPr>
          <p:nvPr>
            <p:custDataLst>
              <p:tags r:id="rId3"/>
            </p:custDataLst>
          </p:nvPr>
        </p:nvSpPr>
        <p:spPr bwMode="auto">
          <a:xfrm>
            <a:off x="1608138" y="5948363"/>
            <a:ext cx="231775" cy="115888"/>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1A8C7765-28C9-4E70-A3AF-546813618684}" type="datetime'''''''''''''''''''''''''''''''''''''''''''M''''ay'">
              <a:rPr lang="en-US" altLang="en-US" sz="800" b="1" smtClean="0"/>
              <a:pPr/>
              <a:t>May</a:t>
            </a:fld>
            <a:endParaRPr lang="en-US" altLang="en-US" sz="800" b="1" dirty="0"/>
          </a:p>
        </p:txBody>
      </p:sp>
      <p:sp useBgFill="1">
        <p:nvSpPr>
          <p:cNvPr id="546" name="Rectangle 545">
            <a:extLst>
              <a:ext uri="{FF2B5EF4-FFF2-40B4-BE49-F238E27FC236}">
                <a16:creationId xmlns:a16="http://schemas.microsoft.com/office/drawing/2014/main" id="{5860CCD5-C279-08F6-6CE8-C2E559841E75}"/>
              </a:ext>
            </a:extLst>
          </p:cNvPr>
          <p:cNvSpPr/>
          <p:nvPr>
            <p:custDataLst>
              <p:tags r:id="rId4"/>
            </p:custDataLst>
          </p:nvPr>
        </p:nvSpPr>
        <p:spPr bwMode="gray">
          <a:xfrm>
            <a:off x="2236788" y="3681413"/>
            <a:ext cx="206375" cy="109538"/>
          </a:xfrm>
          <a:prstGeom prst="rect">
            <a:avLst/>
          </a:pr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4288" tIns="0" rIns="14288" bIns="0" rtlCol="0" anchor="b"/>
          <a:lstStyle/>
          <a:p>
            <a:pPr algn="ctr">
              <a:lnSpc>
                <a:spcPct val="90000"/>
              </a:lnSpc>
              <a:spcBef>
                <a:spcPct val="0"/>
              </a:spcBef>
              <a:spcAft>
                <a:spcPct val="0"/>
              </a:spcAft>
            </a:pPr>
            <a:fld id="{47688A60-8042-4933-8EFD-8A003788BADC}" type="datetime'''21''''''''''''''''%'''''''''''''''">
              <a:rPr lang="en-US" altLang="en-US" sz="800" smtClean="0">
                <a:solidFill>
                  <a:schemeClr val="tx1"/>
                </a:solidFill>
                <a:effectLst/>
              </a:rPr>
              <a:pPr algn="ctr">
                <a:lnSpc>
                  <a:spcPct val="90000"/>
                </a:lnSpc>
                <a:spcBef>
                  <a:spcPct val="0"/>
                </a:spcBef>
                <a:spcAft>
                  <a:spcPct val="0"/>
                </a:spcAft>
              </a:pPr>
              <a:t>21%</a:t>
            </a:fld>
            <a:endParaRPr lang="en-US" sz="800">
              <a:solidFill>
                <a:schemeClr val="tx1"/>
              </a:solidFill>
            </a:endParaRPr>
          </a:p>
        </p:txBody>
      </p:sp>
      <p:sp>
        <p:nvSpPr>
          <p:cNvPr id="490" name="Text Placeholder 2">
            <a:extLst>
              <a:ext uri="{FF2B5EF4-FFF2-40B4-BE49-F238E27FC236}">
                <a16:creationId xmlns:a16="http://schemas.microsoft.com/office/drawing/2014/main" id="{B506C869-0142-D9D2-E1C2-ACA734C48F72}"/>
              </a:ext>
            </a:extLst>
          </p:cNvPr>
          <p:cNvSpPr>
            <a:spLocks noGrp="1" noChangeArrowheads="1"/>
          </p:cNvSpPr>
          <p:nvPr>
            <p:custDataLst>
              <p:tags r:id="rId5"/>
            </p:custDataLst>
          </p:nvPr>
        </p:nvSpPr>
        <p:spPr bwMode="auto">
          <a:xfrm>
            <a:off x="2236788" y="5948363"/>
            <a:ext cx="207963" cy="115888"/>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F7E2E007-E8BB-48DA-AB6B-053F996C638E}" type="datetime'''''''''''''''''''''''J''''''''''''''''''''''u''''''''n'''">
              <a:rPr lang="en-US" altLang="en-US" sz="800" b="1" smtClean="0"/>
              <a:pPr/>
              <a:t>Jun</a:t>
            </a:fld>
            <a:endParaRPr lang="en-US" altLang="en-US" sz="800" b="1"/>
          </a:p>
        </p:txBody>
      </p:sp>
      <p:sp>
        <p:nvSpPr>
          <p:cNvPr id="499" name="Text Placeholder 2">
            <a:extLst>
              <a:ext uri="{FF2B5EF4-FFF2-40B4-BE49-F238E27FC236}">
                <a16:creationId xmlns:a16="http://schemas.microsoft.com/office/drawing/2014/main" id="{2973D0D9-848A-8B19-1236-24FF68754319}"/>
              </a:ext>
            </a:extLst>
          </p:cNvPr>
          <p:cNvSpPr>
            <a:spLocks noGrp="1" noChangeArrowheads="1"/>
          </p:cNvSpPr>
          <p:nvPr>
            <p:custDataLst>
              <p:tags r:id="rId6"/>
            </p:custDataLst>
          </p:nvPr>
        </p:nvSpPr>
        <p:spPr bwMode="auto">
          <a:xfrm>
            <a:off x="2871788" y="5948363"/>
            <a:ext cx="168275" cy="115888"/>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9DC9A8C9-2983-4044-B4C7-1556A7B0CABA}" type="datetime'''''J''''''''u''''''''''''''''''l'''''''''''''''''''''''''''''">
              <a:rPr lang="en-US" altLang="en-US" sz="800" b="1" smtClean="0"/>
              <a:pPr/>
              <a:t>Jul</a:t>
            </a:fld>
            <a:endParaRPr lang="en-US" altLang="en-US" sz="800" b="1"/>
          </a:p>
        </p:txBody>
      </p:sp>
      <p:sp>
        <p:nvSpPr>
          <p:cNvPr id="503" name="Text Placeholder 2">
            <a:extLst>
              <a:ext uri="{FF2B5EF4-FFF2-40B4-BE49-F238E27FC236}">
                <a16:creationId xmlns:a16="http://schemas.microsoft.com/office/drawing/2014/main" id="{3369B02E-68A6-8655-D329-860F5D846DEE}"/>
              </a:ext>
            </a:extLst>
          </p:cNvPr>
          <p:cNvSpPr>
            <a:spLocks noGrp="1" noChangeArrowheads="1"/>
          </p:cNvSpPr>
          <p:nvPr>
            <p:custDataLst>
              <p:tags r:id="rId7"/>
            </p:custDataLst>
          </p:nvPr>
        </p:nvSpPr>
        <p:spPr bwMode="auto">
          <a:xfrm>
            <a:off x="3455988" y="5948363"/>
            <a:ext cx="231775" cy="115888"/>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DE12C990-A2E1-42DA-89A7-6B154258321A}" type="datetime'''''''A''''u''''''''''''''''''''''''''''''''''''''''''g'">
              <a:rPr lang="en-US" altLang="en-US" sz="800" b="1" smtClean="0"/>
              <a:pPr/>
              <a:t>Aug</a:t>
            </a:fld>
            <a:endParaRPr lang="en-US" altLang="en-US" sz="800" b="1"/>
          </a:p>
        </p:txBody>
      </p:sp>
      <p:sp>
        <p:nvSpPr>
          <p:cNvPr id="508" name="Text Placeholder 2">
            <a:extLst>
              <a:ext uri="{FF2B5EF4-FFF2-40B4-BE49-F238E27FC236}">
                <a16:creationId xmlns:a16="http://schemas.microsoft.com/office/drawing/2014/main" id="{0552BD9B-4511-1063-58F5-9C0E8E3A72E0}"/>
              </a:ext>
            </a:extLst>
          </p:cNvPr>
          <p:cNvSpPr>
            <a:spLocks noGrp="1" noChangeArrowheads="1"/>
          </p:cNvSpPr>
          <p:nvPr>
            <p:custDataLst>
              <p:tags r:id="rId8"/>
            </p:custDataLst>
          </p:nvPr>
        </p:nvSpPr>
        <p:spPr bwMode="auto">
          <a:xfrm>
            <a:off x="4083050" y="5948363"/>
            <a:ext cx="211138" cy="115888"/>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4D73161A-596A-472E-81BF-5FB1BF3E7588}" type="datetime'''''''''''''''''''''''S''''''e''''p'''''''''">
              <a:rPr lang="en-US" altLang="en-US" sz="800" b="1" smtClean="0"/>
              <a:pPr/>
              <a:t>Sep</a:t>
            </a:fld>
            <a:endParaRPr lang="en-US" altLang="en-US" sz="800" b="1"/>
          </a:p>
        </p:txBody>
      </p:sp>
      <p:sp>
        <p:nvSpPr>
          <p:cNvPr id="509" name="Text Placeholder 2">
            <a:extLst>
              <a:ext uri="{FF2B5EF4-FFF2-40B4-BE49-F238E27FC236}">
                <a16:creationId xmlns:a16="http://schemas.microsoft.com/office/drawing/2014/main" id="{0CDD7A90-0B09-E743-D487-551E8476E803}"/>
              </a:ext>
            </a:extLst>
          </p:cNvPr>
          <p:cNvSpPr>
            <a:spLocks noGrp="1" noChangeArrowheads="1"/>
          </p:cNvSpPr>
          <p:nvPr>
            <p:custDataLst>
              <p:tags r:id="rId9"/>
            </p:custDataLst>
          </p:nvPr>
        </p:nvSpPr>
        <p:spPr bwMode="auto">
          <a:xfrm>
            <a:off x="4702175" y="5948363"/>
            <a:ext cx="203200" cy="115888"/>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3EFF266A-31BE-4905-8ED6-648708857E7B}" type="datetime'''''''''O''''''''''''''''''''''''''''''''''''''c''''''''''t'">
              <a:rPr lang="en-US" altLang="en-US" sz="800" b="1" smtClean="0"/>
              <a:pPr/>
              <a:t>Oct</a:t>
            </a:fld>
            <a:endParaRPr lang="en-US" altLang="en-US" sz="800" b="1"/>
          </a:p>
        </p:txBody>
      </p:sp>
      <p:sp>
        <p:nvSpPr>
          <p:cNvPr id="510" name="Text Placeholder 2">
            <a:extLst>
              <a:ext uri="{FF2B5EF4-FFF2-40B4-BE49-F238E27FC236}">
                <a16:creationId xmlns:a16="http://schemas.microsoft.com/office/drawing/2014/main" id="{D2500C8E-4B5A-1B55-D034-5F5FB50F960F}"/>
              </a:ext>
            </a:extLst>
          </p:cNvPr>
          <p:cNvSpPr>
            <a:spLocks noGrp="1" noChangeArrowheads="1"/>
          </p:cNvSpPr>
          <p:nvPr>
            <p:custDataLst>
              <p:tags r:id="rId10"/>
            </p:custDataLst>
          </p:nvPr>
        </p:nvSpPr>
        <p:spPr bwMode="auto">
          <a:xfrm>
            <a:off x="5307013" y="5948363"/>
            <a:ext cx="222250" cy="115888"/>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ED8AD87A-A504-4846-8548-07DC89195CEF}" type="datetime'''''''''''''''''''''''''''''No''''''''''v'">
              <a:rPr lang="en-US" altLang="en-US" sz="800" b="1" smtClean="0"/>
              <a:pPr/>
              <a:t>Nov</a:t>
            </a:fld>
            <a:endParaRPr lang="en-US" altLang="en-US" sz="800" b="1"/>
          </a:p>
        </p:txBody>
      </p:sp>
      <p:sp>
        <p:nvSpPr>
          <p:cNvPr id="511" name="Text Placeholder 2">
            <a:extLst>
              <a:ext uri="{FF2B5EF4-FFF2-40B4-BE49-F238E27FC236}">
                <a16:creationId xmlns:a16="http://schemas.microsoft.com/office/drawing/2014/main" id="{B5915507-5762-9DF7-0517-524C957C43A2}"/>
              </a:ext>
            </a:extLst>
          </p:cNvPr>
          <p:cNvSpPr>
            <a:spLocks noGrp="1" noChangeArrowheads="1"/>
          </p:cNvSpPr>
          <p:nvPr>
            <p:custDataLst>
              <p:tags r:id="rId11"/>
            </p:custDataLst>
          </p:nvPr>
        </p:nvSpPr>
        <p:spPr bwMode="auto">
          <a:xfrm>
            <a:off x="5924550" y="5948363"/>
            <a:ext cx="220663" cy="115888"/>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6299160F-23E5-43D8-8FDF-4B163EE4FD49}" type="datetime'''D''''''''''''''e''''''''''c'''''''''''''''''''''''''''''''">
              <a:rPr lang="en-US" altLang="en-US" sz="800" b="1" smtClean="0"/>
              <a:pPr/>
              <a:t>Dec</a:t>
            </a:fld>
            <a:endParaRPr lang="en-US" altLang="en-US" sz="800" b="1"/>
          </a:p>
        </p:txBody>
      </p:sp>
      <p:sp>
        <p:nvSpPr>
          <p:cNvPr id="512" name="Text Placeholder 2">
            <a:extLst>
              <a:ext uri="{FF2B5EF4-FFF2-40B4-BE49-F238E27FC236}">
                <a16:creationId xmlns:a16="http://schemas.microsoft.com/office/drawing/2014/main" id="{49F95C84-27D6-ADEA-C109-4F2C1D40655C}"/>
              </a:ext>
            </a:extLst>
          </p:cNvPr>
          <p:cNvSpPr>
            <a:spLocks noGrp="1" noChangeArrowheads="1"/>
          </p:cNvSpPr>
          <p:nvPr>
            <p:custDataLst>
              <p:tags r:id="rId12"/>
            </p:custDataLst>
          </p:nvPr>
        </p:nvSpPr>
        <p:spPr bwMode="auto">
          <a:xfrm>
            <a:off x="6550025" y="5948363"/>
            <a:ext cx="200025" cy="115888"/>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25E786AC-6DFB-495B-A61B-B068572ED6FB}" type="datetime'''''J''''''''''a''n'''">
              <a:rPr lang="en-US" altLang="en-US" sz="800" b="1" smtClean="0"/>
              <a:pPr/>
              <a:t>Jan</a:t>
            </a:fld>
            <a:endParaRPr lang="en-US" altLang="en-US" sz="800" b="1"/>
          </a:p>
        </p:txBody>
      </p:sp>
      <p:sp>
        <p:nvSpPr>
          <p:cNvPr id="513" name="Text Placeholder 2">
            <a:extLst>
              <a:ext uri="{FF2B5EF4-FFF2-40B4-BE49-F238E27FC236}">
                <a16:creationId xmlns:a16="http://schemas.microsoft.com/office/drawing/2014/main" id="{CBE7819B-3053-3A83-DEB9-E3F1D4ACEAA0}"/>
              </a:ext>
            </a:extLst>
          </p:cNvPr>
          <p:cNvSpPr>
            <a:spLocks noGrp="1" noChangeArrowheads="1"/>
          </p:cNvSpPr>
          <p:nvPr>
            <p:custDataLst>
              <p:tags r:id="rId13"/>
            </p:custDataLst>
          </p:nvPr>
        </p:nvSpPr>
        <p:spPr bwMode="auto">
          <a:xfrm>
            <a:off x="7161213" y="5948363"/>
            <a:ext cx="211138" cy="115888"/>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9319133C-6546-4F8D-A34F-1EFC2566EA0E}" type="datetime'F''''''''''''''''''''''''''''''e''''''b'''">
              <a:rPr lang="en-US" altLang="en-US" sz="800" b="1" smtClean="0"/>
              <a:pPr/>
              <a:t>Feb</a:t>
            </a:fld>
            <a:endParaRPr lang="en-US" altLang="en-US" sz="800" b="1"/>
          </a:p>
        </p:txBody>
      </p:sp>
      <p:sp>
        <p:nvSpPr>
          <p:cNvPr id="514" name="Text Placeholder 2">
            <a:extLst>
              <a:ext uri="{FF2B5EF4-FFF2-40B4-BE49-F238E27FC236}">
                <a16:creationId xmlns:a16="http://schemas.microsoft.com/office/drawing/2014/main" id="{86C3C3BA-1426-F6DA-C3F8-2202A3B32A7B}"/>
              </a:ext>
            </a:extLst>
          </p:cNvPr>
          <p:cNvSpPr>
            <a:spLocks noGrp="1" noChangeArrowheads="1"/>
          </p:cNvSpPr>
          <p:nvPr>
            <p:custDataLst>
              <p:tags r:id="rId14"/>
            </p:custDataLst>
          </p:nvPr>
        </p:nvSpPr>
        <p:spPr bwMode="auto">
          <a:xfrm>
            <a:off x="7773988" y="5948363"/>
            <a:ext cx="215900" cy="115888"/>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986723F7-1A78-47F6-BEA6-458BA187D24C}" type="datetime'''''''''''M''''''''''''''ar'''''''''''''''''''">
              <a:rPr lang="en-US" altLang="en-US" sz="800" b="1" smtClean="0"/>
              <a:pPr/>
              <a:t>Mar</a:t>
            </a:fld>
            <a:endParaRPr lang="en-US" altLang="en-US" sz="800" b="1"/>
          </a:p>
        </p:txBody>
      </p:sp>
      <p:sp>
        <p:nvSpPr>
          <p:cNvPr id="515" name="Text Placeholder 2">
            <a:extLst>
              <a:ext uri="{FF2B5EF4-FFF2-40B4-BE49-F238E27FC236}">
                <a16:creationId xmlns:a16="http://schemas.microsoft.com/office/drawing/2014/main" id="{BA2EC843-9D4C-2AFD-E651-4A3BD4A709DD}"/>
              </a:ext>
            </a:extLst>
          </p:cNvPr>
          <p:cNvSpPr>
            <a:spLocks noGrp="1" noChangeArrowheads="1"/>
          </p:cNvSpPr>
          <p:nvPr>
            <p:custDataLst>
              <p:tags r:id="rId15"/>
            </p:custDataLst>
          </p:nvPr>
        </p:nvSpPr>
        <p:spPr bwMode="auto">
          <a:xfrm>
            <a:off x="8316913" y="5948363"/>
            <a:ext cx="361950" cy="115888"/>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5249D412-92AD-4865-BDD8-BDF654AEC1AE}" type="datetime'A''''''p''''''''''r''''''''’''''2''''''''''''''4'''''''''''''">
              <a:rPr lang="en-US" altLang="en-US" sz="800" b="1" smtClean="0"/>
              <a:pPr/>
              <a:t>Apr’24</a:t>
            </a:fld>
            <a:endParaRPr lang="en-US" altLang="en-US" sz="800" b="1" dirty="0"/>
          </a:p>
        </p:txBody>
      </p:sp>
      <p:sp>
        <p:nvSpPr>
          <p:cNvPr id="517" name="Rectangle 516">
            <a:extLst>
              <a:ext uri="{FF2B5EF4-FFF2-40B4-BE49-F238E27FC236}">
                <a16:creationId xmlns:a16="http://schemas.microsoft.com/office/drawing/2014/main" id="{296E3CFB-4F78-FAF0-F192-EA11504A8B0D}"/>
              </a:ext>
            </a:extLst>
          </p:cNvPr>
          <p:cNvSpPr/>
          <p:nvPr>
            <p:custDataLst>
              <p:tags r:id="rId16"/>
            </p:custDataLst>
          </p:nvPr>
        </p:nvSpPr>
        <p:spPr bwMode="gray">
          <a:xfrm>
            <a:off x="1562100" y="4287838"/>
            <a:ext cx="325438" cy="10953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4288" tIns="0" rIns="14288" bIns="0" rtlCol="0" anchor="b"/>
          <a:lstStyle/>
          <a:p>
            <a:pPr algn="ctr">
              <a:lnSpc>
                <a:spcPct val="90000"/>
              </a:lnSpc>
              <a:spcBef>
                <a:spcPct val="0"/>
              </a:spcBef>
              <a:spcAft>
                <a:spcPct val="0"/>
              </a:spcAft>
            </a:pPr>
            <a:fld id="{CB94DA6A-2DEB-4753-B48D-A7C23D43B24F}" type="datetime'''''''''''''''''''''''''''''''''''''$''1''''''''.''0M'">
              <a:rPr lang="en-US" altLang="en-US" sz="800" b="1" smtClean="0">
                <a:solidFill>
                  <a:schemeClr val="tx1"/>
                </a:solidFill>
              </a:rPr>
              <a:pPr/>
              <a:t>$1.0M</a:t>
            </a:fld>
            <a:endParaRPr lang="en-US" sz="800" b="1">
              <a:solidFill>
                <a:schemeClr val="tx1"/>
              </a:solidFill>
            </a:endParaRPr>
          </a:p>
        </p:txBody>
      </p:sp>
      <p:sp>
        <p:nvSpPr>
          <p:cNvPr id="518" name="Rectangle 517">
            <a:extLst>
              <a:ext uri="{FF2B5EF4-FFF2-40B4-BE49-F238E27FC236}">
                <a16:creationId xmlns:a16="http://schemas.microsoft.com/office/drawing/2014/main" id="{DA108E56-E13F-F75D-E79C-95800CA1BD2B}"/>
              </a:ext>
            </a:extLst>
          </p:cNvPr>
          <p:cNvSpPr/>
          <p:nvPr>
            <p:custDataLst>
              <p:tags r:id="rId17"/>
            </p:custDataLst>
          </p:nvPr>
        </p:nvSpPr>
        <p:spPr bwMode="gray">
          <a:xfrm>
            <a:off x="2192338" y="4144963"/>
            <a:ext cx="296863" cy="10953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4288" tIns="0" rIns="14288" bIns="0" rtlCol="0" anchor="b"/>
          <a:lstStyle/>
          <a:p>
            <a:pPr algn="ctr">
              <a:lnSpc>
                <a:spcPct val="90000"/>
              </a:lnSpc>
              <a:spcBef>
                <a:spcPct val="0"/>
              </a:spcBef>
              <a:spcAft>
                <a:spcPct val="0"/>
              </a:spcAft>
            </a:pPr>
            <a:fld id="{CA3F758F-4F92-4E32-8CC2-FFD98D7AF3B8}" type="datetime'$''1''''''''.''''''''''''1''''''''''''''''M'''''''">
              <a:rPr lang="en-US" altLang="en-US" sz="800" b="1" smtClean="0">
                <a:solidFill>
                  <a:schemeClr val="tx1"/>
                </a:solidFill>
              </a:rPr>
              <a:pPr/>
              <a:t>$1.1M</a:t>
            </a:fld>
            <a:endParaRPr lang="en-US" sz="800" b="1">
              <a:solidFill>
                <a:schemeClr val="tx1"/>
              </a:solidFill>
            </a:endParaRPr>
          </a:p>
        </p:txBody>
      </p:sp>
      <p:sp>
        <p:nvSpPr>
          <p:cNvPr id="519" name="Rectangle 518">
            <a:extLst>
              <a:ext uri="{FF2B5EF4-FFF2-40B4-BE49-F238E27FC236}">
                <a16:creationId xmlns:a16="http://schemas.microsoft.com/office/drawing/2014/main" id="{CD3AAF8F-8C47-6464-2AE0-C76002825BC4}"/>
              </a:ext>
            </a:extLst>
          </p:cNvPr>
          <p:cNvSpPr/>
          <p:nvPr>
            <p:custDataLst>
              <p:tags r:id="rId18"/>
            </p:custDataLst>
          </p:nvPr>
        </p:nvSpPr>
        <p:spPr bwMode="gray">
          <a:xfrm>
            <a:off x="2794000" y="4227513"/>
            <a:ext cx="325438" cy="10953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4288" tIns="0" rIns="14288" bIns="0" rtlCol="0" anchor="b"/>
          <a:lstStyle/>
          <a:p>
            <a:pPr algn="ctr">
              <a:lnSpc>
                <a:spcPct val="90000"/>
              </a:lnSpc>
              <a:spcBef>
                <a:spcPct val="0"/>
              </a:spcBef>
              <a:spcAft>
                <a:spcPct val="0"/>
              </a:spcAft>
            </a:pPr>
            <a:fld id="{6DB7F2A5-50DD-4339-9113-898AF47A5732}" type="datetime'''''''''''''$''1''.''''''''''0''''M'''''''''''''''''''''''">
              <a:rPr lang="en-US" altLang="en-US" sz="800" b="1" smtClean="0">
                <a:solidFill>
                  <a:schemeClr val="tx1"/>
                </a:solidFill>
              </a:rPr>
              <a:pPr/>
              <a:t>$1.0M</a:t>
            </a:fld>
            <a:endParaRPr lang="en-US" sz="800" b="1">
              <a:solidFill>
                <a:schemeClr val="tx1"/>
              </a:solidFill>
            </a:endParaRPr>
          </a:p>
        </p:txBody>
      </p:sp>
      <p:sp>
        <p:nvSpPr>
          <p:cNvPr id="520" name="Rectangle 519">
            <a:extLst>
              <a:ext uri="{FF2B5EF4-FFF2-40B4-BE49-F238E27FC236}">
                <a16:creationId xmlns:a16="http://schemas.microsoft.com/office/drawing/2014/main" id="{AF33DF62-5681-A082-C02A-5527A8423701}"/>
              </a:ext>
            </a:extLst>
          </p:cNvPr>
          <p:cNvSpPr/>
          <p:nvPr>
            <p:custDataLst>
              <p:tags r:id="rId19"/>
            </p:custDataLst>
          </p:nvPr>
        </p:nvSpPr>
        <p:spPr bwMode="gray">
          <a:xfrm>
            <a:off x="3424238" y="4152900"/>
            <a:ext cx="296863" cy="10953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4288" tIns="0" rIns="14288" bIns="0" rtlCol="0" anchor="b"/>
          <a:lstStyle/>
          <a:p>
            <a:pPr algn="ctr">
              <a:lnSpc>
                <a:spcPct val="90000"/>
              </a:lnSpc>
              <a:spcBef>
                <a:spcPct val="0"/>
              </a:spcBef>
              <a:spcAft>
                <a:spcPct val="0"/>
              </a:spcAft>
            </a:pPr>
            <a:fld id="{540F8C74-7327-4759-A2D3-85BE9B4578E3}" type="datetime'''''''''''''''''''''''''''''''''$1''.''''1''''''''''''M'''">
              <a:rPr lang="en-US" altLang="en-US" sz="800" b="1" smtClean="0">
                <a:solidFill>
                  <a:schemeClr val="tx1"/>
                </a:solidFill>
              </a:rPr>
              <a:pPr/>
              <a:t>$1.1M</a:t>
            </a:fld>
            <a:endParaRPr lang="en-US" sz="800" b="1">
              <a:solidFill>
                <a:schemeClr val="tx1"/>
              </a:solidFill>
            </a:endParaRPr>
          </a:p>
        </p:txBody>
      </p:sp>
      <p:sp>
        <p:nvSpPr>
          <p:cNvPr id="521" name="Rectangle 520">
            <a:extLst>
              <a:ext uri="{FF2B5EF4-FFF2-40B4-BE49-F238E27FC236}">
                <a16:creationId xmlns:a16="http://schemas.microsoft.com/office/drawing/2014/main" id="{B52EA830-5377-4938-FD6B-E35D0CF5DD3B}"/>
              </a:ext>
            </a:extLst>
          </p:cNvPr>
          <p:cNvSpPr/>
          <p:nvPr>
            <p:custDataLst>
              <p:tags r:id="rId20"/>
            </p:custDataLst>
          </p:nvPr>
        </p:nvSpPr>
        <p:spPr bwMode="gray">
          <a:xfrm>
            <a:off x="4029075" y="3917950"/>
            <a:ext cx="317500" cy="10953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4288" tIns="0" rIns="14288" bIns="0" rtlCol="0" anchor="b"/>
          <a:lstStyle/>
          <a:p>
            <a:pPr algn="ctr">
              <a:lnSpc>
                <a:spcPct val="90000"/>
              </a:lnSpc>
              <a:spcBef>
                <a:spcPct val="0"/>
              </a:spcBef>
              <a:spcAft>
                <a:spcPct val="0"/>
              </a:spcAft>
            </a:pPr>
            <a:fld id="{9AAFBE80-BD85-48C3-AAF0-1B8873C41C6A}" type="datetime'''''''''$''''1.''''''''''''''''''''2''''M'''''''''">
              <a:rPr lang="en-US" altLang="en-US" sz="800" b="1" smtClean="0">
                <a:solidFill>
                  <a:schemeClr val="tx1"/>
                </a:solidFill>
              </a:rPr>
              <a:pPr/>
              <a:t>$1.2M</a:t>
            </a:fld>
            <a:endParaRPr lang="en-US" sz="800" b="1">
              <a:solidFill>
                <a:schemeClr val="tx1"/>
              </a:solidFill>
            </a:endParaRPr>
          </a:p>
        </p:txBody>
      </p:sp>
      <p:sp>
        <p:nvSpPr>
          <p:cNvPr id="522" name="Rectangle 521">
            <a:extLst>
              <a:ext uri="{FF2B5EF4-FFF2-40B4-BE49-F238E27FC236}">
                <a16:creationId xmlns:a16="http://schemas.microsoft.com/office/drawing/2014/main" id="{2C98BCFC-3797-DE83-BFDC-6EA22C19970C}"/>
              </a:ext>
            </a:extLst>
          </p:cNvPr>
          <p:cNvSpPr/>
          <p:nvPr>
            <p:custDataLst>
              <p:tags r:id="rId21"/>
            </p:custDataLst>
          </p:nvPr>
        </p:nvSpPr>
        <p:spPr bwMode="gray">
          <a:xfrm>
            <a:off x="4656138" y="4130675"/>
            <a:ext cx="296863" cy="10953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4288" tIns="0" rIns="14288" bIns="0" rtlCol="0" anchor="b"/>
          <a:lstStyle/>
          <a:p>
            <a:pPr algn="ctr">
              <a:lnSpc>
                <a:spcPct val="90000"/>
              </a:lnSpc>
              <a:spcBef>
                <a:spcPct val="0"/>
              </a:spcBef>
              <a:spcAft>
                <a:spcPct val="0"/>
              </a:spcAft>
            </a:pPr>
            <a:fld id="{D53DB40E-F473-4988-8B1B-DA97215916CC}" type="datetime'$''''''''''''''''''1''''''''''''.''''''1''M'''''''''''''''''''">
              <a:rPr lang="en-US" altLang="en-US" sz="800" b="1" smtClean="0">
                <a:solidFill>
                  <a:schemeClr val="tx1"/>
                </a:solidFill>
              </a:rPr>
              <a:pPr/>
              <a:t>$1.1M</a:t>
            </a:fld>
            <a:endParaRPr lang="en-US" sz="800" b="1">
              <a:solidFill>
                <a:schemeClr val="tx1"/>
              </a:solidFill>
            </a:endParaRPr>
          </a:p>
        </p:txBody>
      </p:sp>
      <p:sp>
        <p:nvSpPr>
          <p:cNvPr id="523" name="Rectangle 522">
            <a:extLst>
              <a:ext uri="{FF2B5EF4-FFF2-40B4-BE49-F238E27FC236}">
                <a16:creationId xmlns:a16="http://schemas.microsoft.com/office/drawing/2014/main" id="{70450BD0-750C-29CA-ABB6-99098CC88B4E}"/>
              </a:ext>
            </a:extLst>
          </p:cNvPr>
          <p:cNvSpPr/>
          <p:nvPr>
            <p:custDataLst>
              <p:tags r:id="rId22"/>
            </p:custDataLst>
          </p:nvPr>
        </p:nvSpPr>
        <p:spPr bwMode="gray">
          <a:xfrm>
            <a:off x="5270500" y="4095750"/>
            <a:ext cx="296863" cy="10953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4288" tIns="0" rIns="14288" bIns="0" rtlCol="0" anchor="b"/>
          <a:lstStyle/>
          <a:p>
            <a:pPr algn="ctr">
              <a:lnSpc>
                <a:spcPct val="90000"/>
              </a:lnSpc>
              <a:spcBef>
                <a:spcPct val="0"/>
              </a:spcBef>
              <a:spcAft>
                <a:spcPct val="0"/>
              </a:spcAft>
            </a:pPr>
            <a:fld id="{92C6FC81-5F26-4CA4-BF46-B9FFD3B12287}" type="datetime'''$''''''''''''1''''''.''''''''''''''''''''1''''''''M'''''''''">
              <a:rPr lang="en-US" altLang="en-US" sz="800" b="1" smtClean="0">
                <a:solidFill>
                  <a:schemeClr val="tx1"/>
                </a:solidFill>
              </a:rPr>
              <a:pPr/>
              <a:t>$1.1M</a:t>
            </a:fld>
            <a:endParaRPr lang="en-US" sz="800" b="1">
              <a:solidFill>
                <a:schemeClr val="tx1"/>
              </a:solidFill>
            </a:endParaRPr>
          </a:p>
        </p:txBody>
      </p:sp>
      <p:sp>
        <p:nvSpPr>
          <p:cNvPr id="524" name="Rectangle 523">
            <a:extLst>
              <a:ext uri="{FF2B5EF4-FFF2-40B4-BE49-F238E27FC236}">
                <a16:creationId xmlns:a16="http://schemas.microsoft.com/office/drawing/2014/main" id="{258B4CE2-97F3-DBD2-F7FE-66EA46CA507D}"/>
              </a:ext>
            </a:extLst>
          </p:cNvPr>
          <p:cNvSpPr/>
          <p:nvPr>
            <p:custDataLst>
              <p:tags r:id="rId23"/>
            </p:custDataLst>
          </p:nvPr>
        </p:nvSpPr>
        <p:spPr bwMode="gray">
          <a:xfrm>
            <a:off x="5872163" y="4254500"/>
            <a:ext cx="325438" cy="10953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4288" tIns="0" rIns="14288" bIns="0" rtlCol="0" anchor="b"/>
          <a:lstStyle/>
          <a:p>
            <a:pPr algn="ctr">
              <a:lnSpc>
                <a:spcPct val="90000"/>
              </a:lnSpc>
              <a:spcBef>
                <a:spcPct val="0"/>
              </a:spcBef>
              <a:spcAft>
                <a:spcPct val="0"/>
              </a:spcAft>
            </a:pPr>
            <a:fld id="{7A2F1FE8-2F7C-4B08-96E4-966ECB2DE570}" type="datetime'$''''1''''''''''.''''''''''0''''''''''''''''''''''''''''''''M'">
              <a:rPr lang="en-US" altLang="en-US" sz="800" b="1" smtClean="0">
                <a:solidFill>
                  <a:schemeClr val="tx1"/>
                </a:solidFill>
              </a:rPr>
              <a:pPr/>
              <a:t>$1.0M</a:t>
            </a:fld>
            <a:endParaRPr lang="en-US" sz="800" b="1">
              <a:solidFill>
                <a:schemeClr val="tx1"/>
              </a:solidFill>
            </a:endParaRPr>
          </a:p>
        </p:txBody>
      </p:sp>
      <p:sp>
        <p:nvSpPr>
          <p:cNvPr id="525" name="Rectangle 524">
            <a:extLst>
              <a:ext uri="{FF2B5EF4-FFF2-40B4-BE49-F238E27FC236}">
                <a16:creationId xmlns:a16="http://schemas.microsoft.com/office/drawing/2014/main" id="{60DAAAB2-5282-C19F-7EB3-73BED10AD265}"/>
              </a:ext>
            </a:extLst>
          </p:cNvPr>
          <p:cNvSpPr/>
          <p:nvPr>
            <p:custDataLst>
              <p:tags r:id="rId24"/>
            </p:custDataLst>
          </p:nvPr>
        </p:nvSpPr>
        <p:spPr bwMode="gray">
          <a:xfrm>
            <a:off x="6475413" y="4368800"/>
            <a:ext cx="350838" cy="10953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4288" tIns="0" rIns="14288" bIns="0" rtlCol="0" anchor="b"/>
          <a:lstStyle/>
          <a:p>
            <a:pPr algn="ctr">
              <a:lnSpc>
                <a:spcPct val="90000"/>
              </a:lnSpc>
              <a:spcBef>
                <a:spcPct val="0"/>
              </a:spcBef>
              <a:spcAft>
                <a:spcPct val="0"/>
              </a:spcAft>
            </a:pPr>
            <a:fld id="{EED0D10B-70D4-4FAF-9378-7E64A62A005D}" type="datetime'''''''''''''''''''''''''''''''''''''''$''0''''''.9''M'''''''">
              <a:rPr lang="en-US" altLang="en-US" sz="800" b="1" smtClean="0">
                <a:solidFill>
                  <a:schemeClr val="tx1"/>
                </a:solidFill>
              </a:rPr>
              <a:pPr/>
              <a:t>$0.9M</a:t>
            </a:fld>
            <a:endParaRPr lang="en-US" sz="800" b="1">
              <a:solidFill>
                <a:schemeClr val="tx1"/>
              </a:solidFill>
            </a:endParaRPr>
          </a:p>
        </p:txBody>
      </p:sp>
      <p:sp>
        <p:nvSpPr>
          <p:cNvPr id="526" name="Rectangle 525">
            <a:extLst>
              <a:ext uri="{FF2B5EF4-FFF2-40B4-BE49-F238E27FC236}">
                <a16:creationId xmlns:a16="http://schemas.microsoft.com/office/drawing/2014/main" id="{9726EDEF-324C-6430-F038-AB2DE47E796E}"/>
              </a:ext>
            </a:extLst>
          </p:cNvPr>
          <p:cNvSpPr/>
          <p:nvPr>
            <p:custDataLst>
              <p:tags r:id="rId25"/>
            </p:custDataLst>
          </p:nvPr>
        </p:nvSpPr>
        <p:spPr bwMode="gray">
          <a:xfrm>
            <a:off x="7107238" y="3943350"/>
            <a:ext cx="317500" cy="10953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4288" tIns="0" rIns="14288" bIns="0" rtlCol="0" anchor="b"/>
          <a:lstStyle/>
          <a:p>
            <a:pPr algn="ctr">
              <a:lnSpc>
                <a:spcPct val="90000"/>
              </a:lnSpc>
              <a:spcBef>
                <a:spcPct val="0"/>
              </a:spcBef>
              <a:spcAft>
                <a:spcPct val="0"/>
              </a:spcAft>
            </a:pPr>
            <a:fld id="{994E3E96-C70E-4105-A636-F30F9BCB3A33}" type="datetime'''''''''''''''''$''''1''.''''''''''''''''''''2''''M'">
              <a:rPr lang="en-US" altLang="en-US" sz="800" b="1" smtClean="0">
                <a:solidFill>
                  <a:schemeClr val="tx1"/>
                </a:solidFill>
              </a:rPr>
              <a:pPr/>
              <a:t>$1.2M</a:t>
            </a:fld>
            <a:endParaRPr lang="en-US" sz="800" b="1">
              <a:solidFill>
                <a:schemeClr val="tx1"/>
              </a:solidFill>
            </a:endParaRPr>
          </a:p>
        </p:txBody>
      </p:sp>
      <p:sp>
        <p:nvSpPr>
          <p:cNvPr id="527" name="Rectangle 526">
            <a:extLst>
              <a:ext uri="{FF2B5EF4-FFF2-40B4-BE49-F238E27FC236}">
                <a16:creationId xmlns:a16="http://schemas.microsoft.com/office/drawing/2014/main" id="{78E456C7-E383-8389-28FC-BCFDB4FEE5E5}"/>
              </a:ext>
            </a:extLst>
          </p:cNvPr>
          <p:cNvSpPr/>
          <p:nvPr>
            <p:custDataLst>
              <p:tags r:id="rId26"/>
            </p:custDataLst>
          </p:nvPr>
        </p:nvSpPr>
        <p:spPr bwMode="gray">
          <a:xfrm>
            <a:off x="7734300" y="4191000"/>
            <a:ext cx="296863" cy="10953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4288" tIns="0" rIns="14288" bIns="0" rtlCol="0" anchor="b"/>
          <a:lstStyle/>
          <a:p>
            <a:pPr algn="ctr">
              <a:lnSpc>
                <a:spcPct val="90000"/>
              </a:lnSpc>
              <a:spcBef>
                <a:spcPct val="0"/>
              </a:spcBef>
              <a:spcAft>
                <a:spcPct val="0"/>
              </a:spcAft>
            </a:pPr>
            <a:fld id="{3F72E995-B582-413B-B588-C227C93E8E08}" type="datetime'$''1''''''''''''''.''''''''''''1''''M'">
              <a:rPr lang="en-US" altLang="en-US" sz="800" b="1" smtClean="0">
                <a:solidFill>
                  <a:schemeClr val="tx1"/>
                </a:solidFill>
              </a:rPr>
              <a:pPr/>
              <a:t>$1.1M</a:t>
            </a:fld>
            <a:endParaRPr lang="en-US" sz="800" b="1">
              <a:solidFill>
                <a:schemeClr val="tx1"/>
              </a:solidFill>
            </a:endParaRPr>
          </a:p>
        </p:txBody>
      </p:sp>
      <p:sp>
        <p:nvSpPr>
          <p:cNvPr id="528" name="Rectangle 527">
            <a:extLst>
              <a:ext uri="{FF2B5EF4-FFF2-40B4-BE49-F238E27FC236}">
                <a16:creationId xmlns:a16="http://schemas.microsoft.com/office/drawing/2014/main" id="{C216626C-B722-287B-C4B5-FC3B64AD0C81}"/>
              </a:ext>
            </a:extLst>
          </p:cNvPr>
          <p:cNvSpPr/>
          <p:nvPr>
            <p:custDataLst>
              <p:tags r:id="rId27"/>
            </p:custDataLst>
          </p:nvPr>
        </p:nvSpPr>
        <p:spPr bwMode="gray">
          <a:xfrm>
            <a:off x="8335963" y="4251325"/>
            <a:ext cx="325438" cy="10953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4288" tIns="0" rIns="14288" bIns="0" rtlCol="0" anchor="b"/>
          <a:lstStyle/>
          <a:p>
            <a:pPr algn="ctr">
              <a:lnSpc>
                <a:spcPct val="90000"/>
              </a:lnSpc>
              <a:spcBef>
                <a:spcPct val="0"/>
              </a:spcBef>
              <a:spcAft>
                <a:spcPct val="0"/>
              </a:spcAft>
            </a:pPr>
            <a:fld id="{864778F9-2D7A-47CC-B429-23338A185E04}" type="datetime'''''''''''''''''''$''''''''''''''1''''.''''0''M'''''''''">
              <a:rPr lang="en-US" altLang="en-US" sz="800" b="1" smtClean="0">
                <a:solidFill>
                  <a:schemeClr val="tx1"/>
                </a:solidFill>
              </a:rPr>
              <a:pPr/>
              <a:t>$1.0M</a:t>
            </a:fld>
            <a:endParaRPr lang="en-US" sz="800" b="1">
              <a:solidFill>
                <a:schemeClr val="tx1"/>
              </a:solidFill>
            </a:endParaRPr>
          </a:p>
        </p:txBody>
      </p:sp>
      <p:sp>
        <p:nvSpPr>
          <p:cNvPr id="2" name="Text Placeholder 2">
            <a:extLst>
              <a:ext uri="{FF2B5EF4-FFF2-40B4-BE49-F238E27FC236}">
                <a16:creationId xmlns:a16="http://schemas.microsoft.com/office/drawing/2014/main" id="{E437E8B1-783A-44A2-2515-BE727C24DB2E}"/>
              </a:ext>
            </a:extLst>
          </p:cNvPr>
          <p:cNvSpPr>
            <a:spLocks noGrp="1" noChangeArrowheads="1"/>
          </p:cNvSpPr>
          <p:nvPr>
            <p:custDataLst>
              <p:tags r:id="rId28"/>
            </p:custDataLst>
          </p:nvPr>
        </p:nvSpPr>
        <p:spPr bwMode="auto">
          <a:xfrm>
            <a:off x="8920163" y="5948363"/>
            <a:ext cx="388938" cy="115888"/>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37D65FC3-4EA8-4756-9D29-6DE070C6021E}" type="datetime'''''''M''''a''y''''''''’''''''''''''''2''''''4'''''''''''">
              <a:rPr lang="en-US" altLang="en-US" sz="800" b="1" smtClean="0"/>
              <a:pPr/>
              <a:t>May’24</a:t>
            </a:fld>
            <a:endParaRPr lang="en-US" altLang="en-US" sz="800" b="1" dirty="0"/>
          </a:p>
        </p:txBody>
      </p:sp>
      <p:sp>
        <p:nvSpPr>
          <p:cNvPr id="532" name="Rectangle 531">
            <a:extLst>
              <a:ext uri="{FF2B5EF4-FFF2-40B4-BE49-F238E27FC236}">
                <a16:creationId xmlns:a16="http://schemas.microsoft.com/office/drawing/2014/main" id="{D541A0D2-7AEE-356A-6AD2-7F37C5F8AFCF}"/>
              </a:ext>
            </a:extLst>
          </p:cNvPr>
          <p:cNvSpPr/>
          <p:nvPr>
            <p:custDataLst>
              <p:tags r:id="rId29"/>
            </p:custDataLst>
          </p:nvPr>
        </p:nvSpPr>
        <p:spPr bwMode="auto">
          <a:xfrm>
            <a:off x="12166600" y="1655763"/>
            <a:ext cx="142875" cy="106363"/>
          </a:xfrm>
          <a:prstGeom prst="rect">
            <a:avLst/>
          </a:prstGeom>
          <a:solidFill>
            <a:schemeClr val="accent1"/>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34" name="Straight Connector 533">
            <a:extLst>
              <a:ext uri="{FF2B5EF4-FFF2-40B4-BE49-F238E27FC236}">
                <a16:creationId xmlns:a16="http://schemas.microsoft.com/office/drawing/2014/main" id="{B79ACEE6-48A3-6A7D-F608-F8824979EFE2}"/>
              </a:ext>
            </a:extLst>
          </p:cNvPr>
          <p:cNvCxnSpPr/>
          <p:nvPr>
            <p:custDataLst>
              <p:tags r:id="rId30"/>
            </p:custDataLst>
          </p:nvPr>
        </p:nvCxnSpPr>
        <p:spPr bwMode="gray">
          <a:xfrm>
            <a:off x="12260263" y="1881188"/>
            <a:ext cx="44450" cy="0"/>
          </a:xfrm>
          <a:prstGeom prst="line">
            <a:avLst/>
          </a:prstGeom>
          <a:ln w="6350" cap="rnd" cmpd="sng" algn="ctr">
            <a:solidFill>
              <a:srgbClr val="C0C0C0"/>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5" name="Straight Connector 534">
            <a:extLst>
              <a:ext uri="{FF2B5EF4-FFF2-40B4-BE49-F238E27FC236}">
                <a16:creationId xmlns:a16="http://schemas.microsoft.com/office/drawing/2014/main" id="{6396FBEF-B218-61D9-A0C1-942CD5ACFDBD}"/>
              </a:ext>
            </a:extLst>
          </p:cNvPr>
          <p:cNvCxnSpPr/>
          <p:nvPr>
            <p:custDataLst>
              <p:tags r:id="rId31"/>
            </p:custDataLst>
          </p:nvPr>
        </p:nvCxnSpPr>
        <p:spPr bwMode="gray">
          <a:xfrm flipH="1">
            <a:off x="12098338" y="1881188"/>
            <a:ext cx="44450" cy="0"/>
          </a:xfrm>
          <a:prstGeom prst="line">
            <a:avLst/>
          </a:prstGeom>
          <a:ln w="6350" cap="rnd" cmpd="sng" algn="ctr">
            <a:solidFill>
              <a:srgbClr val="C0C0C0"/>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37" name="Oval 536">
            <a:extLst>
              <a:ext uri="{FF2B5EF4-FFF2-40B4-BE49-F238E27FC236}">
                <a16:creationId xmlns:a16="http://schemas.microsoft.com/office/drawing/2014/main" id="{E4BEBEC4-1BEA-8371-8CCB-5B872EFFA54C}"/>
              </a:ext>
            </a:extLst>
          </p:cNvPr>
          <p:cNvSpPr/>
          <p:nvPr>
            <p:custDataLst>
              <p:tags r:id="rId32"/>
            </p:custDataLst>
          </p:nvPr>
        </p:nvSpPr>
        <p:spPr bwMode="auto">
          <a:xfrm>
            <a:off x="12169775" y="1849438"/>
            <a:ext cx="63500" cy="63500"/>
          </a:xfrm>
          <a:prstGeom prst="ellipse">
            <a:avLst/>
          </a:prstGeom>
          <a:solidFill>
            <a:srgbClr val="DFE5EF"/>
          </a:solidFill>
          <a:ln w="9525" cap="flat" cmpd="sng" algn="ctr">
            <a:solidFill>
              <a:srgbClr val="DFE5EF"/>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8" name="Rectangle 537">
            <a:extLst>
              <a:ext uri="{FF2B5EF4-FFF2-40B4-BE49-F238E27FC236}">
                <a16:creationId xmlns:a16="http://schemas.microsoft.com/office/drawing/2014/main" id="{0AF5BE63-398A-17F6-A408-CBFC7914B42D}"/>
              </a:ext>
            </a:extLst>
          </p:cNvPr>
          <p:cNvSpPr/>
          <p:nvPr>
            <p:custDataLst>
              <p:tags r:id="rId33"/>
            </p:custDataLst>
          </p:nvPr>
        </p:nvSpPr>
        <p:spPr bwMode="auto">
          <a:xfrm>
            <a:off x="12360275" y="1651000"/>
            <a:ext cx="339725" cy="12223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18A4C443-E725-4BF1-989D-C541F15AB06A}" type="datetime'''''''$ ''''T''''''''''''''''''''''''''ot''''''''''a''''''''l'">
              <a:rPr lang="en-US" altLang="en-US" sz="800" smtClean="0">
                <a:solidFill>
                  <a:schemeClr val="tx1"/>
                </a:solidFill>
              </a:rPr>
              <a:pPr/>
              <a:t>$ Total</a:t>
            </a:fld>
            <a:endParaRPr lang="en-US" sz="800">
              <a:solidFill>
                <a:schemeClr val="tx1"/>
              </a:solidFill>
            </a:endParaRPr>
          </a:p>
        </p:txBody>
      </p:sp>
      <p:sp>
        <p:nvSpPr>
          <p:cNvPr id="539" name="Rectangle 538">
            <a:extLst>
              <a:ext uri="{FF2B5EF4-FFF2-40B4-BE49-F238E27FC236}">
                <a16:creationId xmlns:a16="http://schemas.microsoft.com/office/drawing/2014/main" id="{123B164D-3ED0-CA29-68F8-4ED09EC92CBF}"/>
              </a:ext>
            </a:extLst>
          </p:cNvPr>
          <p:cNvSpPr/>
          <p:nvPr>
            <p:custDataLst>
              <p:tags r:id="rId34"/>
            </p:custDataLst>
          </p:nvPr>
        </p:nvSpPr>
        <p:spPr bwMode="auto">
          <a:xfrm>
            <a:off x="12360275" y="1824038"/>
            <a:ext cx="361950" cy="12223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8C218478-077F-4C6D-B6E9-1ED2F44ADD86}" type="datetime'''''''''%'''''''''' ''''''''''''T''ot''a''''''l'''''''''">
              <a:rPr lang="en-US" altLang="en-US" sz="800" smtClean="0">
                <a:solidFill>
                  <a:schemeClr val="tx1"/>
                </a:solidFill>
              </a:rPr>
              <a:pPr/>
              <a:t>% Total</a:t>
            </a:fld>
            <a:endParaRPr lang="en-US" sz="800">
              <a:solidFill>
                <a:schemeClr val="tx1"/>
              </a:solidFill>
            </a:endParaRPr>
          </a:p>
        </p:txBody>
      </p:sp>
      <p:sp>
        <p:nvSpPr>
          <p:cNvPr id="552" name="TextBox 551">
            <a:extLst>
              <a:ext uri="{FF2B5EF4-FFF2-40B4-BE49-F238E27FC236}">
                <a16:creationId xmlns:a16="http://schemas.microsoft.com/office/drawing/2014/main" id="{0249EDD0-E8A3-8E84-54A8-EFB3E66258B3}"/>
              </a:ext>
            </a:extLst>
          </p:cNvPr>
          <p:cNvSpPr txBox="1"/>
          <p:nvPr/>
        </p:nvSpPr>
        <p:spPr>
          <a:xfrm>
            <a:off x="235890" y="4560346"/>
            <a:ext cx="938439" cy="227013"/>
          </a:xfrm>
          <a:prstGeom prst="rect">
            <a:avLst/>
          </a:prstGeom>
          <a:noFill/>
        </p:spPr>
        <p:txBody>
          <a:bodyPr wrap="square" lIns="0" tIns="0" rIns="0" bIns="0" rtlCol="0" anchor="ctr">
            <a:noAutofit/>
          </a:bodyPr>
          <a:lstStyle/>
          <a:p>
            <a:pPr algn="r"/>
            <a:r>
              <a:rPr lang="en-US" sz="900" b="1" dirty="0"/>
              <a:t>Total</a:t>
            </a:r>
          </a:p>
        </p:txBody>
      </p:sp>
      <p:grpSp>
        <p:nvGrpSpPr>
          <p:cNvPr id="5" name="Group 4">
            <a:extLst>
              <a:ext uri="{FF2B5EF4-FFF2-40B4-BE49-F238E27FC236}">
                <a16:creationId xmlns:a16="http://schemas.microsoft.com/office/drawing/2014/main" id="{1E3FA68F-9E3C-CFB8-60C7-CBC4C0F5FDDB}"/>
              </a:ext>
            </a:extLst>
          </p:cNvPr>
          <p:cNvGrpSpPr/>
          <p:nvPr/>
        </p:nvGrpSpPr>
        <p:grpSpPr>
          <a:xfrm>
            <a:off x="1415614" y="1736702"/>
            <a:ext cx="1435535" cy="932968"/>
            <a:chOff x="3317132" y="1496763"/>
            <a:chExt cx="1636640" cy="901154"/>
          </a:xfrm>
        </p:grpSpPr>
        <p:sp>
          <p:nvSpPr>
            <p:cNvPr id="7" name="Rectangle 6">
              <a:extLst>
                <a:ext uri="{FF2B5EF4-FFF2-40B4-BE49-F238E27FC236}">
                  <a16:creationId xmlns:a16="http://schemas.microsoft.com/office/drawing/2014/main" id="{4B5DE515-59A7-C2B7-535D-FB6E51AD0EAF}"/>
                </a:ext>
              </a:extLst>
            </p:cNvPr>
            <p:cNvSpPr/>
            <p:nvPr/>
          </p:nvSpPr>
          <p:spPr>
            <a:xfrm>
              <a:off x="3997427" y="1496763"/>
              <a:ext cx="956345" cy="569969"/>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highlight>
                    <a:srgbClr val="FFFFFF"/>
                  </a:highlight>
                </a:rPr>
                <a:t>$49 BI 100 + SE Converged*</a:t>
              </a:r>
            </a:p>
          </p:txBody>
        </p:sp>
        <p:sp>
          <p:nvSpPr>
            <p:cNvPr id="9" name="Rectangle 8">
              <a:extLst>
                <a:ext uri="{FF2B5EF4-FFF2-40B4-BE49-F238E27FC236}">
                  <a16:creationId xmlns:a16="http://schemas.microsoft.com/office/drawing/2014/main" id="{AE27FE1C-8C58-BB93-77F0-6AB28EBDDBAE}"/>
                </a:ext>
              </a:extLst>
            </p:cNvPr>
            <p:cNvSpPr/>
            <p:nvPr/>
          </p:nvSpPr>
          <p:spPr>
            <a:xfrm>
              <a:off x="3318355" y="2110263"/>
              <a:ext cx="643435" cy="287654"/>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highlight>
                    <a:srgbClr val="FFFFFF"/>
                  </a:highlight>
                </a:rPr>
                <a:t>$39 BI 50</a:t>
              </a:r>
            </a:p>
          </p:txBody>
        </p:sp>
        <p:sp>
          <p:nvSpPr>
            <p:cNvPr id="10" name="Rectangle 9">
              <a:extLst>
                <a:ext uri="{FF2B5EF4-FFF2-40B4-BE49-F238E27FC236}">
                  <a16:creationId xmlns:a16="http://schemas.microsoft.com/office/drawing/2014/main" id="{800DF03F-1BE9-FC3E-9EA3-582B8A53BBA2}"/>
                </a:ext>
              </a:extLst>
            </p:cNvPr>
            <p:cNvSpPr/>
            <p:nvPr/>
          </p:nvSpPr>
          <p:spPr>
            <a:xfrm>
              <a:off x="3317132" y="1496764"/>
              <a:ext cx="644658" cy="576619"/>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highlight>
                    <a:srgbClr val="FFFFFF"/>
                  </a:highlight>
                </a:rPr>
                <a:t>$39 BI 50</a:t>
              </a:r>
            </a:p>
          </p:txBody>
        </p:sp>
        <p:sp>
          <p:nvSpPr>
            <p:cNvPr id="12" name="Rectangle 11">
              <a:extLst>
                <a:ext uri="{FF2B5EF4-FFF2-40B4-BE49-F238E27FC236}">
                  <a16:creationId xmlns:a16="http://schemas.microsoft.com/office/drawing/2014/main" id="{AFD58B00-E143-329C-82E0-C94793B01AC3}"/>
                </a:ext>
              </a:extLst>
            </p:cNvPr>
            <p:cNvSpPr/>
            <p:nvPr/>
          </p:nvSpPr>
          <p:spPr>
            <a:xfrm>
              <a:off x="3996048" y="2092048"/>
              <a:ext cx="957724" cy="297208"/>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highlight>
                    <a:srgbClr val="FFFFFF"/>
                  </a:highlight>
                </a:rPr>
                <a:t>$49 BI 100 + SE Converged</a:t>
              </a:r>
            </a:p>
          </p:txBody>
        </p:sp>
      </p:grpSp>
      <p:sp>
        <p:nvSpPr>
          <p:cNvPr id="13" name="Rectangle 12">
            <a:extLst>
              <a:ext uri="{FF2B5EF4-FFF2-40B4-BE49-F238E27FC236}">
                <a16:creationId xmlns:a16="http://schemas.microsoft.com/office/drawing/2014/main" id="{F07EAC51-5804-9FF7-4E22-1205CE4A4B08}"/>
              </a:ext>
            </a:extLst>
          </p:cNvPr>
          <p:cNvSpPr/>
          <p:nvPr/>
        </p:nvSpPr>
        <p:spPr>
          <a:xfrm>
            <a:off x="2898597" y="1755762"/>
            <a:ext cx="633403" cy="283265"/>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highlight>
                  <a:srgbClr val="FFFFFF"/>
                </a:highlight>
              </a:rPr>
              <a:t>$39 BI 50 + SE</a:t>
            </a:r>
          </a:p>
        </p:txBody>
      </p:sp>
      <p:sp>
        <p:nvSpPr>
          <p:cNvPr id="14" name="Rectangle 13">
            <a:extLst>
              <a:ext uri="{FF2B5EF4-FFF2-40B4-BE49-F238E27FC236}">
                <a16:creationId xmlns:a16="http://schemas.microsoft.com/office/drawing/2014/main" id="{B1122378-B1E1-C195-B78F-485211C6C328}"/>
              </a:ext>
            </a:extLst>
          </p:cNvPr>
          <p:cNvSpPr/>
          <p:nvPr/>
        </p:nvSpPr>
        <p:spPr>
          <a:xfrm>
            <a:off x="2897631" y="2108201"/>
            <a:ext cx="2102409" cy="229098"/>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solidFill>
                  <a:schemeClr val="tx1"/>
                </a:solidFill>
                <a:highlight>
                  <a:srgbClr val="FFFFFF"/>
                </a:highlight>
              </a:rPr>
              <a:t>$39 BI 100 + SE</a:t>
            </a:r>
          </a:p>
        </p:txBody>
      </p:sp>
      <p:sp>
        <p:nvSpPr>
          <p:cNvPr id="15" name="Rectangle 14">
            <a:extLst>
              <a:ext uri="{FF2B5EF4-FFF2-40B4-BE49-F238E27FC236}">
                <a16:creationId xmlns:a16="http://schemas.microsoft.com/office/drawing/2014/main" id="{411AB5C2-8954-7341-B9CE-8D99CDCAEA43}"/>
              </a:ext>
            </a:extLst>
          </p:cNvPr>
          <p:cNvSpPr/>
          <p:nvPr/>
        </p:nvSpPr>
        <p:spPr>
          <a:xfrm>
            <a:off x="2897631" y="2415632"/>
            <a:ext cx="2102409" cy="216929"/>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solidFill>
                  <a:schemeClr val="tx1"/>
                </a:solidFill>
                <a:highlight>
                  <a:srgbClr val="FFFFFF"/>
                </a:highlight>
              </a:rPr>
              <a:t>$</a:t>
            </a:r>
            <a:r>
              <a:rPr lang="en-US" sz="700" dirty="0">
                <a:solidFill>
                  <a:schemeClr val="tx1"/>
                </a:solidFill>
                <a:highlight>
                  <a:srgbClr val="FFFFFF"/>
                </a:highlight>
              </a:rPr>
              <a:t>49.99</a:t>
            </a:r>
            <a:r>
              <a:rPr lang="en-US" sz="700">
                <a:solidFill>
                  <a:schemeClr val="tx1"/>
                </a:solidFill>
                <a:highlight>
                  <a:srgbClr val="FFFFFF"/>
                </a:highlight>
              </a:rPr>
              <a:t> BI 50 + SE</a:t>
            </a:r>
          </a:p>
        </p:txBody>
      </p:sp>
      <p:sp>
        <p:nvSpPr>
          <p:cNvPr id="16" name="Rectangle 15">
            <a:extLst>
              <a:ext uri="{FF2B5EF4-FFF2-40B4-BE49-F238E27FC236}">
                <a16:creationId xmlns:a16="http://schemas.microsoft.com/office/drawing/2014/main" id="{6DE70AC1-C0F2-71FD-AA5A-8C372A68AE2F}"/>
              </a:ext>
            </a:extLst>
          </p:cNvPr>
          <p:cNvSpPr/>
          <p:nvPr/>
        </p:nvSpPr>
        <p:spPr>
          <a:xfrm>
            <a:off x="3594736" y="1765420"/>
            <a:ext cx="614115" cy="283265"/>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solidFill>
                  <a:schemeClr val="tx1"/>
                </a:solidFill>
                <a:highlight>
                  <a:srgbClr val="FFFFFF"/>
                </a:highlight>
              </a:rPr>
              <a:t>$</a:t>
            </a:r>
            <a:r>
              <a:rPr lang="en-US" sz="700" dirty="0">
                <a:solidFill>
                  <a:schemeClr val="tx1"/>
                </a:solidFill>
                <a:highlight>
                  <a:srgbClr val="FFFFFF"/>
                </a:highlight>
              </a:rPr>
              <a:t>69.99</a:t>
            </a:r>
            <a:r>
              <a:rPr lang="en-US" sz="700">
                <a:solidFill>
                  <a:schemeClr val="tx1"/>
                </a:solidFill>
                <a:highlight>
                  <a:srgbClr val="FFFFFF"/>
                </a:highlight>
              </a:rPr>
              <a:t> BI 100+ SE</a:t>
            </a:r>
          </a:p>
        </p:txBody>
      </p:sp>
      <p:sp>
        <p:nvSpPr>
          <p:cNvPr id="17" name="Rectangle 16">
            <a:extLst>
              <a:ext uri="{FF2B5EF4-FFF2-40B4-BE49-F238E27FC236}">
                <a16:creationId xmlns:a16="http://schemas.microsoft.com/office/drawing/2014/main" id="{B4E97EEB-9E8F-0E1A-B511-DEF245F598C1}"/>
              </a:ext>
            </a:extLst>
          </p:cNvPr>
          <p:cNvSpPr/>
          <p:nvPr/>
        </p:nvSpPr>
        <p:spPr>
          <a:xfrm>
            <a:off x="4232568" y="1755762"/>
            <a:ext cx="767472" cy="292922"/>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solidFill>
                  <a:schemeClr val="tx1"/>
                </a:solidFill>
                <a:highlight>
                  <a:srgbClr val="FFFFFF"/>
                </a:highlight>
              </a:rPr>
              <a:t>$49 BI 50+SE</a:t>
            </a:r>
          </a:p>
        </p:txBody>
      </p:sp>
      <p:sp>
        <p:nvSpPr>
          <p:cNvPr id="18" name="Rectangle 17">
            <a:extLst>
              <a:ext uri="{FF2B5EF4-FFF2-40B4-BE49-F238E27FC236}">
                <a16:creationId xmlns:a16="http://schemas.microsoft.com/office/drawing/2014/main" id="{199F9771-9327-60D2-33E1-96C796B14535}"/>
              </a:ext>
            </a:extLst>
          </p:cNvPr>
          <p:cNvSpPr/>
          <p:nvPr/>
        </p:nvSpPr>
        <p:spPr>
          <a:xfrm>
            <a:off x="5046522" y="2057898"/>
            <a:ext cx="1819743" cy="274127"/>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solidFill>
                  <a:schemeClr val="tx1"/>
                </a:solidFill>
                <a:highlight>
                  <a:srgbClr val="FFFFFF"/>
                </a:highlight>
              </a:rPr>
              <a:t>$49 BI 100 + SE</a:t>
            </a:r>
          </a:p>
        </p:txBody>
      </p:sp>
      <p:sp>
        <p:nvSpPr>
          <p:cNvPr id="19" name="Rectangle 18">
            <a:extLst>
              <a:ext uri="{FF2B5EF4-FFF2-40B4-BE49-F238E27FC236}">
                <a16:creationId xmlns:a16="http://schemas.microsoft.com/office/drawing/2014/main" id="{653A8221-8312-5D7C-5A98-8239DD78EB44}"/>
              </a:ext>
            </a:extLst>
          </p:cNvPr>
          <p:cNvSpPr/>
          <p:nvPr/>
        </p:nvSpPr>
        <p:spPr>
          <a:xfrm>
            <a:off x="5048807" y="2357857"/>
            <a:ext cx="1152562" cy="283285"/>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solidFill>
                  <a:schemeClr val="tx1"/>
                </a:solidFill>
                <a:highlight>
                  <a:srgbClr val="FFFFFF"/>
                </a:highlight>
              </a:rPr>
              <a:t>$59.99 BI50 +SE</a:t>
            </a:r>
          </a:p>
        </p:txBody>
      </p:sp>
      <p:sp>
        <p:nvSpPr>
          <p:cNvPr id="20" name="Rectangle 19">
            <a:extLst>
              <a:ext uri="{FF2B5EF4-FFF2-40B4-BE49-F238E27FC236}">
                <a16:creationId xmlns:a16="http://schemas.microsoft.com/office/drawing/2014/main" id="{4EA56584-053C-290E-7818-21E77BFEF4EB}"/>
              </a:ext>
            </a:extLst>
          </p:cNvPr>
          <p:cNvSpPr/>
          <p:nvPr/>
        </p:nvSpPr>
        <p:spPr>
          <a:xfrm>
            <a:off x="5048806" y="1759364"/>
            <a:ext cx="1160226" cy="272702"/>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solidFill>
                  <a:schemeClr val="tx1"/>
                </a:solidFill>
                <a:highlight>
                  <a:srgbClr val="FFFFFF"/>
                </a:highlight>
              </a:rPr>
              <a:t>$39 BI 50+SE</a:t>
            </a:r>
          </a:p>
        </p:txBody>
      </p:sp>
      <p:sp>
        <p:nvSpPr>
          <p:cNvPr id="21" name="Rectangle 20">
            <a:extLst>
              <a:ext uri="{FF2B5EF4-FFF2-40B4-BE49-F238E27FC236}">
                <a16:creationId xmlns:a16="http://schemas.microsoft.com/office/drawing/2014/main" id="{4F23AEF3-F07D-ACEB-FAB9-5B9D4A32C12E}"/>
              </a:ext>
            </a:extLst>
          </p:cNvPr>
          <p:cNvSpPr/>
          <p:nvPr/>
        </p:nvSpPr>
        <p:spPr>
          <a:xfrm>
            <a:off x="6224280" y="1757187"/>
            <a:ext cx="645845" cy="272702"/>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solidFill>
                  <a:schemeClr val="tx1"/>
                </a:solidFill>
                <a:highlight>
                  <a:srgbClr val="FFFFFF"/>
                </a:highlight>
              </a:rPr>
              <a:t>$49BI 50+SE</a:t>
            </a:r>
          </a:p>
        </p:txBody>
      </p:sp>
      <p:sp>
        <p:nvSpPr>
          <p:cNvPr id="22" name="Rectangle 21">
            <a:extLst>
              <a:ext uri="{FF2B5EF4-FFF2-40B4-BE49-F238E27FC236}">
                <a16:creationId xmlns:a16="http://schemas.microsoft.com/office/drawing/2014/main" id="{41092B47-7DC8-097B-B330-89BC02A1CE3B}"/>
              </a:ext>
            </a:extLst>
          </p:cNvPr>
          <p:cNvSpPr/>
          <p:nvPr/>
        </p:nvSpPr>
        <p:spPr>
          <a:xfrm>
            <a:off x="6224280" y="2360117"/>
            <a:ext cx="644134" cy="281003"/>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solidFill>
                  <a:schemeClr val="tx1"/>
                </a:solidFill>
                <a:highlight>
                  <a:srgbClr val="FFFFFF"/>
                </a:highlight>
              </a:rPr>
              <a:t>$49BI 50+SE</a:t>
            </a:r>
          </a:p>
        </p:txBody>
      </p:sp>
      <p:sp>
        <p:nvSpPr>
          <p:cNvPr id="23" name="Rectangle 22">
            <a:extLst>
              <a:ext uri="{FF2B5EF4-FFF2-40B4-BE49-F238E27FC236}">
                <a16:creationId xmlns:a16="http://schemas.microsoft.com/office/drawing/2014/main" id="{E8DD2FE8-FA7E-4C1E-4997-BD3FF2CE878D}"/>
              </a:ext>
            </a:extLst>
          </p:cNvPr>
          <p:cNvSpPr/>
          <p:nvPr/>
        </p:nvSpPr>
        <p:spPr>
          <a:xfrm>
            <a:off x="6905171" y="1755763"/>
            <a:ext cx="1577122" cy="243976"/>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solidFill>
                  <a:schemeClr val="tx1"/>
                </a:solidFill>
                <a:highlight>
                  <a:srgbClr val="FFFFFF"/>
                </a:highlight>
              </a:rPr>
              <a:t>$49.99 BI 50 + SE</a:t>
            </a:r>
          </a:p>
        </p:txBody>
      </p:sp>
      <p:sp>
        <p:nvSpPr>
          <p:cNvPr id="24" name="Rectangle 23">
            <a:extLst>
              <a:ext uri="{FF2B5EF4-FFF2-40B4-BE49-F238E27FC236}">
                <a16:creationId xmlns:a16="http://schemas.microsoft.com/office/drawing/2014/main" id="{394ECF8D-D44D-0F1F-EFC1-0B414B776B54}"/>
              </a:ext>
            </a:extLst>
          </p:cNvPr>
          <p:cNvSpPr/>
          <p:nvPr/>
        </p:nvSpPr>
        <p:spPr>
          <a:xfrm>
            <a:off x="6905172" y="2357856"/>
            <a:ext cx="1575927" cy="243977"/>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solidFill>
                  <a:schemeClr val="tx1"/>
                </a:solidFill>
                <a:highlight>
                  <a:srgbClr val="FFFFFF"/>
                </a:highlight>
              </a:rPr>
              <a:t>$49.99 BI 50 + SE</a:t>
            </a:r>
          </a:p>
        </p:txBody>
      </p:sp>
      <p:sp>
        <p:nvSpPr>
          <p:cNvPr id="25" name="Rectangle 24">
            <a:extLst>
              <a:ext uri="{FF2B5EF4-FFF2-40B4-BE49-F238E27FC236}">
                <a16:creationId xmlns:a16="http://schemas.microsoft.com/office/drawing/2014/main" id="{A4B1EF5D-C593-FAB4-47B3-6FED6D0FA902}"/>
              </a:ext>
            </a:extLst>
          </p:cNvPr>
          <p:cNvSpPr/>
          <p:nvPr/>
        </p:nvSpPr>
        <p:spPr>
          <a:xfrm>
            <a:off x="6906366" y="2057387"/>
            <a:ext cx="1575927" cy="231957"/>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highlight>
                  <a:srgbClr val="FFFFFF"/>
                </a:highlight>
              </a:rPr>
              <a:t>$49 BI 100 + SE w/ Mobile</a:t>
            </a:r>
          </a:p>
        </p:txBody>
      </p:sp>
      <p:sp>
        <p:nvSpPr>
          <p:cNvPr id="26" name="Rectangle 25">
            <a:extLst>
              <a:ext uri="{FF2B5EF4-FFF2-40B4-BE49-F238E27FC236}">
                <a16:creationId xmlns:a16="http://schemas.microsoft.com/office/drawing/2014/main" id="{9CE2FCAC-02CD-507C-7C65-230FDE274A42}"/>
              </a:ext>
            </a:extLst>
          </p:cNvPr>
          <p:cNvSpPr/>
          <p:nvPr/>
        </p:nvSpPr>
        <p:spPr>
          <a:xfrm>
            <a:off x="8517339" y="1750197"/>
            <a:ext cx="1021999" cy="272702"/>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highlight>
                  <a:srgbClr val="FFFFFF"/>
                </a:highlight>
              </a:rPr>
              <a:t>$79.99 BI 300+SE</a:t>
            </a:r>
          </a:p>
        </p:txBody>
      </p:sp>
      <p:sp>
        <p:nvSpPr>
          <p:cNvPr id="27" name="Rectangle 26">
            <a:extLst>
              <a:ext uri="{FF2B5EF4-FFF2-40B4-BE49-F238E27FC236}">
                <a16:creationId xmlns:a16="http://schemas.microsoft.com/office/drawing/2014/main" id="{BD2E0209-545C-53BA-BD68-CE3D821514BF}"/>
              </a:ext>
            </a:extLst>
          </p:cNvPr>
          <p:cNvSpPr/>
          <p:nvPr/>
        </p:nvSpPr>
        <p:spPr>
          <a:xfrm>
            <a:off x="8518302" y="2070163"/>
            <a:ext cx="1016417" cy="227615"/>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highlight>
                  <a:srgbClr val="FFFFFF"/>
                </a:highlight>
              </a:rPr>
              <a:t>$49 BI 300+SE</a:t>
            </a:r>
          </a:p>
        </p:txBody>
      </p:sp>
      <p:sp>
        <p:nvSpPr>
          <p:cNvPr id="28" name="Rectangle 27">
            <a:extLst>
              <a:ext uri="{FF2B5EF4-FFF2-40B4-BE49-F238E27FC236}">
                <a16:creationId xmlns:a16="http://schemas.microsoft.com/office/drawing/2014/main" id="{98A333CC-35B1-7BB2-5183-B5C4663B6B01}"/>
              </a:ext>
            </a:extLst>
          </p:cNvPr>
          <p:cNvSpPr/>
          <p:nvPr/>
        </p:nvSpPr>
        <p:spPr>
          <a:xfrm>
            <a:off x="8531016" y="2346091"/>
            <a:ext cx="1016416" cy="243977"/>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highlight>
                  <a:srgbClr val="FFFFFF"/>
                </a:highlight>
              </a:rPr>
              <a:t>$49 BI 150 + SE</a:t>
            </a:r>
          </a:p>
        </p:txBody>
      </p:sp>
    </p:spTree>
    <p:extLst>
      <p:ext uri="{BB962C8B-B14F-4D97-AF65-F5344CB8AC3E}">
        <p14:creationId xmlns:p14="http://schemas.microsoft.com/office/powerpoint/2010/main" val="954019850"/>
      </p:ext>
    </p:extLst>
  </p:cSld>
  <p:clrMapOvr>
    <a:masterClrMapping/>
  </p:clrMapOvr>
  <p:transition spd="med"/>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1A833C5-3500-7D6C-02D1-1D257419EFD4}"/>
              </a:ext>
            </a:extLst>
          </p:cNvPr>
          <p:cNvGraphicFramePr>
            <a:graphicFrameLocks noChangeAspect="1"/>
          </p:cNvGraphicFramePr>
          <p:nvPr>
            <p:custDataLst>
              <p:tags r:id="rId1"/>
            </p:custDataLst>
            <p:extLst>
              <p:ext uri="{D42A27DB-BD31-4B8C-83A1-F6EECF244321}">
                <p14:modId xmlns:p14="http://schemas.microsoft.com/office/powerpoint/2010/main" val="16898521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2" imgW="395" imgH="396" progId="TCLayout.ActiveDocument.1">
                  <p:embed/>
                </p:oleObj>
              </mc:Choice>
              <mc:Fallback>
                <p:oleObj name="think-cell Slide" r:id="rId92" imgW="395" imgH="396" progId="TCLayout.ActiveDocument.1">
                  <p:embed/>
                  <p:pic>
                    <p:nvPicPr>
                      <p:cNvPr id="6" name="think-cell data - do not delete" hidden="1">
                        <a:extLst>
                          <a:ext uri="{FF2B5EF4-FFF2-40B4-BE49-F238E27FC236}">
                            <a16:creationId xmlns:a16="http://schemas.microsoft.com/office/drawing/2014/main" id="{A1A833C5-3500-7D6C-02D1-1D257419EFD4}"/>
                          </a:ext>
                        </a:extLst>
                      </p:cNvPr>
                      <p:cNvPicPr/>
                      <p:nvPr/>
                    </p:nvPicPr>
                    <p:blipFill>
                      <a:blip r:embed="rId93"/>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3774AED8-7B7B-E8A9-B655-236921FB1FB7}"/>
              </a:ext>
            </a:extLst>
          </p:cNvPr>
          <p:cNvSpPr>
            <a:spLocks noGrp="1"/>
          </p:cNvSpPr>
          <p:nvPr>
            <p:ph type="title"/>
          </p:nvPr>
        </p:nvSpPr>
        <p:spPr/>
        <p:txBody>
          <a:bodyPr vert="horz"/>
          <a:lstStyle/>
          <a:p>
            <a:r>
              <a:rPr lang="en-US" dirty="0"/>
              <a:t>[main takeaway]</a:t>
            </a:r>
          </a:p>
        </p:txBody>
      </p:sp>
      <p:sp>
        <p:nvSpPr>
          <p:cNvPr id="11" name="Text Placeholder 15">
            <a:extLst>
              <a:ext uri="{FF2B5EF4-FFF2-40B4-BE49-F238E27FC236}">
                <a16:creationId xmlns:a16="http://schemas.microsoft.com/office/drawing/2014/main" id="{0F76527C-8110-4CE9-07B8-92645F0C7354}"/>
              </a:ext>
            </a:extLst>
          </p:cNvPr>
          <p:cNvSpPr txBox="1">
            <a:spLocks/>
          </p:cNvSpPr>
          <p:nvPr/>
        </p:nvSpPr>
        <p:spPr>
          <a:xfrm>
            <a:off x="463549" y="874390"/>
            <a:ext cx="11271250" cy="261466"/>
          </a:xfrm>
          <a:prstGeom prst="rect">
            <a:avLst/>
          </a:prstGeom>
        </p:spPr>
        <p:txBody>
          <a:bodyPr lIns="0" tIns="0" rIns="0" bIns="0" anchor="t"/>
          <a:lstStyle>
            <a:lvl1pPr marL="0" indent="0" algn="l" rtl="0" eaLnBrk="1" fontAlgn="base" hangingPunct="1">
              <a:lnSpc>
                <a:spcPct val="95000"/>
              </a:lnSpc>
              <a:spcBef>
                <a:spcPts val="1000"/>
              </a:spcBef>
              <a:spcAft>
                <a:spcPct val="0"/>
              </a:spcAft>
              <a:buFont typeface="Arial" panose="020B0604020202020204" pitchFamily="34" charset="0"/>
              <a:buNone/>
              <a:defRPr sz="1800" b="0" i="0" kern="1200">
                <a:solidFill>
                  <a:schemeClr val="tx1"/>
                </a:solidFill>
                <a:latin typeface="Montserrat Light" pitchFamily="2" charset="77"/>
                <a:ea typeface="+mn-ea"/>
                <a:cs typeface="Montserrat Light" pitchFamily="2" charset="77"/>
              </a:defRPr>
            </a:lvl1pPr>
            <a:lvl2pPr marL="174625" indent="-174625" algn="l" rtl="0" eaLnBrk="1" fontAlgn="base" hangingPunct="1">
              <a:lnSpc>
                <a:spcPct val="90000"/>
              </a:lnSpc>
              <a:spcBef>
                <a:spcPts val="1200"/>
              </a:spcBef>
              <a:spcAft>
                <a:spcPct val="0"/>
              </a:spcAft>
              <a:buFont typeface="Arial" panose="020B0604020202020204" pitchFamily="34" charset="0"/>
              <a:buChar char="•"/>
              <a:tabLst/>
              <a:defRPr sz="1800" b="0" i="0" kern="1200">
                <a:solidFill>
                  <a:schemeClr val="tx1"/>
                </a:solidFill>
                <a:latin typeface="Montserrat Light" pitchFamily="2" charset="77"/>
                <a:ea typeface="+mn-ea"/>
                <a:cs typeface="Montserrat Light" pitchFamily="2" charset="77"/>
              </a:defRPr>
            </a:lvl2pPr>
            <a:lvl3pPr marL="560070" indent="-285750" algn="l" rtl="0" eaLnBrk="1" fontAlgn="base" hangingPunct="1">
              <a:lnSpc>
                <a:spcPct val="90000"/>
              </a:lnSpc>
              <a:spcBef>
                <a:spcPts val="1200"/>
              </a:spcBef>
              <a:spcAft>
                <a:spcPct val="0"/>
              </a:spcAft>
              <a:buFont typeface="Montserrat" panose="00000500000000000000" pitchFamily="2" charset="0"/>
              <a:buChar char="–"/>
              <a:defRPr sz="1800" b="0" i="0" kern="1200">
                <a:solidFill>
                  <a:schemeClr val="tx1"/>
                </a:solidFill>
                <a:latin typeface="Montserrat Light" pitchFamily="2" charset="77"/>
                <a:ea typeface="+mn-ea"/>
                <a:cs typeface="Montserrat Light" pitchFamily="2" charset="77"/>
              </a:defRPr>
            </a:lvl3pPr>
            <a:lvl4pPr marL="834390" indent="-285750" algn="l" rtl="0" eaLnBrk="1" fontAlgn="base" hangingPunct="1">
              <a:lnSpc>
                <a:spcPct val="90000"/>
              </a:lnSpc>
              <a:spcBef>
                <a:spcPts val="1200"/>
              </a:spcBef>
              <a:spcAft>
                <a:spcPct val="0"/>
              </a:spcAft>
              <a:buFont typeface="Courier New" panose="02070309020205020404" pitchFamily="49" charset="0"/>
              <a:buChar char="o"/>
              <a:defRPr sz="1600" b="0" i="0" kern="1200">
                <a:solidFill>
                  <a:schemeClr val="tx1"/>
                </a:solidFill>
                <a:latin typeface="Montserrat Light" pitchFamily="2" charset="77"/>
                <a:ea typeface="+mn-ea"/>
                <a:cs typeface="Montserrat Light" pitchFamily="2" charset="77"/>
              </a:defRPr>
            </a:lvl4pPr>
            <a:lvl5pPr marL="1108710" indent="-285750" algn="l" rtl="0" eaLnBrk="1" fontAlgn="base" hangingPunct="1">
              <a:lnSpc>
                <a:spcPct val="90000"/>
              </a:lnSpc>
              <a:spcBef>
                <a:spcPts val="500"/>
              </a:spcBef>
              <a:spcAft>
                <a:spcPct val="0"/>
              </a:spcAft>
              <a:buFont typeface="Arial" panose="020B0604020202020204" pitchFamily="34" charset="0"/>
              <a:defRPr lang="en-US" sz="1400" b="0" i="0" u="none" strike="noStrike" kern="1200" cap="none" spc="0" baseline="0" dirty="0">
                <a:solidFill>
                  <a:srgbClr val="000000"/>
                </a:solidFill>
                <a:uFillTx/>
                <a:latin typeface="Montserrat Light" pitchFamily="2" charset="77"/>
                <a:ea typeface="Montserrat" panose="00000500000000000000" pitchFamily="2" charset="0"/>
                <a:cs typeface="Montserrat Light" pitchFamily="2" charset="77"/>
                <a:sym typeface="Montserrat" panose="000005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dirty="0">
                <a:latin typeface="+mn-lt"/>
              </a:rPr>
              <a:t>Lorem ipsum dolor sit </a:t>
            </a:r>
            <a:r>
              <a:rPr lang="en-US" sz="1400" dirty="0" err="1">
                <a:latin typeface="+mn-lt"/>
              </a:rPr>
              <a:t>amet</a:t>
            </a:r>
            <a:r>
              <a:rPr lang="en-US" sz="1400" dirty="0">
                <a:latin typeface="+mn-lt"/>
              </a:rPr>
              <a:t>, </a:t>
            </a:r>
            <a:r>
              <a:rPr lang="en-US" sz="1400" dirty="0" err="1">
                <a:latin typeface="+mn-lt"/>
              </a:rPr>
              <a:t>consectetur</a:t>
            </a:r>
            <a:r>
              <a:rPr lang="en-US" sz="1400" dirty="0">
                <a:latin typeface="+mn-lt"/>
              </a:rPr>
              <a:t> </a:t>
            </a:r>
            <a:r>
              <a:rPr lang="en-US" sz="1400" dirty="0" err="1">
                <a:latin typeface="+mn-lt"/>
              </a:rPr>
              <a:t>adipiscing</a:t>
            </a:r>
            <a:r>
              <a:rPr lang="en-US" sz="1400" dirty="0">
                <a:latin typeface="+mn-lt"/>
              </a:rPr>
              <a:t> </a:t>
            </a:r>
            <a:r>
              <a:rPr lang="en-US" sz="1400" dirty="0" err="1">
                <a:latin typeface="+mn-lt"/>
              </a:rPr>
              <a:t>elit</a:t>
            </a:r>
            <a:r>
              <a:rPr lang="en-US" sz="1400" dirty="0">
                <a:latin typeface="+mn-lt"/>
              </a:rPr>
              <a:t>, sed do </a:t>
            </a:r>
            <a:r>
              <a:rPr lang="en-US" sz="1400" dirty="0" err="1">
                <a:latin typeface="+mn-lt"/>
              </a:rPr>
              <a:t>eiusmod</a:t>
            </a:r>
            <a:r>
              <a:rPr lang="en-US" sz="1400" dirty="0">
                <a:latin typeface="+mn-lt"/>
              </a:rPr>
              <a:t> </a:t>
            </a:r>
            <a:r>
              <a:rPr lang="en-US" sz="1400" dirty="0" err="1">
                <a:latin typeface="+mn-lt"/>
              </a:rPr>
              <a:t>tempor</a:t>
            </a:r>
            <a:r>
              <a:rPr lang="en-US" sz="1400" dirty="0">
                <a:latin typeface="+mn-lt"/>
              </a:rPr>
              <a:t> </a:t>
            </a:r>
            <a:r>
              <a:rPr lang="en-US" sz="1400" dirty="0" err="1">
                <a:latin typeface="+mn-lt"/>
              </a:rPr>
              <a:t>incididunt</a:t>
            </a:r>
            <a:r>
              <a:rPr lang="en-US" sz="1400" dirty="0">
                <a:latin typeface="+mn-lt"/>
              </a:rPr>
              <a:t> </a:t>
            </a:r>
            <a:r>
              <a:rPr lang="en-US" sz="1400" dirty="0" err="1">
                <a:latin typeface="+mn-lt"/>
              </a:rPr>
              <a:t>ut</a:t>
            </a:r>
            <a:r>
              <a:rPr lang="en-US" sz="1400" dirty="0">
                <a:latin typeface="+mn-lt"/>
              </a:rPr>
              <a:t> labore et dolore magna </a:t>
            </a:r>
            <a:r>
              <a:rPr lang="en-US" sz="1400" dirty="0" err="1">
                <a:latin typeface="+mn-lt"/>
              </a:rPr>
              <a:t>aliqua</a:t>
            </a:r>
            <a:r>
              <a:rPr lang="en-US" sz="1400" dirty="0">
                <a:latin typeface="+mn-lt"/>
              </a:rPr>
              <a:t>. Ut </a:t>
            </a:r>
            <a:r>
              <a:rPr lang="en-US" sz="1400" dirty="0" err="1">
                <a:latin typeface="+mn-lt"/>
              </a:rPr>
              <a:t>enim</a:t>
            </a:r>
            <a:r>
              <a:rPr lang="en-US" sz="1400" dirty="0">
                <a:latin typeface="+mn-lt"/>
              </a:rPr>
              <a:t> ad minim </a:t>
            </a:r>
            <a:r>
              <a:rPr lang="en-US" sz="1400" dirty="0" err="1">
                <a:latin typeface="+mn-lt"/>
              </a:rPr>
              <a:t>veniam</a:t>
            </a:r>
            <a:r>
              <a:rPr lang="en-US" sz="1400" dirty="0">
                <a:latin typeface="+mn-lt"/>
              </a:rPr>
              <a:t>, </a:t>
            </a:r>
            <a:r>
              <a:rPr lang="en-US" sz="1400" dirty="0" err="1">
                <a:latin typeface="+mn-lt"/>
              </a:rPr>
              <a:t>quis</a:t>
            </a:r>
            <a:r>
              <a:rPr lang="en-US" sz="1400" dirty="0">
                <a:latin typeface="+mn-lt"/>
              </a:rPr>
              <a:t> </a:t>
            </a:r>
            <a:r>
              <a:rPr lang="en-US" sz="1400" dirty="0" err="1">
                <a:latin typeface="+mn-lt"/>
              </a:rPr>
              <a:t>nostrud</a:t>
            </a:r>
            <a:r>
              <a:rPr lang="en-US" sz="1400" dirty="0">
                <a:latin typeface="+mn-lt"/>
              </a:rPr>
              <a:t> exercitation </a:t>
            </a:r>
            <a:r>
              <a:rPr lang="en-US" sz="1400" dirty="0" err="1">
                <a:latin typeface="+mn-lt"/>
              </a:rPr>
              <a:t>ullamco</a:t>
            </a:r>
            <a:r>
              <a:rPr lang="en-US" sz="1400" dirty="0">
                <a:latin typeface="+mn-lt"/>
              </a:rPr>
              <a:t> </a:t>
            </a:r>
            <a:r>
              <a:rPr lang="en-US" sz="1400" dirty="0" err="1">
                <a:latin typeface="+mn-lt"/>
              </a:rPr>
              <a:t>laboris</a:t>
            </a:r>
            <a:r>
              <a:rPr lang="en-US" sz="1400" dirty="0">
                <a:latin typeface="+mn-lt"/>
              </a:rPr>
              <a:t> nisi </a:t>
            </a:r>
            <a:r>
              <a:rPr lang="en-US" sz="1400" dirty="0" err="1">
                <a:latin typeface="+mn-lt"/>
              </a:rPr>
              <a:t>ut</a:t>
            </a:r>
            <a:r>
              <a:rPr lang="en-US" sz="1400" dirty="0">
                <a:latin typeface="+mn-lt"/>
              </a:rPr>
              <a:t> </a:t>
            </a:r>
            <a:r>
              <a:rPr lang="en-US" sz="1400" dirty="0" err="1">
                <a:latin typeface="+mn-lt"/>
              </a:rPr>
              <a:t>aliquip</a:t>
            </a:r>
            <a:r>
              <a:rPr lang="en-US" sz="1400" dirty="0">
                <a:latin typeface="+mn-lt"/>
              </a:rPr>
              <a:t> ex </a:t>
            </a:r>
            <a:r>
              <a:rPr lang="en-US" sz="1400" dirty="0" err="1">
                <a:latin typeface="+mn-lt"/>
              </a:rPr>
              <a:t>ea</a:t>
            </a:r>
            <a:r>
              <a:rPr lang="en-US" sz="1400" dirty="0">
                <a:latin typeface="+mn-lt"/>
              </a:rPr>
              <a:t> </a:t>
            </a:r>
            <a:r>
              <a:rPr lang="en-US" sz="1400" dirty="0" err="1">
                <a:latin typeface="+mn-lt"/>
              </a:rPr>
              <a:t>commodo</a:t>
            </a:r>
            <a:r>
              <a:rPr lang="en-US" sz="1400" dirty="0">
                <a:latin typeface="+mn-lt"/>
              </a:rPr>
              <a:t> </a:t>
            </a:r>
            <a:r>
              <a:rPr lang="en-US" sz="1400" dirty="0" err="1">
                <a:latin typeface="+mn-lt"/>
              </a:rPr>
              <a:t>consequat</a:t>
            </a:r>
            <a:r>
              <a:rPr lang="en-US" sz="1400" dirty="0">
                <a:latin typeface="+mn-lt"/>
              </a:rPr>
              <a:t>.</a:t>
            </a:r>
          </a:p>
        </p:txBody>
      </p:sp>
      <p:sp>
        <p:nvSpPr>
          <p:cNvPr id="432" name="Text Placeholder 3">
            <a:extLst>
              <a:ext uri="{FF2B5EF4-FFF2-40B4-BE49-F238E27FC236}">
                <a16:creationId xmlns:a16="http://schemas.microsoft.com/office/drawing/2014/main" id="{AE210B21-9593-27FA-D260-1A4A9EA682A6}"/>
              </a:ext>
            </a:extLst>
          </p:cNvPr>
          <p:cNvSpPr>
            <a:spLocks noGrp="1"/>
          </p:cNvSpPr>
          <p:nvPr>
            <p:ph type="body" sz="quarter" idx="25"/>
          </p:nvPr>
        </p:nvSpPr>
        <p:spPr>
          <a:xfrm>
            <a:off x="463550" y="255588"/>
            <a:ext cx="11271250" cy="201612"/>
          </a:xfrm>
        </p:spPr>
        <p:txBody>
          <a:bodyPr/>
          <a:lstStyle/>
          <a:p>
            <a:r>
              <a:rPr lang="en-US" dirty="0"/>
              <a:t>SB Digital CVR% and Leads</a:t>
            </a:r>
            <a:endParaRPr lang="en-US" altLang="en-US" dirty="0"/>
          </a:p>
        </p:txBody>
      </p:sp>
      <p:graphicFrame>
        <p:nvGraphicFramePr>
          <p:cNvPr id="29" name="Chart 28">
            <a:extLst>
              <a:ext uri="{FF2B5EF4-FFF2-40B4-BE49-F238E27FC236}">
                <a16:creationId xmlns:a16="http://schemas.microsoft.com/office/drawing/2014/main" id="{95AE84A1-4D62-AFA2-7052-481F24D7690A}"/>
              </a:ext>
            </a:extLst>
          </p:cNvPr>
          <p:cNvGraphicFramePr/>
          <p:nvPr>
            <p:custDataLst>
              <p:tags r:id="rId2"/>
            </p:custDataLst>
            <p:extLst>
              <p:ext uri="{D42A27DB-BD31-4B8C-83A1-F6EECF244321}">
                <p14:modId xmlns:p14="http://schemas.microsoft.com/office/powerpoint/2010/main" val="2612542539"/>
              </p:ext>
            </p:extLst>
          </p:nvPr>
        </p:nvGraphicFramePr>
        <p:xfrm>
          <a:off x="276225" y="1976438"/>
          <a:ext cx="5578475" cy="3711575"/>
        </p:xfrm>
        <a:graphic>
          <a:graphicData uri="http://schemas.openxmlformats.org/drawingml/2006/chart">
            <c:chart xmlns:c="http://schemas.openxmlformats.org/drawingml/2006/chart" xmlns:r="http://schemas.openxmlformats.org/officeDocument/2006/relationships" r:id="rId94"/>
          </a:graphicData>
        </a:graphic>
      </p:graphicFrame>
      <p:cxnSp>
        <p:nvCxnSpPr>
          <p:cNvPr id="22" name="Straight Connector 21">
            <a:extLst>
              <a:ext uri="{FF2B5EF4-FFF2-40B4-BE49-F238E27FC236}">
                <a16:creationId xmlns:a16="http://schemas.microsoft.com/office/drawing/2014/main" id="{984E7B66-DF03-7BE2-9843-BD43475F68CD}"/>
              </a:ext>
            </a:extLst>
          </p:cNvPr>
          <p:cNvCxnSpPr/>
          <p:nvPr>
            <p:custDataLst>
              <p:tags r:id="rId3"/>
            </p:custDataLst>
          </p:nvPr>
        </p:nvCxnSpPr>
        <p:spPr bwMode="auto">
          <a:xfrm>
            <a:off x="1131888" y="4519613"/>
            <a:ext cx="0" cy="2381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4CC7A595-368C-5EC1-2B54-0EDE56622984}"/>
              </a:ext>
            </a:extLst>
          </p:cNvPr>
          <p:cNvCxnSpPr>
            <a:cxnSpLocks/>
          </p:cNvCxnSpPr>
          <p:nvPr>
            <p:custDataLst>
              <p:tags r:id="rId4"/>
            </p:custDataLst>
          </p:nvPr>
        </p:nvCxnSpPr>
        <p:spPr bwMode="auto">
          <a:xfrm flipH="1">
            <a:off x="409575" y="4519613"/>
            <a:ext cx="58738" cy="4762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61" name="Straight Connector 960">
            <a:extLst>
              <a:ext uri="{FF2B5EF4-FFF2-40B4-BE49-F238E27FC236}">
                <a16:creationId xmlns:a16="http://schemas.microsoft.com/office/drawing/2014/main" id="{4CF9A49E-FC5D-F24A-D98C-A0206A460833}"/>
              </a:ext>
            </a:extLst>
          </p:cNvPr>
          <p:cNvCxnSpPr/>
          <p:nvPr>
            <p:custDataLst>
              <p:tags r:id="rId5"/>
            </p:custDataLst>
          </p:nvPr>
        </p:nvCxnSpPr>
        <p:spPr bwMode="auto">
          <a:xfrm flipV="1">
            <a:off x="3452813" y="4119563"/>
            <a:ext cx="0" cy="23812"/>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62" name="Straight Connector 961">
            <a:extLst>
              <a:ext uri="{FF2B5EF4-FFF2-40B4-BE49-F238E27FC236}">
                <a16:creationId xmlns:a16="http://schemas.microsoft.com/office/drawing/2014/main" id="{45105968-7FAB-A3D1-5CB1-3612C9E62FDA}"/>
              </a:ext>
            </a:extLst>
          </p:cNvPr>
          <p:cNvCxnSpPr/>
          <p:nvPr>
            <p:custDataLst>
              <p:tags r:id="rId6"/>
            </p:custDataLst>
          </p:nvPr>
        </p:nvCxnSpPr>
        <p:spPr bwMode="auto">
          <a:xfrm>
            <a:off x="3452813" y="4075113"/>
            <a:ext cx="0" cy="23812"/>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95" name="Straight Connector 994">
            <a:extLst>
              <a:ext uri="{FF2B5EF4-FFF2-40B4-BE49-F238E27FC236}">
                <a16:creationId xmlns:a16="http://schemas.microsoft.com/office/drawing/2014/main" id="{255D4B62-124A-4C7F-C923-C82206D8F975}"/>
              </a:ext>
            </a:extLst>
          </p:cNvPr>
          <p:cNvCxnSpPr/>
          <p:nvPr>
            <p:custDataLst>
              <p:tags r:id="rId7"/>
            </p:custDataLst>
          </p:nvPr>
        </p:nvCxnSpPr>
        <p:spPr bwMode="auto">
          <a:xfrm flipV="1">
            <a:off x="4225925" y="4784725"/>
            <a:ext cx="0" cy="2381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98" name="Straight Connector 997">
            <a:extLst>
              <a:ext uri="{FF2B5EF4-FFF2-40B4-BE49-F238E27FC236}">
                <a16:creationId xmlns:a16="http://schemas.microsoft.com/office/drawing/2014/main" id="{15E2F841-4D99-5864-D5E6-BCC64445F5D7}"/>
              </a:ext>
            </a:extLst>
          </p:cNvPr>
          <p:cNvCxnSpPr/>
          <p:nvPr>
            <p:custDataLst>
              <p:tags r:id="rId8"/>
            </p:custDataLst>
          </p:nvPr>
        </p:nvCxnSpPr>
        <p:spPr bwMode="auto">
          <a:xfrm>
            <a:off x="4999038" y="4630738"/>
            <a:ext cx="0" cy="23812"/>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99" name="Straight Connector 998">
            <a:extLst>
              <a:ext uri="{FF2B5EF4-FFF2-40B4-BE49-F238E27FC236}">
                <a16:creationId xmlns:a16="http://schemas.microsoft.com/office/drawing/2014/main" id="{4B312DDB-1B08-03DA-B977-0F3A6D1E8B24}"/>
              </a:ext>
            </a:extLst>
          </p:cNvPr>
          <p:cNvCxnSpPr/>
          <p:nvPr>
            <p:custDataLst>
              <p:tags r:id="rId9"/>
            </p:custDataLst>
          </p:nvPr>
        </p:nvCxnSpPr>
        <p:spPr bwMode="auto">
          <a:xfrm flipV="1">
            <a:off x="4999038" y="4673600"/>
            <a:ext cx="0" cy="2381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BCF82CFF-116D-0515-360A-4321FBC67F0B}"/>
              </a:ext>
            </a:extLst>
          </p:cNvPr>
          <p:cNvCxnSpPr/>
          <p:nvPr>
            <p:custDataLst>
              <p:tags r:id="rId10"/>
            </p:custDataLst>
          </p:nvPr>
        </p:nvCxnSpPr>
        <p:spPr bwMode="auto">
          <a:xfrm flipV="1">
            <a:off x="2678113" y="4562475"/>
            <a:ext cx="0" cy="2381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76" name="Rectangle 975">
            <a:extLst>
              <a:ext uri="{FF2B5EF4-FFF2-40B4-BE49-F238E27FC236}">
                <a16:creationId xmlns:a16="http://schemas.microsoft.com/office/drawing/2014/main" id="{2A12B711-6103-638F-DC93-E91ED91DE871}"/>
              </a:ext>
            </a:extLst>
          </p:cNvPr>
          <p:cNvSpPr/>
          <p:nvPr>
            <p:custDataLst>
              <p:tags r:id="rId11"/>
            </p:custDataLst>
          </p:nvPr>
        </p:nvSpPr>
        <p:spPr bwMode="gray">
          <a:xfrm>
            <a:off x="977900" y="3255963"/>
            <a:ext cx="30956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lvl="0" algn="ctr">
              <a:lnSpc>
                <a:spcPct val="90000"/>
              </a:lnSpc>
              <a:spcBef>
                <a:spcPct val="0"/>
              </a:spcBef>
              <a:spcAft>
                <a:spcPct val="0"/>
              </a:spcAft>
              <a:defRPr/>
            </a:pPr>
            <a:fld id="{BE0FAF28-67F6-415C-9B9E-E3C311FF3198}" type="datetime'''''''2''''''''''''''''.''''''''''2''''''''''''%'''''''''''''">
              <a:rPr lang="en-US" altLang="en-US" sz="1000" smtClean="0">
                <a:solidFill>
                  <a:schemeClr val="tx1"/>
                </a:solidFill>
              </a:rPr>
              <a:pPr/>
              <a:t>2.2%</a:t>
            </a:fld>
            <a:endParaRPr kumimoji="0" lang="en-US" sz="1000" b="0" i="0" strike="noStrike" kern="1200" cap="none" spc="0" normalizeH="0" baseline="0" noProof="0">
              <a:ln>
                <a:noFill/>
              </a:ln>
              <a:solidFill>
                <a:schemeClr val="tx1"/>
              </a:solidFill>
              <a:effectLst/>
              <a:uLnTx/>
              <a:uFillTx/>
            </a:endParaRPr>
          </a:p>
        </p:txBody>
      </p:sp>
      <p:sp>
        <p:nvSpPr>
          <p:cNvPr id="977" name="Rectangle 976">
            <a:extLst>
              <a:ext uri="{FF2B5EF4-FFF2-40B4-BE49-F238E27FC236}">
                <a16:creationId xmlns:a16="http://schemas.microsoft.com/office/drawing/2014/main" id="{9FFFDD41-2A32-EFBC-6192-CA0239FC53F3}"/>
              </a:ext>
            </a:extLst>
          </p:cNvPr>
          <p:cNvSpPr/>
          <p:nvPr>
            <p:custDataLst>
              <p:tags r:id="rId12"/>
            </p:custDataLst>
          </p:nvPr>
        </p:nvSpPr>
        <p:spPr bwMode="gray">
          <a:xfrm>
            <a:off x="968375" y="4697413"/>
            <a:ext cx="32861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lvl="0" algn="ctr">
              <a:lnSpc>
                <a:spcPct val="90000"/>
              </a:lnSpc>
              <a:spcBef>
                <a:spcPct val="0"/>
              </a:spcBef>
              <a:spcAft>
                <a:spcPct val="0"/>
              </a:spcAft>
              <a:defRPr/>
            </a:pPr>
            <a:fld id="{342EBBD5-9D8D-471E-8E50-49B0A0D0EDEA}" type="datetime'''''0''''''''''''''''''''''.''9''''''''''''''''''''''%'''''''">
              <a:rPr lang="en-US" altLang="en-US" sz="1000" smtClean="0">
                <a:solidFill>
                  <a:srgbClr val="000000"/>
                </a:solidFill>
              </a:rPr>
              <a:pPr/>
              <a:t>0.9%</a:t>
            </a:fld>
            <a:endParaRPr kumimoji="0" lang="en-US" sz="1000" b="0" i="0" strike="noStrike" kern="1200" cap="none" spc="0" normalizeH="0" baseline="0" noProof="0">
              <a:ln>
                <a:noFill/>
              </a:ln>
              <a:solidFill>
                <a:srgbClr val="000000"/>
              </a:solidFill>
              <a:effectLst/>
              <a:uLnTx/>
              <a:uFillTx/>
            </a:endParaRPr>
          </a:p>
        </p:txBody>
      </p:sp>
      <p:sp>
        <p:nvSpPr>
          <p:cNvPr id="978" name="Rectangle 977">
            <a:extLst>
              <a:ext uri="{FF2B5EF4-FFF2-40B4-BE49-F238E27FC236}">
                <a16:creationId xmlns:a16="http://schemas.microsoft.com/office/drawing/2014/main" id="{79354E2A-4612-ACB2-F2EB-378FD2B7224B}"/>
              </a:ext>
            </a:extLst>
          </p:cNvPr>
          <p:cNvSpPr/>
          <p:nvPr>
            <p:custDataLst>
              <p:tags r:id="rId13"/>
            </p:custDataLst>
          </p:nvPr>
        </p:nvSpPr>
        <p:spPr bwMode="gray">
          <a:xfrm>
            <a:off x="968375" y="4383088"/>
            <a:ext cx="32861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lvl="0" algn="ctr">
              <a:lnSpc>
                <a:spcPct val="90000"/>
              </a:lnSpc>
              <a:spcBef>
                <a:spcPct val="0"/>
              </a:spcBef>
              <a:spcAft>
                <a:spcPct val="0"/>
              </a:spcAft>
              <a:defRPr/>
            </a:pPr>
            <a:fld id="{C7B421C7-063F-4B81-96B4-9EF19B496331}" type="datetime'''''''0''''''''.''''''''''''''''''''''''9%'''''''">
              <a:rPr lang="en-US" altLang="en-US" sz="1000" smtClean="0">
                <a:solidFill>
                  <a:srgbClr val="000000"/>
                </a:solidFill>
              </a:rPr>
              <a:pPr/>
              <a:t>0.9%</a:t>
            </a:fld>
            <a:endParaRPr kumimoji="0" lang="en-US" sz="1000" b="0" i="0" strike="noStrike" kern="1200" cap="none" spc="0" normalizeH="0" baseline="0" noProof="0">
              <a:ln>
                <a:noFill/>
              </a:ln>
              <a:solidFill>
                <a:srgbClr val="000000"/>
              </a:solidFill>
              <a:effectLst/>
              <a:uLnTx/>
              <a:uFillTx/>
            </a:endParaRPr>
          </a:p>
        </p:txBody>
      </p:sp>
      <p:sp>
        <p:nvSpPr>
          <p:cNvPr id="539" name="Text Placeholder 2">
            <a:extLst>
              <a:ext uri="{FF2B5EF4-FFF2-40B4-BE49-F238E27FC236}">
                <a16:creationId xmlns:a16="http://schemas.microsoft.com/office/drawing/2014/main" id="{66B815DC-4AD3-5453-5017-C2E67447C4E1}"/>
              </a:ext>
            </a:extLst>
          </p:cNvPr>
          <p:cNvSpPr>
            <a:spLocks noGrp="1" noChangeArrowheads="1"/>
          </p:cNvSpPr>
          <p:nvPr>
            <p:custDataLst>
              <p:tags r:id="rId14"/>
            </p:custDataLst>
          </p:nvPr>
        </p:nvSpPr>
        <p:spPr bwMode="auto">
          <a:xfrm>
            <a:off x="1000125" y="5648325"/>
            <a:ext cx="265113"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base" latinLnBrk="0" hangingPunct="1">
              <a:lnSpc>
                <a:spcPct val="95000"/>
              </a:lnSpc>
              <a:spcBef>
                <a:spcPct val="0"/>
              </a:spcBef>
              <a:spcAft>
                <a:spcPct val="0"/>
              </a:spcAft>
              <a:buClrTx/>
              <a:buSzTx/>
              <a:buFont typeface="Arial" panose="020B0604020202020204" pitchFamily="34" charset="0"/>
              <a:buNone/>
              <a:tabLst/>
              <a:defRPr/>
            </a:pPr>
            <a:fld id="{5478DA4C-C1DA-4054-AD0F-5B45ED9FEF24}" type="datetime'''M''''''a''''''''''''''r'''''''''''''''''''''''''''''''">
              <a:rPr kumimoji="0" lang="en-US" altLang="en-US" sz="1000" b="1" i="0" u="none" strike="noStrike" kern="1200" cap="none" spc="0" normalizeH="0" baseline="0" noProof="0" smtClean="0">
                <a:ln>
                  <a:noFill/>
                </a:ln>
                <a:solidFill>
                  <a:srgbClr val="000000"/>
                </a:solidFill>
                <a:effectLst/>
                <a:uLnTx/>
                <a:uFillTx/>
                <a:latin typeface="Montserrat"/>
                <a:ea typeface="+mn-ea"/>
                <a:cs typeface="+mn-cs"/>
              </a:rPr>
              <a:pPr marL="0" marR="0" lvl="0" indent="0" algn="ctr" defTabSz="914400" rtl="0" eaLnBrk="1" fontAlgn="base" latinLnBrk="0" hangingPunct="1">
                <a:lnSpc>
                  <a:spcPct val="95000"/>
                </a:lnSpc>
                <a:spcBef>
                  <a:spcPct val="0"/>
                </a:spcBef>
                <a:spcAft>
                  <a:spcPct val="0"/>
                </a:spcAft>
                <a:buClrTx/>
                <a:buSzTx/>
                <a:buFont typeface="Arial" panose="020B0604020202020204" pitchFamily="34" charset="0"/>
                <a:buNone/>
                <a:tabLst/>
                <a:defRPr/>
              </a:pPr>
              <a:t>Mar</a:t>
            </a:fld>
            <a:endParaRPr kumimoji="0" lang="en-US" altLang="en-US" sz="1000" b="1" i="0" u="none" strike="noStrike" kern="1200" cap="none" spc="0" normalizeH="0" baseline="0" noProof="0">
              <a:ln>
                <a:noFill/>
              </a:ln>
              <a:solidFill>
                <a:srgbClr val="000000"/>
              </a:solidFill>
              <a:effectLst/>
              <a:uLnTx/>
              <a:uFillTx/>
              <a:latin typeface="Montserrat"/>
              <a:ea typeface="+mn-ea"/>
              <a:cs typeface="+mn-cs"/>
            </a:endParaRPr>
          </a:p>
        </p:txBody>
      </p:sp>
      <p:sp>
        <p:nvSpPr>
          <p:cNvPr id="979" name="Rectangle 978">
            <a:extLst>
              <a:ext uri="{FF2B5EF4-FFF2-40B4-BE49-F238E27FC236}">
                <a16:creationId xmlns:a16="http://schemas.microsoft.com/office/drawing/2014/main" id="{3C87A778-E3F5-6857-599E-D1935ADBA3B5}"/>
              </a:ext>
            </a:extLst>
          </p:cNvPr>
          <p:cNvSpPr/>
          <p:nvPr>
            <p:custDataLst>
              <p:tags r:id="rId15"/>
            </p:custDataLst>
          </p:nvPr>
        </p:nvSpPr>
        <p:spPr bwMode="gray">
          <a:xfrm>
            <a:off x="1763713" y="3938588"/>
            <a:ext cx="284163" cy="136525"/>
          </a:xfrm>
          <a:prstGeom prst="rect">
            <a:avLst/>
          </a:prstGeom>
          <a:no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lvl="0" algn="ctr">
              <a:lnSpc>
                <a:spcPct val="90000"/>
              </a:lnSpc>
              <a:spcBef>
                <a:spcPct val="0"/>
              </a:spcBef>
              <a:spcAft>
                <a:spcPct val="0"/>
              </a:spcAft>
              <a:defRPr/>
            </a:pPr>
            <a:fld id="{15F9F9C5-C4CA-4878-A2CE-8135D234FEDE}" type="datetime'1''''''''''''.3%'''''''''''''''''''''''''''">
              <a:rPr lang="en-US" altLang="en-US" sz="1000" smtClean="0">
                <a:solidFill>
                  <a:srgbClr val="000000"/>
                </a:solidFill>
              </a:rPr>
              <a:pPr/>
              <a:t>1.3%</a:t>
            </a:fld>
            <a:endParaRPr kumimoji="0" lang="en-US" sz="1000" b="0" i="0" strike="noStrike" kern="1200" cap="none" spc="0" normalizeH="0" baseline="0" noProof="0">
              <a:ln>
                <a:noFill/>
              </a:ln>
              <a:solidFill>
                <a:srgbClr val="000000"/>
              </a:solidFill>
              <a:effectLst/>
              <a:uLnTx/>
              <a:uFillTx/>
            </a:endParaRPr>
          </a:p>
        </p:txBody>
      </p:sp>
      <p:sp>
        <p:nvSpPr>
          <p:cNvPr id="980" name="Rectangle 979">
            <a:extLst>
              <a:ext uri="{FF2B5EF4-FFF2-40B4-BE49-F238E27FC236}">
                <a16:creationId xmlns:a16="http://schemas.microsoft.com/office/drawing/2014/main" id="{8C91B177-572C-AE6D-1B76-13FE3B5D5CE1}"/>
              </a:ext>
            </a:extLst>
          </p:cNvPr>
          <p:cNvSpPr/>
          <p:nvPr>
            <p:custDataLst>
              <p:tags r:id="rId16"/>
            </p:custDataLst>
          </p:nvPr>
        </p:nvSpPr>
        <p:spPr bwMode="gray">
          <a:xfrm>
            <a:off x="1751013" y="2924175"/>
            <a:ext cx="30956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lvl="0" algn="ctr">
              <a:lnSpc>
                <a:spcPct val="90000"/>
              </a:lnSpc>
              <a:spcBef>
                <a:spcPct val="0"/>
              </a:spcBef>
              <a:spcAft>
                <a:spcPct val="0"/>
              </a:spcAft>
              <a:defRPr/>
            </a:pPr>
            <a:fld id="{5378B0FB-17A4-4798-91D3-B56D568653F8}" type="datetime'''''''''2''''.''''''''''''''5''%'''''">
              <a:rPr lang="en-US" altLang="en-US" sz="1000" smtClean="0">
                <a:solidFill>
                  <a:schemeClr val="tx1"/>
                </a:solidFill>
              </a:rPr>
              <a:pPr/>
              <a:t>2.5%</a:t>
            </a:fld>
            <a:endParaRPr kumimoji="0" lang="en-US" sz="1000" b="0" i="0" strike="noStrike" kern="1200" cap="none" spc="0" normalizeH="0" baseline="0" noProof="0">
              <a:ln>
                <a:noFill/>
              </a:ln>
              <a:solidFill>
                <a:schemeClr val="tx1"/>
              </a:solidFill>
              <a:effectLst/>
              <a:uLnTx/>
              <a:uFillTx/>
            </a:endParaRPr>
          </a:p>
        </p:txBody>
      </p:sp>
      <p:sp>
        <p:nvSpPr>
          <p:cNvPr id="981" name="Rectangle 980">
            <a:extLst>
              <a:ext uri="{FF2B5EF4-FFF2-40B4-BE49-F238E27FC236}">
                <a16:creationId xmlns:a16="http://schemas.microsoft.com/office/drawing/2014/main" id="{BA663B38-D047-C8F3-0877-93A5EE47700C}"/>
              </a:ext>
            </a:extLst>
          </p:cNvPr>
          <p:cNvSpPr/>
          <p:nvPr>
            <p:custDataLst>
              <p:tags r:id="rId17"/>
            </p:custDataLst>
          </p:nvPr>
        </p:nvSpPr>
        <p:spPr bwMode="gray">
          <a:xfrm>
            <a:off x="1763713" y="4364038"/>
            <a:ext cx="28416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lvl="0" algn="ctr">
              <a:lnSpc>
                <a:spcPct val="90000"/>
              </a:lnSpc>
              <a:spcBef>
                <a:spcPct val="0"/>
              </a:spcBef>
              <a:spcAft>
                <a:spcPct val="0"/>
              </a:spcAft>
              <a:defRPr/>
            </a:pPr>
            <a:fld id="{C3A4EDEA-CF56-4FB7-8A0F-BF1C5E6BBC89}" type="datetime'1''''''''''''''''''''''.''''''''''''''''''''2''%'">
              <a:rPr lang="en-US" altLang="en-US" sz="1000" smtClean="0">
                <a:solidFill>
                  <a:srgbClr val="000000"/>
                </a:solidFill>
              </a:rPr>
              <a:pPr/>
              <a:t>1.2%</a:t>
            </a:fld>
            <a:endParaRPr kumimoji="0" lang="en-US" sz="1000" b="0" i="0" strike="noStrike" kern="1200" cap="none" spc="0" normalizeH="0" baseline="0" noProof="0">
              <a:ln>
                <a:noFill/>
              </a:ln>
              <a:solidFill>
                <a:srgbClr val="000000"/>
              </a:solidFill>
              <a:effectLst/>
              <a:uLnTx/>
              <a:uFillTx/>
            </a:endParaRPr>
          </a:p>
        </p:txBody>
      </p:sp>
      <p:sp>
        <p:nvSpPr>
          <p:cNvPr id="982" name="Rectangle 981">
            <a:extLst>
              <a:ext uri="{FF2B5EF4-FFF2-40B4-BE49-F238E27FC236}">
                <a16:creationId xmlns:a16="http://schemas.microsoft.com/office/drawing/2014/main" id="{8E8CD9D2-F10A-08AC-F634-E9F79E055786}"/>
              </a:ext>
            </a:extLst>
          </p:cNvPr>
          <p:cNvSpPr/>
          <p:nvPr>
            <p:custDataLst>
              <p:tags r:id="rId18"/>
            </p:custDataLst>
          </p:nvPr>
        </p:nvSpPr>
        <p:spPr bwMode="gray">
          <a:xfrm>
            <a:off x="1741488" y="5029200"/>
            <a:ext cx="32861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lvl="0" algn="ctr">
              <a:lnSpc>
                <a:spcPct val="90000"/>
              </a:lnSpc>
              <a:spcBef>
                <a:spcPct val="0"/>
              </a:spcBef>
              <a:spcAft>
                <a:spcPct val="0"/>
              </a:spcAft>
              <a:defRPr/>
            </a:pPr>
            <a:fld id="{8929A9D7-F93D-4838-86C8-89099F51B9AD}" type="datetime'''''''''''0''.''''''''''6''''''''''''''''''''''''%'''">
              <a:rPr lang="en-US" altLang="en-US" sz="1000" smtClean="0">
                <a:solidFill>
                  <a:srgbClr val="000000"/>
                </a:solidFill>
              </a:rPr>
              <a:pPr/>
              <a:t>0.6%</a:t>
            </a:fld>
            <a:endParaRPr kumimoji="0" lang="en-US" sz="1000" b="0" i="0" strike="noStrike" kern="1200" cap="none" spc="0" normalizeH="0" baseline="0" noProof="0">
              <a:ln>
                <a:noFill/>
              </a:ln>
              <a:solidFill>
                <a:srgbClr val="000000"/>
              </a:solidFill>
              <a:effectLst/>
              <a:uLnTx/>
              <a:uFillTx/>
            </a:endParaRPr>
          </a:p>
        </p:txBody>
      </p:sp>
      <p:sp>
        <p:nvSpPr>
          <p:cNvPr id="541" name="Text Placeholder 2">
            <a:extLst>
              <a:ext uri="{FF2B5EF4-FFF2-40B4-BE49-F238E27FC236}">
                <a16:creationId xmlns:a16="http://schemas.microsoft.com/office/drawing/2014/main" id="{676D1E91-5D50-6316-E74D-6B31CC43A164}"/>
              </a:ext>
            </a:extLst>
          </p:cNvPr>
          <p:cNvSpPr>
            <a:spLocks noGrp="1" noChangeArrowheads="1"/>
          </p:cNvSpPr>
          <p:nvPr>
            <p:custDataLst>
              <p:tags r:id="rId19"/>
            </p:custDataLst>
          </p:nvPr>
        </p:nvSpPr>
        <p:spPr bwMode="auto">
          <a:xfrm>
            <a:off x="1682750" y="5648325"/>
            <a:ext cx="446088"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base" latinLnBrk="0" hangingPunct="1">
              <a:lnSpc>
                <a:spcPct val="95000"/>
              </a:lnSpc>
              <a:spcBef>
                <a:spcPct val="0"/>
              </a:spcBef>
              <a:spcAft>
                <a:spcPct val="0"/>
              </a:spcAft>
              <a:buClrTx/>
              <a:buSzTx/>
              <a:buFont typeface="Arial" panose="020B0604020202020204" pitchFamily="34" charset="0"/>
              <a:buNone/>
              <a:tabLst/>
              <a:defRPr/>
            </a:pPr>
            <a:fld id="{A95754E0-1909-422D-9107-854061B6FC57}" type="datetime'''''''''''''''A''p''''''''''''r''''’''''''''''2''''''''''''4'">
              <a:rPr kumimoji="0" lang="en-US" altLang="en-US" sz="1000" b="1" i="0" u="none" strike="noStrike" kern="1200" cap="none" spc="0" normalizeH="0" baseline="0" noProof="0" smtClean="0">
                <a:ln>
                  <a:noFill/>
                </a:ln>
                <a:solidFill>
                  <a:srgbClr val="000000"/>
                </a:solidFill>
                <a:effectLst/>
                <a:uLnTx/>
                <a:uFillTx/>
                <a:latin typeface="Montserrat"/>
                <a:ea typeface="+mn-ea"/>
                <a:cs typeface="+mn-cs"/>
              </a:rPr>
              <a:pPr marL="0" marR="0" lvl="0" indent="0" algn="ctr" defTabSz="914400" rtl="0" eaLnBrk="1" fontAlgn="base" latinLnBrk="0" hangingPunct="1">
                <a:lnSpc>
                  <a:spcPct val="95000"/>
                </a:lnSpc>
                <a:spcBef>
                  <a:spcPct val="0"/>
                </a:spcBef>
                <a:spcAft>
                  <a:spcPct val="0"/>
                </a:spcAft>
                <a:buClrTx/>
                <a:buSzTx/>
                <a:buFont typeface="Arial" panose="020B0604020202020204" pitchFamily="34" charset="0"/>
                <a:buNone/>
                <a:tabLst/>
                <a:defRPr/>
              </a:pPr>
              <a:t>Apr’24</a:t>
            </a:fld>
            <a:endParaRPr kumimoji="0" lang="en-US" altLang="en-US" sz="1000" b="1" i="0" u="none" strike="noStrike" kern="1200" cap="none" spc="0" normalizeH="0" baseline="0" noProof="0">
              <a:ln>
                <a:noFill/>
              </a:ln>
              <a:solidFill>
                <a:srgbClr val="000000"/>
              </a:solidFill>
              <a:effectLst/>
              <a:uLnTx/>
              <a:uFillTx/>
              <a:latin typeface="Montserrat"/>
              <a:ea typeface="+mn-ea"/>
              <a:cs typeface="+mn-cs"/>
            </a:endParaRPr>
          </a:p>
        </p:txBody>
      </p:sp>
      <p:sp>
        <p:nvSpPr>
          <p:cNvPr id="1001" name="Rectangle 1000">
            <a:extLst>
              <a:ext uri="{FF2B5EF4-FFF2-40B4-BE49-F238E27FC236}">
                <a16:creationId xmlns:a16="http://schemas.microsoft.com/office/drawing/2014/main" id="{0C06DE25-63E1-5D5E-C424-9502F9152F88}"/>
              </a:ext>
            </a:extLst>
          </p:cNvPr>
          <p:cNvSpPr/>
          <p:nvPr>
            <p:custDataLst>
              <p:tags r:id="rId20"/>
            </p:custDataLst>
          </p:nvPr>
        </p:nvSpPr>
        <p:spPr bwMode="gray">
          <a:xfrm>
            <a:off x="2536825" y="3938588"/>
            <a:ext cx="284163" cy="136525"/>
          </a:xfrm>
          <a:prstGeom prst="rect">
            <a:avLst/>
          </a:prstGeom>
          <a:no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lvl="0" algn="ctr">
              <a:lnSpc>
                <a:spcPct val="90000"/>
              </a:lnSpc>
              <a:spcBef>
                <a:spcPct val="0"/>
              </a:spcBef>
              <a:spcAft>
                <a:spcPct val="0"/>
              </a:spcAft>
              <a:defRPr/>
            </a:pPr>
            <a:fld id="{E6CD2BFA-9563-43F8-8D81-C1A0E525F47F}" type="datetime'''''1''''''''.''3''''''''''''''''%'''''''''''''''''''''''''">
              <a:rPr lang="en-US" altLang="en-US" sz="1000" smtClean="0">
                <a:solidFill>
                  <a:srgbClr val="000000"/>
                </a:solidFill>
              </a:rPr>
              <a:pPr/>
              <a:t>1.3%</a:t>
            </a:fld>
            <a:endParaRPr kumimoji="0" lang="en-US" sz="1000" b="0" i="0" strike="noStrike" kern="1200" cap="none" spc="0" normalizeH="0" baseline="0" noProof="0">
              <a:ln>
                <a:noFill/>
              </a:ln>
              <a:solidFill>
                <a:srgbClr val="000000"/>
              </a:solidFill>
              <a:effectLst/>
              <a:uLnTx/>
              <a:uFillTx/>
            </a:endParaRPr>
          </a:p>
        </p:txBody>
      </p:sp>
      <p:sp>
        <p:nvSpPr>
          <p:cNvPr id="1004" name="Rectangle 1003">
            <a:extLst>
              <a:ext uri="{FF2B5EF4-FFF2-40B4-BE49-F238E27FC236}">
                <a16:creationId xmlns:a16="http://schemas.microsoft.com/office/drawing/2014/main" id="{44EA16EB-0328-95B4-1077-4262E671A32E}"/>
              </a:ext>
            </a:extLst>
          </p:cNvPr>
          <p:cNvSpPr/>
          <p:nvPr>
            <p:custDataLst>
              <p:tags r:id="rId21"/>
            </p:custDataLst>
          </p:nvPr>
        </p:nvSpPr>
        <p:spPr bwMode="gray">
          <a:xfrm>
            <a:off x="2524125" y="3255963"/>
            <a:ext cx="30956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lvl="0" algn="ctr">
              <a:lnSpc>
                <a:spcPct val="90000"/>
              </a:lnSpc>
              <a:spcBef>
                <a:spcPct val="0"/>
              </a:spcBef>
              <a:spcAft>
                <a:spcPct val="0"/>
              </a:spcAft>
              <a:defRPr/>
            </a:pPr>
            <a:fld id="{84F8CB72-2331-42C7-9370-C77819E3400D}" type="datetime'2''''''''''''''''''''''''''''.''''''2''''''''''''''''''''%'''">
              <a:rPr lang="en-US" altLang="en-US" sz="1000" smtClean="0">
                <a:solidFill>
                  <a:schemeClr val="tx1"/>
                </a:solidFill>
              </a:rPr>
              <a:pPr/>
              <a:t>2.2%</a:t>
            </a:fld>
            <a:endParaRPr kumimoji="0" lang="en-US" sz="1000" b="0" i="0" strike="noStrike" kern="1200" cap="none" spc="0" normalizeH="0" baseline="0" noProof="0">
              <a:ln>
                <a:noFill/>
              </a:ln>
              <a:solidFill>
                <a:schemeClr val="tx1"/>
              </a:solidFill>
              <a:effectLst/>
              <a:uLnTx/>
              <a:uFillTx/>
            </a:endParaRPr>
          </a:p>
        </p:txBody>
      </p:sp>
      <p:sp>
        <p:nvSpPr>
          <p:cNvPr id="1007" name="Rectangle 1006">
            <a:extLst>
              <a:ext uri="{FF2B5EF4-FFF2-40B4-BE49-F238E27FC236}">
                <a16:creationId xmlns:a16="http://schemas.microsoft.com/office/drawing/2014/main" id="{A8F32CC1-DAB2-42EC-ED4E-799037837761}"/>
              </a:ext>
            </a:extLst>
          </p:cNvPr>
          <p:cNvSpPr/>
          <p:nvPr>
            <p:custDataLst>
              <p:tags r:id="rId22"/>
            </p:custDataLst>
          </p:nvPr>
        </p:nvSpPr>
        <p:spPr bwMode="gray">
          <a:xfrm>
            <a:off x="2530475" y="4586288"/>
            <a:ext cx="29686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lvl="0" algn="ctr">
              <a:lnSpc>
                <a:spcPct val="90000"/>
              </a:lnSpc>
              <a:spcBef>
                <a:spcPct val="0"/>
              </a:spcBef>
              <a:spcAft>
                <a:spcPct val="0"/>
              </a:spcAft>
              <a:defRPr/>
            </a:pPr>
            <a:fld id="{AB2778A5-5AFA-49CB-B0C2-EF5178739624}" type="datetime'''''''''1''''''''''''''''.''0''''''''''%'''''''''">
              <a:rPr lang="en-US" altLang="en-US" sz="1000" smtClean="0">
                <a:solidFill>
                  <a:srgbClr val="000000"/>
                </a:solidFill>
              </a:rPr>
              <a:pPr/>
              <a:t>1.0%</a:t>
            </a:fld>
            <a:endParaRPr kumimoji="0" lang="en-US" sz="1000" b="0" i="0" strike="noStrike" kern="1200" cap="none" spc="0" normalizeH="0" baseline="0" noProof="0">
              <a:ln>
                <a:noFill/>
              </a:ln>
              <a:solidFill>
                <a:srgbClr val="000000"/>
              </a:solidFill>
              <a:effectLst/>
              <a:uLnTx/>
              <a:uFillTx/>
            </a:endParaRPr>
          </a:p>
        </p:txBody>
      </p:sp>
      <p:sp>
        <p:nvSpPr>
          <p:cNvPr id="1013" name="Rectangle 1012">
            <a:extLst>
              <a:ext uri="{FF2B5EF4-FFF2-40B4-BE49-F238E27FC236}">
                <a16:creationId xmlns:a16="http://schemas.microsoft.com/office/drawing/2014/main" id="{03B848DE-3681-1B32-1DB0-B42167E3A072}"/>
              </a:ext>
            </a:extLst>
          </p:cNvPr>
          <p:cNvSpPr/>
          <p:nvPr>
            <p:custDataLst>
              <p:tags r:id="rId23"/>
            </p:custDataLst>
          </p:nvPr>
        </p:nvSpPr>
        <p:spPr bwMode="gray">
          <a:xfrm>
            <a:off x="2516188" y="4918075"/>
            <a:ext cx="325438"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lvl="0" algn="ctr">
              <a:lnSpc>
                <a:spcPct val="90000"/>
              </a:lnSpc>
              <a:spcBef>
                <a:spcPct val="0"/>
              </a:spcBef>
              <a:spcAft>
                <a:spcPct val="0"/>
              </a:spcAft>
              <a:defRPr/>
            </a:pPr>
            <a:fld id="{BED0891E-810A-4F46-9017-2641D0528EE8}" type="datetime'''''''0''''''''.''''''''7''''''''''''''''''''''''''%'''''''">
              <a:rPr lang="en-US" altLang="en-US" sz="1000" smtClean="0">
                <a:solidFill>
                  <a:srgbClr val="000000"/>
                </a:solidFill>
              </a:rPr>
              <a:pPr/>
              <a:t>0.7%</a:t>
            </a:fld>
            <a:endParaRPr kumimoji="0" lang="en-US" sz="1000" b="0" i="0" strike="noStrike" kern="1200" cap="none" spc="0" normalizeH="0" baseline="0" noProof="0">
              <a:ln>
                <a:noFill/>
              </a:ln>
              <a:solidFill>
                <a:srgbClr val="000000"/>
              </a:solidFill>
              <a:effectLst/>
              <a:uLnTx/>
              <a:uFillTx/>
            </a:endParaRPr>
          </a:p>
        </p:txBody>
      </p:sp>
      <p:sp>
        <p:nvSpPr>
          <p:cNvPr id="50" name="Text Placeholder 2">
            <a:extLst>
              <a:ext uri="{FF2B5EF4-FFF2-40B4-BE49-F238E27FC236}">
                <a16:creationId xmlns:a16="http://schemas.microsoft.com/office/drawing/2014/main" id="{1B7019DB-F30C-37F3-CF6D-DC99D4009ACE}"/>
              </a:ext>
            </a:extLst>
          </p:cNvPr>
          <p:cNvSpPr>
            <a:spLocks noGrp="1" noChangeArrowheads="1"/>
          </p:cNvSpPr>
          <p:nvPr>
            <p:custDataLst>
              <p:tags r:id="rId24"/>
            </p:custDataLst>
          </p:nvPr>
        </p:nvSpPr>
        <p:spPr bwMode="auto">
          <a:xfrm>
            <a:off x="2436813" y="5648325"/>
            <a:ext cx="482600"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defRPr/>
            </a:pPr>
            <a:fld id="{2A2770C2-9B5B-48B5-941E-4EEE10CBC41A}" type="datetime'''''''''''''M''''''''a''y''’''''2''''''''4'''">
              <a:rPr lang="en-US" altLang="en-US" sz="1000" b="1" smtClean="0">
                <a:solidFill>
                  <a:srgbClr val="000000"/>
                </a:solidFill>
              </a:rPr>
              <a:pPr marL="0" lvl="0" indent="0" algn="ctr">
                <a:spcBef>
                  <a:spcPct val="0"/>
                </a:spcBef>
                <a:buNone/>
                <a:defRPr/>
              </a:pPr>
              <a:t>May’24</a:t>
            </a:fld>
            <a:endParaRPr kumimoji="0" lang="en-US" altLang="en-US" sz="1000" b="1" i="0" strike="noStrike" kern="1200" cap="none" spc="0" normalizeH="0" baseline="0" noProof="0">
              <a:ln>
                <a:noFill/>
              </a:ln>
              <a:solidFill>
                <a:srgbClr val="000000"/>
              </a:solidFill>
              <a:effectLst/>
              <a:uLnTx/>
              <a:uFillTx/>
            </a:endParaRPr>
          </a:p>
        </p:txBody>
      </p:sp>
      <p:sp useBgFill="1">
        <p:nvSpPr>
          <p:cNvPr id="1066" name="Rectangle 1065">
            <a:extLst>
              <a:ext uri="{FF2B5EF4-FFF2-40B4-BE49-F238E27FC236}">
                <a16:creationId xmlns:a16="http://schemas.microsoft.com/office/drawing/2014/main" id="{ECF66C06-536E-B0CA-2E43-4AF695CE2D9C}"/>
              </a:ext>
            </a:extLst>
          </p:cNvPr>
          <p:cNvSpPr/>
          <p:nvPr>
            <p:custDataLst>
              <p:tags r:id="rId25"/>
            </p:custDataLst>
          </p:nvPr>
        </p:nvSpPr>
        <p:spPr bwMode="gray">
          <a:xfrm>
            <a:off x="3305175" y="4143375"/>
            <a:ext cx="296863" cy="136525"/>
          </a:xfrm>
          <a:prstGeom prst="rect">
            <a:avLst/>
          </a:pr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lvl="0" algn="ctr">
              <a:lnSpc>
                <a:spcPct val="90000"/>
              </a:lnSpc>
              <a:spcBef>
                <a:spcPct val="0"/>
              </a:spcBef>
              <a:spcAft>
                <a:spcPct val="0"/>
              </a:spcAft>
              <a:defRPr/>
            </a:pPr>
            <a:fld id="{B766EDD6-6798-461A-A6B2-D4A7B6AA1276}" type="datetime'''''1''''''''.4''''''''%'''''''''''''''''''">
              <a:rPr lang="en-US" altLang="en-US" sz="1000" smtClean="0">
                <a:solidFill>
                  <a:srgbClr val="000000"/>
                </a:solidFill>
              </a:rPr>
              <a:pPr/>
              <a:t>1.4%</a:t>
            </a:fld>
            <a:endParaRPr kumimoji="0" lang="en-US" sz="1000" b="0" i="0" strike="noStrike" kern="1200" cap="none" spc="0" normalizeH="0" baseline="0" noProof="0">
              <a:ln>
                <a:noFill/>
              </a:ln>
              <a:solidFill>
                <a:srgbClr val="000000"/>
              </a:solidFill>
              <a:effectLst/>
              <a:uLnTx/>
              <a:uFillTx/>
            </a:endParaRPr>
          </a:p>
        </p:txBody>
      </p:sp>
      <p:sp>
        <p:nvSpPr>
          <p:cNvPr id="1067" name="Rectangle 1066">
            <a:extLst>
              <a:ext uri="{FF2B5EF4-FFF2-40B4-BE49-F238E27FC236}">
                <a16:creationId xmlns:a16="http://schemas.microsoft.com/office/drawing/2014/main" id="{1BB39F3F-1B1D-84B8-1A3F-A7B6835CC7C7}"/>
              </a:ext>
            </a:extLst>
          </p:cNvPr>
          <p:cNvSpPr/>
          <p:nvPr>
            <p:custDataLst>
              <p:tags r:id="rId26"/>
            </p:custDataLst>
          </p:nvPr>
        </p:nvSpPr>
        <p:spPr bwMode="gray">
          <a:xfrm>
            <a:off x="3292475" y="2720975"/>
            <a:ext cx="32226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lvl="0" algn="ctr">
              <a:lnSpc>
                <a:spcPct val="90000"/>
              </a:lnSpc>
              <a:spcBef>
                <a:spcPct val="0"/>
              </a:spcBef>
              <a:spcAft>
                <a:spcPct val="0"/>
              </a:spcAft>
              <a:defRPr/>
            </a:pPr>
            <a:fld id="{C606CD8A-545E-419C-AE77-84EDBDB4A20B}" type="datetime'2''.''''''''''''''''''''''''''''''4''''''''''''''''''''%'">
              <a:rPr lang="en-US" altLang="en-US" sz="1000" smtClean="0">
                <a:solidFill>
                  <a:srgbClr val="000000"/>
                </a:solidFill>
              </a:rPr>
              <a:pPr/>
              <a:t>2.4%</a:t>
            </a:fld>
            <a:endParaRPr kumimoji="0" lang="en-US" sz="1000" b="0" i="0" strike="noStrike" kern="1200" cap="none" spc="0" normalizeH="0" baseline="0" noProof="0">
              <a:ln>
                <a:noFill/>
              </a:ln>
              <a:solidFill>
                <a:srgbClr val="000000"/>
              </a:solidFill>
              <a:effectLst/>
              <a:uLnTx/>
              <a:uFillTx/>
            </a:endParaRPr>
          </a:p>
        </p:txBody>
      </p:sp>
      <p:sp useBgFill="1">
        <p:nvSpPr>
          <p:cNvPr id="1071" name="Rectangle 1070">
            <a:extLst>
              <a:ext uri="{FF2B5EF4-FFF2-40B4-BE49-F238E27FC236}">
                <a16:creationId xmlns:a16="http://schemas.microsoft.com/office/drawing/2014/main" id="{B06A12DF-97AA-1988-439B-7246211D5F2F}"/>
              </a:ext>
            </a:extLst>
          </p:cNvPr>
          <p:cNvSpPr/>
          <p:nvPr>
            <p:custDataLst>
              <p:tags r:id="rId27"/>
            </p:custDataLst>
          </p:nvPr>
        </p:nvSpPr>
        <p:spPr bwMode="gray">
          <a:xfrm>
            <a:off x="3311525" y="3938588"/>
            <a:ext cx="284163" cy="136525"/>
          </a:xfrm>
          <a:prstGeom prst="rect">
            <a:avLst/>
          </a:pr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lvl="0" algn="ctr">
              <a:lnSpc>
                <a:spcPct val="90000"/>
              </a:lnSpc>
              <a:spcBef>
                <a:spcPct val="0"/>
              </a:spcBef>
              <a:spcAft>
                <a:spcPct val="0"/>
              </a:spcAft>
              <a:defRPr/>
            </a:pPr>
            <a:fld id="{BA07F855-DE96-43BE-BF97-58FB59ACD839}" type="datetime'''''''1''''''''''''''''''.''''''''3''''''%'''''''''''">
              <a:rPr lang="en-US" altLang="en-US" sz="1000" smtClean="0">
                <a:solidFill>
                  <a:srgbClr val="000000"/>
                </a:solidFill>
              </a:rPr>
              <a:pPr/>
              <a:t>1.3%</a:t>
            </a:fld>
            <a:endParaRPr kumimoji="0" lang="en-US" sz="1000" b="0" i="0" strike="noStrike" kern="1200" cap="none" spc="0" normalizeH="0" baseline="0" noProof="0">
              <a:ln>
                <a:noFill/>
              </a:ln>
              <a:solidFill>
                <a:srgbClr val="000000"/>
              </a:solidFill>
              <a:effectLst/>
              <a:uLnTx/>
              <a:uFillTx/>
            </a:endParaRPr>
          </a:p>
        </p:txBody>
      </p:sp>
      <p:sp>
        <p:nvSpPr>
          <p:cNvPr id="971" name="Rectangle 970">
            <a:extLst>
              <a:ext uri="{FF2B5EF4-FFF2-40B4-BE49-F238E27FC236}">
                <a16:creationId xmlns:a16="http://schemas.microsoft.com/office/drawing/2014/main" id="{46DCA334-7143-BBE3-41D4-7C41D268BC56}"/>
              </a:ext>
            </a:extLst>
          </p:cNvPr>
          <p:cNvSpPr/>
          <p:nvPr>
            <p:custDataLst>
              <p:tags r:id="rId28"/>
            </p:custDataLst>
          </p:nvPr>
        </p:nvSpPr>
        <p:spPr bwMode="gray">
          <a:xfrm>
            <a:off x="390525" y="4049713"/>
            <a:ext cx="28416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lvl="0" algn="ctr">
              <a:lnSpc>
                <a:spcPct val="90000"/>
              </a:lnSpc>
              <a:spcBef>
                <a:spcPct val="0"/>
              </a:spcBef>
              <a:spcAft>
                <a:spcPct val="0"/>
              </a:spcAft>
              <a:defRPr/>
            </a:pPr>
            <a:fld id="{742671CB-6D29-481F-A495-C66B372512FF}" type="datetime'''''''''''''''''''''''''''''1''''''''''''.''2''''''%'''''''''">
              <a:rPr lang="en-US" altLang="en-US" sz="1000" smtClean="0">
                <a:solidFill>
                  <a:srgbClr val="000000"/>
                </a:solidFill>
              </a:rPr>
              <a:pPr/>
              <a:t>1.2%</a:t>
            </a:fld>
            <a:endParaRPr kumimoji="0" lang="en-US" sz="1000" b="0" i="0" strike="noStrike" kern="1200" cap="none" spc="0" normalizeH="0" baseline="0" noProof="0">
              <a:ln>
                <a:noFill/>
              </a:ln>
              <a:solidFill>
                <a:srgbClr val="000000"/>
              </a:solidFill>
              <a:effectLst/>
              <a:uLnTx/>
              <a:uFillTx/>
            </a:endParaRPr>
          </a:p>
        </p:txBody>
      </p:sp>
      <p:sp>
        <p:nvSpPr>
          <p:cNvPr id="1072" name="Rectangle 1071">
            <a:extLst>
              <a:ext uri="{FF2B5EF4-FFF2-40B4-BE49-F238E27FC236}">
                <a16:creationId xmlns:a16="http://schemas.microsoft.com/office/drawing/2014/main" id="{02E116CF-A720-77F8-CA8D-3D915DFB42B9}"/>
              </a:ext>
            </a:extLst>
          </p:cNvPr>
          <p:cNvSpPr/>
          <p:nvPr>
            <p:custDataLst>
              <p:tags r:id="rId29"/>
            </p:custDataLst>
          </p:nvPr>
        </p:nvSpPr>
        <p:spPr bwMode="gray">
          <a:xfrm>
            <a:off x="3290888" y="4918075"/>
            <a:ext cx="325438"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lvl="0" algn="ctr">
              <a:lnSpc>
                <a:spcPct val="90000"/>
              </a:lnSpc>
              <a:spcBef>
                <a:spcPct val="0"/>
              </a:spcBef>
              <a:spcAft>
                <a:spcPct val="0"/>
              </a:spcAft>
              <a:defRPr/>
            </a:pPr>
            <a:fld id="{0E124317-61A9-4FD5-B029-C789CCEA1478}" type="datetime'0''''''''''''''.''''''7''''''''''%'''''''''''''''''''">
              <a:rPr lang="en-US" altLang="en-US" sz="1000" smtClean="0">
                <a:solidFill>
                  <a:srgbClr val="000000"/>
                </a:solidFill>
              </a:rPr>
              <a:pPr/>
              <a:t>0.7%</a:t>
            </a:fld>
            <a:endParaRPr kumimoji="0" lang="en-US" sz="1000" b="0" i="0" strike="noStrike" kern="1200" cap="none" spc="0" normalizeH="0" baseline="0" noProof="0">
              <a:ln>
                <a:noFill/>
              </a:ln>
              <a:solidFill>
                <a:srgbClr val="000000"/>
              </a:solidFill>
              <a:effectLst/>
              <a:uLnTx/>
              <a:uFillTx/>
            </a:endParaRPr>
          </a:p>
        </p:txBody>
      </p:sp>
      <p:sp>
        <p:nvSpPr>
          <p:cNvPr id="20" name="Text Placeholder 2">
            <a:extLst>
              <a:ext uri="{FF2B5EF4-FFF2-40B4-BE49-F238E27FC236}">
                <a16:creationId xmlns:a16="http://schemas.microsoft.com/office/drawing/2014/main" id="{8D2E5F3B-C9F3-27B6-A273-5426BF503BF4}"/>
              </a:ext>
            </a:extLst>
          </p:cNvPr>
          <p:cNvSpPr>
            <a:spLocks noGrp="1" noChangeArrowheads="1"/>
          </p:cNvSpPr>
          <p:nvPr>
            <p:custDataLst>
              <p:tags r:id="rId30"/>
            </p:custDataLst>
          </p:nvPr>
        </p:nvSpPr>
        <p:spPr bwMode="auto">
          <a:xfrm>
            <a:off x="3213100" y="5648325"/>
            <a:ext cx="479425" cy="28892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defRPr/>
            </a:pPr>
            <a:fld id="{60B690FE-0873-49A7-B2FB-1C0B77169654}" type="datetime'''''''0''4''''''''/28'''' -'''' ''''''0''''''''''5''/04'''">
              <a:rPr lang="en-US" altLang="en-US" sz="1000" b="1" smtClean="0">
                <a:solidFill>
                  <a:srgbClr val="000000"/>
                </a:solidFill>
              </a:rPr>
              <a:pPr marL="0" lvl="0" indent="0" algn="ctr">
                <a:spcBef>
                  <a:spcPct val="0"/>
                </a:spcBef>
                <a:buNone/>
                <a:defRPr/>
              </a:pPr>
              <a:t>04/28 - 05/04</a:t>
            </a:fld>
            <a:endParaRPr kumimoji="0" lang="en-US" altLang="en-US" sz="1000" b="1" i="0" strike="noStrike" kern="1200" cap="none" spc="0" normalizeH="0" baseline="0" noProof="0">
              <a:ln>
                <a:noFill/>
              </a:ln>
              <a:solidFill>
                <a:srgbClr val="000000"/>
              </a:solidFill>
              <a:effectLst/>
              <a:uLnTx/>
              <a:uFillTx/>
            </a:endParaRPr>
          </a:p>
        </p:txBody>
      </p:sp>
      <p:sp>
        <p:nvSpPr>
          <p:cNvPr id="63" name="Rectangle 62">
            <a:extLst>
              <a:ext uri="{FF2B5EF4-FFF2-40B4-BE49-F238E27FC236}">
                <a16:creationId xmlns:a16="http://schemas.microsoft.com/office/drawing/2014/main" id="{A098A97C-37E1-A064-008F-C6D79492AAE0}"/>
              </a:ext>
            </a:extLst>
          </p:cNvPr>
          <p:cNvSpPr/>
          <p:nvPr>
            <p:custDataLst>
              <p:tags r:id="rId31"/>
            </p:custDataLst>
          </p:nvPr>
        </p:nvSpPr>
        <p:spPr bwMode="gray">
          <a:xfrm>
            <a:off x="4084638" y="4049713"/>
            <a:ext cx="28416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lvl="0" algn="ctr">
              <a:lnSpc>
                <a:spcPct val="90000"/>
              </a:lnSpc>
              <a:spcBef>
                <a:spcPct val="0"/>
              </a:spcBef>
              <a:spcAft>
                <a:spcPct val="0"/>
              </a:spcAft>
              <a:defRPr/>
            </a:pPr>
            <a:fld id="{CF0C8FDC-4E8A-4E27-A427-4ECF74167B0E}" type="datetime'''''''''1''''''''''.''''''''''''''''''''''''2''''''''''%'">
              <a:rPr lang="en-US" altLang="en-US" sz="1000" smtClean="0">
                <a:solidFill>
                  <a:srgbClr val="000000"/>
                </a:solidFill>
              </a:rPr>
              <a:pPr/>
              <a:t>1.2%</a:t>
            </a:fld>
            <a:endParaRPr kumimoji="0" lang="en-US" sz="1000" b="0" i="0" strike="noStrike" kern="1200" cap="none" spc="0" normalizeH="0" baseline="0" noProof="0" dirty="0">
              <a:ln>
                <a:noFill/>
              </a:ln>
              <a:solidFill>
                <a:srgbClr val="000000"/>
              </a:solidFill>
              <a:effectLst/>
              <a:uLnTx/>
              <a:uFillTx/>
            </a:endParaRPr>
          </a:p>
        </p:txBody>
      </p:sp>
      <p:sp>
        <p:nvSpPr>
          <p:cNvPr id="517" name="Rectangle 516">
            <a:extLst>
              <a:ext uri="{FF2B5EF4-FFF2-40B4-BE49-F238E27FC236}">
                <a16:creationId xmlns:a16="http://schemas.microsoft.com/office/drawing/2014/main" id="{BA691926-1B8B-2D48-C864-8B5A5390C447}"/>
              </a:ext>
            </a:extLst>
          </p:cNvPr>
          <p:cNvSpPr/>
          <p:nvPr>
            <p:custDataLst>
              <p:tags r:id="rId32"/>
            </p:custDataLst>
          </p:nvPr>
        </p:nvSpPr>
        <p:spPr bwMode="gray">
          <a:xfrm>
            <a:off x="4084639" y="3367088"/>
            <a:ext cx="28416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lvl="0" algn="ctr">
              <a:lnSpc>
                <a:spcPct val="90000"/>
              </a:lnSpc>
              <a:spcBef>
                <a:spcPct val="0"/>
              </a:spcBef>
              <a:spcAft>
                <a:spcPct val="0"/>
              </a:spcAft>
              <a:defRPr/>
            </a:pPr>
            <a:fld id="{0A3EF448-990E-420A-95E4-E17F9E58311F}" type="datetime'''''2''''''''''''''.''''''''''''''''''1''''''''%'''">
              <a:rPr lang="en-US" altLang="en-US" sz="1000" smtClean="0">
                <a:solidFill>
                  <a:srgbClr val="000000"/>
                </a:solidFill>
              </a:rPr>
              <a:pPr/>
              <a:t>2.1%</a:t>
            </a:fld>
            <a:endParaRPr kumimoji="0" lang="en-US" sz="1000" b="0" i="0" strike="noStrike" kern="1200" cap="none" spc="0" normalizeH="0" baseline="0" noProof="0">
              <a:ln>
                <a:noFill/>
              </a:ln>
              <a:solidFill>
                <a:srgbClr val="000000"/>
              </a:solidFill>
              <a:effectLst/>
              <a:uLnTx/>
              <a:uFillTx/>
            </a:endParaRPr>
          </a:p>
        </p:txBody>
      </p:sp>
      <p:sp>
        <p:nvSpPr>
          <p:cNvPr id="532" name="Rectangle 531">
            <a:extLst>
              <a:ext uri="{FF2B5EF4-FFF2-40B4-BE49-F238E27FC236}">
                <a16:creationId xmlns:a16="http://schemas.microsoft.com/office/drawing/2014/main" id="{41C909D6-A4F4-504F-DA19-7CB437C434C8}"/>
              </a:ext>
            </a:extLst>
          </p:cNvPr>
          <p:cNvSpPr/>
          <p:nvPr>
            <p:custDataLst>
              <p:tags r:id="rId33"/>
            </p:custDataLst>
          </p:nvPr>
        </p:nvSpPr>
        <p:spPr bwMode="gray">
          <a:xfrm>
            <a:off x="4063999" y="4918075"/>
            <a:ext cx="325438"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lvl="0" algn="ctr">
              <a:lnSpc>
                <a:spcPct val="90000"/>
              </a:lnSpc>
              <a:spcBef>
                <a:spcPct val="0"/>
              </a:spcBef>
              <a:spcAft>
                <a:spcPct val="0"/>
              </a:spcAft>
              <a:defRPr/>
            </a:pPr>
            <a:fld id="{FD8C2DC4-FC03-4434-866E-A680DA168F8B}" type="datetime'''''''''''''''0''.''''''7%'''">
              <a:rPr lang="en-US" altLang="en-US" sz="1000" smtClean="0">
                <a:solidFill>
                  <a:srgbClr val="000000"/>
                </a:solidFill>
              </a:rPr>
              <a:pPr/>
              <a:t>0.7%</a:t>
            </a:fld>
            <a:endParaRPr kumimoji="0" lang="en-US" sz="1000" b="0" i="0" strike="noStrike" kern="1200" cap="none" spc="0" normalizeH="0" baseline="0" noProof="0" dirty="0">
              <a:ln>
                <a:noFill/>
              </a:ln>
              <a:solidFill>
                <a:srgbClr val="000000"/>
              </a:solidFill>
              <a:effectLst/>
              <a:uLnTx/>
              <a:uFillTx/>
            </a:endParaRPr>
          </a:p>
        </p:txBody>
      </p:sp>
      <p:sp useBgFill="1">
        <p:nvSpPr>
          <p:cNvPr id="542" name="Rectangle 541">
            <a:extLst>
              <a:ext uri="{FF2B5EF4-FFF2-40B4-BE49-F238E27FC236}">
                <a16:creationId xmlns:a16="http://schemas.microsoft.com/office/drawing/2014/main" id="{FDED67F0-7A05-2E30-F84C-C6A3FBE94C94}"/>
              </a:ext>
            </a:extLst>
          </p:cNvPr>
          <p:cNvSpPr/>
          <p:nvPr>
            <p:custDataLst>
              <p:tags r:id="rId34"/>
            </p:custDataLst>
          </p:nvPr>
        </p:nvSpPr>
        <p:spPr bwMode="gray">
          <a:xfrm>
            <a:off x="4060825" y="4808538"/>
            <a:ext cx="331788" cy="136525"/>
          </a:xfrm>
          <a:prstGeom prst="rect">
            <a:avLst/>
          </a:pr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lvl="0" algn="ctr">
              <a:lnSpc>
                <a:spcPct val="90000"/>
              </a:lnSpc>
              <a:spcBef>
                <a:spcPct val="0"/>
              </a:spcBef>
              <a:spcAft>
                <a:spcPct val="0"/>
              </a:spcAft>
              <a:defRPr/>
            </a:pPr>
            <a:fld id="{AE8D26A0-916F-4E41-BD5B-413ADD1CAE2D}" type="datetime'''''''''''''''''''''0''''''.8%'''''''''''''''''''''''''''''''">
              <a:rPr lang="en-US" altLang="en-US" sz="1000" smtClean="0">
                <a:solidFill>
                  <a:srgbClr val="000000"/>
                </a:solidFill>
              </a:rPr>
              <a:pPr/>
              <a:t>0.8%</a:t>
            </a:fld>
            <a:endParaRPr kumimoji="0" lang="en-US" sz="1000" b="0" i="0" strike="noStrike" kern="1200" cap="none" spc="0" normalizeH="0" baseline="0" noProof="0">
              <a:ln>
                <a:noFill/>
              </a:ln>
              <a:solidFill>
                <a:srgbClr val="000000"/>
              </a:solidFill>
              <a:effectLst/>
              <a:uLnTx/>
              <a:uFillTx/>
            </a:endParaRPr>
          </a:p>
        </p:txBody>
      </p:sp>
      <p:sp>
        <p:nvSpPr>
          <p:cNvPr id="972" name="Rectangle 971">
            <a:extLst>
              <a:ext uri="{FF2B5EF4-FFF2-40B4-BE49-F238E27FC236}">
                <a16:creationId xmlns:a16="http://schemas.microsoft.com/office/drawing/2014/main" id="{46B0CC81-DC7D-F0E5-8CEB-D8D32528C32B}"/>
              </a:ext>
            </a:extLst>
          </p:cNvPr>
          <p:cNvSpPr/>
          <p:nvPr>
            <p:custDataLst>
              <p:tags r:id="rId35"/>
            </p:custDataLst>
          </p:nvPr>
        </p:nvSpPr>
        <p:spPr bwMode="gray">
          <a:xfrm>
            <a:off x="390525" y="3255963"/>
            <a:ext cx="30956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lvl="0" algn="ctr">
              <a:lnSpc>
                <a:spcPct val="90000"/>
              </a:lnSpc>
              <a:spcBef>
                <a:spcPct val="0"/>
              </a:spcBef>
              <a:spcAft>
                <a:spcPct val="0"/>
              </a:spcAft>
              <a:defRPr/>
            </a:pPr>
            <a:fld id="{5942D354-3B42-45F5-B307-A471061B0CDB}" type="datetime'''''''''''''2''''''.''''''''''''''''2''''%'''''''''''''">
              <a:rPr lang="en-US" altLang="en-US" sz="1000" smtClean="0">
                <a:solidFill>
                  <a:schemeClr val="tx1"/>
                </a:solidFill>
              </a:rPr>
              <a:pPr/>
              <a:t>2.2%</a:t>
            </a:fld>
            <a:endParaRPr kumimoji="0" lang="en-US" sz="1000" b="0" i="0" strike="noStrike" kern="1200" cap="none" spc="0" normalizeH="0" baseline="0" noProof="0">
              <a:ln>
                <a:noFill/>
              </a:ln>
              <a:solidFill>
                <a:schemeClr val="tx1"/>
              </a:solidFill>
              <a:effectLst/>
              <a:uLnTx/>
              <a:uFillTx/>
            </a:endParaRPr>
          </a:p>
        </p:txBody>
      </p:sp>
      <p:sp>
        <p:nvSpPr>
          <p:cNvPr id="35" name="Text Placeholder 2">
            <a:extLst>
              <a:ext uri="{FF2B5EF4-FFF2-40B4-BE49-F238E27FC236}">
                <a16:creationId xmlns:a16="http://schemas.microsoft.com/office/drawing/2014/main" id="{54A3D052-0243-2F82-1F2A-B1BF6766016C}"/>
              </a:ext>
            </a:extLst>
          </p:cNvPr>
          <p:cNvSpPr>
            <a:spLocks noGrp="1" noChangeArrowheads="1"/>
          </p:cNvSpPr>
          <p:nvPr>
            <p:custDataLst>
              <p:tags r:id="rId36"/>
            </p:custDataLst>
          </p:nvPr>
        </p:nvSpPr>
        <p:spPr bwMode="auto">
          <a:xfrm>
            <a:off x="4022725" y="5648325"/>
            <a:ext cx="407988" cy="28892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defRPr/>
            </a:pPr>
            <a:fld id="{E6BE1337-8476-45A0-8032-1B598BA4DED9}" type="datetime'''''''''''''''05/''''''0''''5 -'''''''''''' ''05''''''/''11'">
              <a:rPr lang="en-US" altLang="en-US" sz="1000" b="1" smtClean="0">
                <a:solidFill>
                  <a:srgbClr val="000000"/>
                </a:solidFill>
              </a:rPr>
              <a:pPr/>
              <a:t>05/05 - 05/11</a:t>
            </a:fld>
            <a:endParaRPr kumimoji="0" lang="en-US" altLang="en-US" sz="1000" b="1" i="0" strike="noStrike" kern="1200" cap="none" spc="0" normalizeH="0" baseline="0" noProof="0">
              <a:ln>
                <a:noFill/>
              </a:ln>
              <a:solidFill>
                <a:srgbClr val="000000"/>
              </a:solidFill>
              <a:effectLst/>
              <a:uLnTx/>
              <a:uFillTx/>
            </a:endParaRPr>
          </a:p>
        </p:txBody>
      </p:sp>
      <p:sp>
        <p:nvSpPr>
          <p:cNvPr id="513" name="Rectangle 512">
            <a:extLst>
              <a:ext uri="{FF2B5EF4-FFF2-40B4-BE49-F238E27FC236}">
                <a16:creationId xmlns:a16="http://schemas.microsoft.com/office/drawing/2014/main" id="{A9F436B1-6D92-6DBC-ECED-678979479027}"/>
              </a:ext>
            </a:extLst>
          </p:cNvPr>
          <p:cNvSpPr/>
          <p:nvPr>
            <p:custDataLst>
              <p:tags r:id="rId37"/>
            </p:custDataLst>
          </p:nvPr>
        </p:nvSpPr>
        <p:spPr bwMode="gray">
          <a:xfrm>
            <a:off x="4857750" y="4252913"/>
            <a:ext cx="28416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lvl="0" algn="ctr">
              <a:lnSpc>
                <a:spcPct val="90000"/>
              </a:lnSpc>
              <a:spcBef>
                <a:spcPct val="0"/>
              </a:spcBef>
              <a:spcAft>
                <a:spcPct val="0"/>
              </a:spcAft>
              <a:defRPr/>
            </a:pPr>
            <a:fld id="{C0546CFE-FC08-415E-8284-1E6C038942BF}" type="datetime'''''''''''1.''''''''3''''''''''''''''%'''">
              <a:rPr lang="en-US" altLang="en-US" sz="1000" smtClean="0">
                <a:solidFill>
                  <a:srgbClr val="000000"/>
                </a:solidFill>
              </a:rPr>
              <a:pPr/>
              <a:t>1.3%</a:t>
            </a:fld>
            <a:endParaRPr kumimoji="0" lang="en-US" sz="1000" b="0" i="0" strike="noStrike" kern="1200" cap="none" spc="0" normalizeH="0" baseline="0" noProof="0">
              <a:ln>
                <a:noFill/>
              </a:ln>
              <a:solidFill>
                <a:srgbClr val="000000"/>
              </a:solidFill>
              <a:effectLst/>
              <a:uLnTx/>
              <a:uFillTx/>
            </a:endParaRPr>
          </a:p>
        </p:txBody>
      </p:sp>
      <p:sp>
        <p:nvSpPr>
          <p:cNvPr id="973" name="Rectangle 972">
            <a:extLst>
              <a:ext uri="{FF2B5EF4-FFF2-40B4-BE49-F238E27FC236}">
                <a16:creationId xmlns:a16="http://schemas.microsoft.com/office/drawing/2014/main" id="{6F5DDF79-A5E6-B570-E149-0F3280598326}"/>
              </a:ext>
            </a:extLst>
          </p:cNvPr>
          <p:cNvSpPr/>
          <p:nvPr>
            <p:custDataLst>
              <p:tags r:id="rId38"/>
            </p:custDataLst>
          </p:nvPr>
        </p:nvSpPr>
        <p:spPr bwMode="gray">
          <a:xfrm>
            <a:off x="390525" y="4697413"/>
            <a:ext cx="32861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lvl="0" algn="ctr">
              <a:lnSpc>
                <a:spcPct val="90000"/>
              </a:lnSpc>
              <a:spcBef>
                <a:spcPct val="0"/>
              </a:spcBef>
              <a:spcAft>
                <a:spcPct val="0"/>
              </a:spcAft>
              <a:defRPr/>
            </a:pPr>
            <a:fld id="{5966B44D-AF6D-4B21-9D5B-0E396C0CBB1B}" type="datetime'''''''''0''.''''''''''''''''''''''''''''9''''%'''''''''''''">
              <a:rPr lang="en-US" altLang="en-US" sz="1000" smtClean="0">
                <a:solidFill>
                  <a:srgbClr val="000000"/>
                </a:solidFill>
              </a:rPr>
              <a:pPr/>
              <a:t>0.9%</a:t>
            </a:fld>
            <a:endParaRPr kumimoji="0" lang="en-US" sz="1000" b="0" i="0" strike="noStrike" kern="1200" cap="none" spc="0" normalizeH="0" baseline="0" noProof="0">
              <a:ln>
                <a:noFill/>
              </a:ln>
              <a:solidFill>
                <a:srgbClr val="000000"/>
              </a:solidFill>
              <a:effectLst/>
              <a:uLnTx/>
              <a:uFillTx/>
            </a:endParaRPr>
          </a:p>
        </p:txBody>
      </p:sp>
      <p:sp useBgFill="1">
        <p:nvSpPr>
          <p:cNvPr id="533" name="Rectangle 532">
            <a:extLst>
              <a:ext uri="{FF2B5EF4-FFF2-40B4-BE49-F238E27FC236}">
                <a16:creationId xmlns:a16="http://schemas.microsoft.com/office/drawing/2014/main" id="{274F5CBD-74FF-839B-5815-815F10D8796A}"/>
              </a:ext>
            </a:extLst>
          </p:cNvPr>
          <p:cNvSpPr/>
          <p:nvPr>
            <p:custDataLst>
              <p:tags r:id="rId39"/>
            </p:custDataLst>
          </p:nvPr>
        </p:nvSpPr>
        <p:spPr bwMode="gray">
          <a:xfrm>
            <a:off x="4833937" y="4494213"/>
            <a:ext cx="331788" cy="136525"/>
          </a:xfrm>
          <a:prstGeom prst="rect">
            <a:avLst/>
          </a:pr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lvl="0" algn="ctr">
              <a:lnSpc>
                <a:spcPct val="90000"/>
              </a:lnSpc>
              <a:spcBef>
                <a:spcPct val="0"/>
              </a:spcBef>
              <a:spcAft>
                <a:spcPct val="0"/>
              </a:spcAft>
              <a:defRPr/>
            </a:pPr>
            <a:fld id="{B4245119-466E-4A19-B673-3B0B787C6EE6}" type="datetime'''''''''''''''0''''''''.''''''''''''''''''''''''''8%'">
              <a:rPr lang="en-US" altLang="en-US" sz="1000" smtClean="0">
                <a:solidFill>
                  <a:srgbClr val="000000"/>
                </a:solidFill>
              </a:rPr>
              <a:pPr/>
              <a:t>0.8%</a:t>
            </a:fld>
            <a:endParaRPr kumimoji="0" lang="en-US" sz="1000" b="0" i="0" strike="noStrike" kern="1200" cap="none" spc="0" normalizeH="0" baseline="0" noProof="0">
              <a:ln>
                <a:noFill/>
              </a:ln>
              <a:solidFill>
                <a:srgbClr val="000000"/>
              </a:solidFill>
              <a:effectLst/>
              <a:uLnTx/>
              <a:uFillTx/>
            </a:endParaRPr>
          </a:p>
        </p:txBody>
      </p:sp>
      <p:sp>
        <p:nvSpPr>
          <p:cNvPr id="974" name="Rectangle 973">
            <a:extLst>
              <a:ext uri="{FF2B5EF4-FFF2-40B4-BE49-F238E27FC236}">
                <a16:creationId xmlns:a16="http://schemas.microsoft.com/office/drawing/2014/main" id="{04E1693D-C692-4219-3925-EE0A75D48390}"/>
              </a:ext>
            </a:extLst>
          </p:cNvPr>
          <p:cNvSpPr/>
          <p:nvPr>
            <p:custDataLst>
              <p:tags r:id="rId40"/>
            </p:custDataLst>
          </p:nvPr>
        </p:nvSpPr>
        <p:spPr bwMode="gray">
          <a:xfrm>
            <a:off x="390525" y="4383088"/>
            <a:ext cx="32861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lvl="0" algn="ctr">
              <a:lnSpc>
                <a:spcPct val="90000"/>
              </a:lnSpc>
              <a:spcBef>
                <a:spcPct val="0"/>
              </a:spcBef>
              <a:spcAft>
                <a:spcPct val="0"/>
              </a:spcAft>
              <a:defRPr/>
            </a:pPr>
            <a:fld id="{4566B918-91BA-4C2C-9409-138E0096B3EF}" type="datetime'''0''''''''''''''''''''''''''.''''''''''''''''9''''''%'''">
              <a:rPr lang="en-US" altLang="en-US" sz="1000" smtClean="0">
                <a:solidFill>
                  <a:srgbClr val="000000"/>
                </a:solidFill>
              </a:rPr>
              <a:pPr/>
              <a:t>0.9%</a:t>
            </a:fld>
            <a:endParaRPr kumimoji="0" lang="en-US" sz="1000" b="0" i="0" strike="noStrike" kern="1200" cap="none" spc="0" normalizeH="0" baseline="0" noProof="0">
              <a:ln>
                <a:noFill/>
              </a:ln>
              <a:solidFill>
                <a:srgbClr val="000000"/>
              </a:solidFill>
              <a:effectLst/>
              <a:uLnTx/>
              <a:uFillTx/>
            </a:endParaRPr>
          </a:p>
        </p:txBody>
      </p:sp>
      <p:sp useBgFill="1">
        <p:nvSpPr>
          <p:cNvPr id="543" name="Rectangle 542">
            <a:extLst>
              <a:ext uri="{FF2B5EF4-FFF2-40B4-BE49-F238E27FC236}">
                <a16:creationId xmlns:a16="http://schemas.microsoft.com/office/drawing/2014/main" id="{AEAEF68D-57A8-45BE-9A18-CD2359D4D287}"/>
              </a:ext>
            </a:extLst>
          </p:cNvPr>
          <p:cNvSpPr/>
          <p:nvPr>
            <p:custDataLst>
              <p:tags r:id="rId41"/>
            </p:custDataLst>
          </p:nvPr>
        </p:nvSpPr>
        <p:spPr bwMode="gray">
          <a:xfrm>
            <a:off x="4835525" y="4697413"/>
            <a:ext cx="328613" cy="136525"/>
          </a:xfrm>
          <a:prstGeom prst="rect">
            <a:avLst/>
          </a:pr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lvl="0" algn="ctr">
              <a:lnSpc>
                <a:spcPct val="90000"/>
              </a:lnSpc>
              <a:spcBef>
                <a:spcPct val="0"/>
              </a:spcBef>
              <a:spcAft>
                <a:spcPct val="0"/>
              </a:spcAft>
              <a:defRPr/>
            </a:pPr>
            <a:fld id="{7A4BB88E-81FC-4CFC-B50F-13455A344D37}" type="datetime'''0''''''''''''''''''''''''''.''9''''''''''''%'''">
              <a:rPr lang="en-US" altLang="en-US" sz="1000" smtClean="0">
                <a:solidFill>
                  <a:srgbClr val="000000"/>
                </a:solidFill>
              </a:rPr>
              <a:pPr/>
              <a:t>0.9%</a:t>
            </a:fld>
            <a:endParaRPr kumimoji="0" lang="en-US" sz="1000" b="0" i="0" strike="noStrike" kern="1200" cap="none" spc="0" normalizeH="0" baseline="0" noProof="0">
              <a:ln>
                <a:noFill/>
              </a:ln>
              <a:solidFill>
                <a:srgbClr val="000000"/>
              </a:solidFill>
              <a:effectLst/>
              <a:uLnTx/>
              <a:uFillTx/>
            </a:endParaRPr>
          </a:p>
        </p:txBody>
      </p:sp>
      <p:sp>
        <p:nvSpPr>
          <p:cNvPr id="537" name="Text Placeholder 2">
            <a:extLst>
              <a:ext uri="{FF2B5EF4-FFF2-40B4-BE49-F238E27FC236}">
                <a16:creationId xmlns:a16="http://schemas.microsoft.com/office/drawing/2014/main" id="{A0D026F9-AA22-CF48-0ABA-D8B0ADCA4210}"/>
              </a:ext>
            </a:extLst>
          </p:cNvPr>
          <p:cNvSpPr>
            <a:spLocks noGrp="1" noChangeArrowheads="1"/>
          </p:cNvSpPr>
          <p:nvPr>
            <p:custDataLst>
              <p:tags r:id="rId42"/>
            </p:custDataLst>
          </p:nvPr>
        </p:nvSpPr>
        <p:spPr bwMode="auto">
          <a:xfrm>
            <a:off x="228600" y="5648325"/>
            <a:ext cx="260350"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base" latinLnBrk="0" hangingPunct="1">
              <a:lnSpc>
                <a:spcPct val="95000"/>
              </a:lnSpc>
              <a:spcBef>
                <a:spcPct val="0"/>
              </a:spcBef>
              <a:spcAft>
                <a:spcPct val="0"/>
              </a:spcAft>
              <a:buClrTx/>
              <a:buSzTx/>
              <a:buFont typeface="Arial" panose="020B0604020202020204" pitchFamily="34" charset="0"/>
              <a:buNone/>
              <a:tabLst/>
              <a:defRPr/>
            </a:pPr>
            <a:fld id="{55CBDB9F-6095-4F21-97F8-677C4D137C0A}" type="datetime'F''''''e''b'''''''''''''''''''''''''''''''''''">
              <a:rPr kumimoji="0" lang="en-US" altLang="en-US" sz="1000" b="1" i="0" u="none" strike="noStrike" kern="1200" cap="none" spc="0" normalizeH="0" baseline="0" noProof="0" smtClean="0">
                <a:ln>
                  <a:noFill/>
                </a:ln>
                <a:solidFill>
                  <a:srgbClr val="000000"/>
                </a:solidFill>
                <a:effectLst/>
                <a:uLnTx/>
                <a:uFillTx/>
                <a:latin typeface="Montserrat"/>
                <a:ea typeface="+mn-ea"/>
                <a:cs typeface="+mn-cs"/>
              </a:rPr>
              <a:pPr marL="0" marR="0" lvl="0" indent="0" algn="ctr" defTabSz="914400" rtl="0" eaLnBrk="1" fontAlgn="base" latinLnBrk="0" hangingPunct="1">
                <a:lnSpc>
                  <a:spcPct val="95000"/>
                </a:lnSpc>
                <a:spcBef>
                  <a:spcPct val="0"/>
                </a:spcBef>
                <a:spcAft>
                  <a:spcPct val="0"/>
                </a:spcAft>
                <a:buClrTx/>
                <a:buSzTx/>
                <a:buFont typeface="Arial" panose="020B0604020202020204" pitchFamily="34" charset="0"/>
                <a:buNone/>
                <a:tabLst/>
                <a:defRPr/>
              </a:pPr>
              <a:t>Feb</a:t>
            </a:fld>
            <a:endParaRPr kumimoji="0" lang="en-US" altLang="en-US" sz="1000" b="1" i="0" u="none" strike="noStrike" kern="1200" cap="none" spc="0" normalizeH="0" baseline="0" noProof="0">
              <a:ln>
                <a:noFill/>
              </a:ln>
              <a:solidFill>
                <a:srgbClr val="000000"/>
              </a:solidFill>
              <a:effectLst/>
              <a:uLnTx/>
              <a:uFillTx/>
              <a:latin typeface="Montserrat"/>
              <a:ea typeface="+mn-ea"/>
              <a:cs typeface="+mn-cs"/>
            </a:endParaRPr>
          </a:p>
        </p:txBody>
      </p:sp>
      <p:sp>
        <p:nvSpPr>
          <p:cNvPr id="57" name="Text Placeholder 2">
            <a:extLst>
              <a:ext uri="{FF2B5EF4-FFF2-40B4-BE49-F238E27FC236}">
                <a16:creationId xmlns:a16="http://schemas.microsoft.com/office/drawing/2014/main" id="{B2AE5802-4B5F-60C6-AC8C-F169DAEC8251}"/>
              </a:ext>
            </a:extLst>
          </p:cNvPr>
          <p:cNvSpPr>
            <a:spLocks noGrp="1" noChangeArrowheads="1"/>
          </p:cNvSpPr>
          <p:nvPr>
            <p:custDataLst>
              <p:tags r:id="rId43"/>
            </p:custDataLst>
          </p:nvPr>
        </p:nvSpPr>
        <p:spPr bwMode="auto">
          <a:xfrm>
            <a:off x="4783138" y="5648325"/>
            <a:ext cx="433388" cy="28892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defRPr/>
            </a:pPr>
            <a:fld id="{83BB940D-52BC-4B76-AB30-0E188A30C19D}" type="datetime'''''''''05''''''''''/1''''2'''' ''''- 0''''5/''1''''8'''''''">
              <a:rPr lang="en-US" altLang="en-US" sz="1000" b="1" smtClean="0">
                <a:solidFill>
                  <a:srgbClr val="000000"/>
                </a:solidFill>
              </a:rPr>
              <a:pPr/>
              <a:t>05/12 - 05/18</a:t>
            </a:fld>
            <a:endParaRPr kumimoji="0" lang="en-US" altLang="en-US" sz="1000" b="1" i="0" strike="noStrike" kern="1200" cap="none" spc="0" normalizeH="0" baseline="0" noProof="0">
              <a:ln>
                <a:noFill/>
              </a:ln>
              <a:solidFill>
                <a:srgbClr val="000000"/>
              </a:solidFill>
              <a:effectLst/>
              <a:uLnTx/>
              <a:uFillTx/>
            </a:endParaRPr>
          </a:p>
        </p:txBody>
      </p:sp>
      <p:sp>
        <p:nvSpPr>
          <p:cNvPr id="524" name="Rectangle 523">
            <a:extLst>
              <a:ext uri="{FF2B5EF4-FFF2-40B4-BE49-F238E27FC236}">
                <a16:creationId xmlns:a16="http://schemas.microsoft.com/office/drawing/2014/main" id="{08CDEE30-210D-D396-1B70-304F6DA8C14A}"/>
              </a:ext>
            </a:extLst>
          </p:cNvPr>
          <p:cNvSpPr/>
          <p:nvPr>
            <p:custDataLst>
              <p:tags r:id="rId44"/>
            </p:custDataLst>
          </p:nvPr>
        </p:nvSpPr>
        <p:spPr bwMode="gray">
          <a:xfrm>
            <a:off x="4857750" y="3367088"/>
            <a:ext cx="28416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lvl="0" algn="ctr">
              <a:lnSpc>
                <a:spcPct val="90000"/>
              </a:lnSpc>
              <a:spcBef>
                <a:spcPct val="0"/>
              </a:spcBef>
              <a:spcAft>
                <a:spcPct val="0"/>
              </a:spcAft>
              <a:defRPr/>
            </a:pPr>
            <a:fld id="{D4160CED-C826-4EFF-86A4-BE3B7B2928BF}" type="datetime'''''''''''''''''''''''''''''2.''''''''1''''''''''''''''''%'">
              <a:rPr lang="en-US" altLang="en-US" sz="1000" smtClean="0">
                <a:solidFill>
                  <a:srgbClr val="000000"/>
                </a:solidFill>
              </a:rPr>
              <a:pPr/>
              <a:t>2.1%</a:t>
            </a:fld>
            <a:endParaRPr kumimoji="0" lang="en-US" sz="1000" b="0" i="0" strike="noStrike" kern="1200" cap="none" spc="0" normalizeH="0" baseline="0" noProof="0">
              <a:ln>
                <a:noFill/>
              </a:ln>
              <a:solidFill>
                <a:srgbClr val="000000"/>
              </a:solidFill>
              <a:effectLst/>
              <a:uLnTx/>
              <a:uFillTx/>
            </a:endParaRPr>
          </a:p>
        </p:txBody>
      </p:sp>
      <p:sp>
        <p:nvSpPr>
          <p:cNvPr id="7" name="Rectangle 6">
            <a:extLst>
              <a:ext uri="{FF2B5EF4-FFF2-40B4-BE49-F238E27FC236}">
                <a16:creationId xmlns:a16="http://schemas.microsoft.com/office/drawing/2014/main" id="{E0701A22-6AF6-EC8B-09E0-00AF4997FB0B}"/>
              </a:ext>
            </a:extLst>
          </p:cNvPr>
          <p:cNvSpPr/>
          <p:nvPr>
            <p:custDataLst>
              <p:tags r:id="rId45"/>
            </p:custDataLst>
          </p:nvPr>
        </p:nvSpPr>
        <p:spPr bwMode="gray">
          <a:xfrm>
            <a:off x="5456238" y="4252913"/>
            <a:ext cx="28416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lvl="0" algn="ctr">
              <a:lnSpc>
                <a:spcPct val="90000"/>
              </a:lnSpc>
              <a:spcBef>
                <a:spcPct val="0"/>
              </a:spcBef>
              <a:spcAft>
                <a:spcPct val="0"/>
              </a:spcAft>
              <a:defRPr/>
            </a:pPr>
            <a:fld id="{970CDB4B-987E-41BA-85AE-FD332B364C2D}" type="datetime'1''''''''''''''''.''''''''''''''''''''''3''''''''%'''''''''">
              <a:rPr lang="en-US" altLang="en-US" sz="1000" smtClean="0">
                <a:solidFill>
                  <a:srgbClr val="000000"/>
                </a:solidFill>
              </a:rPr>
              <a:pPr/>
              <a:t>1.3%</a:t>
            </a:fld>
            <a:endParaRPr kumimoji="0" lang="en-US" sz="1000" b="0" i="0" strike="noStrike" kern="1200" cap="none" spc="0" normalizeH="0" baseline="0" noProof="0">
              <a:ln>
                <a:noFill/>
              </a:ln>
              <a:solidFill>
                <a:srgbClr val="000000"/>
              </a:solidFill>
              <a:effectLst/>
              <a:uLnTx/>
              <a:uFillTx/>
            </a:endParaRPr>
          </a:p>
        </p:txBody>
      </p:sp>
      <p:sp>
        <p:nvSpPr>
          <p:cNvPr id="15" name="Rectangle 14">
            <a:extLst>
              <a:ext uri="{FF2B5EF4-FFF2-40B4-BE49-F238E27FC236}">
                <a16:creationId xmlns:a16="http://schemas.microsoft.com/office/drawing/2014/main" id="{C97A2509-561F-5BA2-EF02-47E234704B05}"/>
              </a:ext>
            </a:extLst>
          </p:cNvPr>
          <p:cNvSpPr/>
          <p:nvPr>
            <p:custDataLst>
              <p:tags r:id="rId46"/>
            </p:custDataLst>
          </p:nvPr>
        </p:nvSpPr>
        <p:spPr bwMode="gray">
          <a:xfrm>
            <a:off x="5430838" y="3144838"/>
            <a:ext cx="30956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lvl="0" algn="ctr">
              <a:lnSpc>
                <a:spcPct val="90000"/>
              </a:lnSpc>
              <a:spcBef>
                <a:spcPct val="0"/>
              </a:spcBef>
              <a:spcAft>
                <a:spcPct val="0"/>
              </a:spcAft>
              <a:defRPr/>
            </a:pPr>
            <a:fld id="{476058F5-174F-47ED-8D12-9407E0A8F526}" type="datetime'''''''''''''''2.''''''''''''3''%'''''''''''''''''">
              <a:rPr lang="en-US" altLang="en-US" sz="1000" smtClean="0">
                <a:solidFill>
                  <a:srgbClr val="000000"/>
                </a:solidFill>
              </a:rPr>
              <a:pPr/>
              <a:t>2.3%</a:t>
            </a:fld>
            <a:endParaRPr kumimoji="0" lang="en-US" sz="1000" b="0" i="0" strike="noStrike" kern="1200" cap="none" spc="0" normalizeH="0" baseline="0" noProof="0">
              <a:ln>
                <a:noFill/>
              </a:ln>
              <a:solidFill>
                <a:srgbClr val="000000"/>
              </a:solidFill>
              <a:effectLst/>
              <a:uLnTx/>
              <a:uFillTx/>
            </a:endParaRPr>
          </a:p>
        </p:txBody>
      </p:sp>
      <p:sp>
        <p:nvSpPr>
          <p:cNvPr id="18" name="Rectangle 17">
            <a:extLst>
              <a:ext uri="{FF2B5EF4-FFF2-40B4-BE49-F238E27FC236}">
                <a16:creationId xmlns:a16="http://schemas.microsoft.com/office/drawing/2014/main" id="{4743E366-3D26-8D38-2A5C-B4EFA9F2F7ED}"/>
              </a:ext>
            </a:extLst>
          </p:cNvPr>
          <p:cNvSpPr/>
          <p:nvPr>
            <p:custDataLst>
              <p:tags r:id="rId47"/>
            </p:custDataLst>
          </p:nvPr>
        </p:nvSpPr>
        <p:spPr bwMode="gray">
          <a:xfrm>
            <a:off x="5411789" y="4383088"/>
            <a:ext cx="32861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lvl="0" algn="ctr">
              <a:lnSpc>
                <a:spcPct val="90000"/>
              </a:lnSpc>
              <a:spcBef>
                <a:spcPct val="0"/>
              </a:spcBef>
              <a:spcAft>
                <a:spcPct val="0"/>
              </a:spcAft>
              <a:defRPr/>
            </a:pPr>
            <a:fld id="{4669257B-EEBB-4761-BDB9-200924144826}" type="datetime'0''''''''''''''.''9''''''''''''''''''''%'''''''''">
              <a:rPr lang="en-US" altLang="en-US" sz="1000" smtClean="0">
                <a:solidFill>
                  <a:srgbClr val="000000"/>
                </a:solidFill>
              </a:rPr>
              <a:pPr/>
              <a:t>0.9%</a:t>
            </a:fld>
            <a:endParaRPr kumimoji="0" lang="en-US" sz="1000" b="0" i="0" strike="noStrike" kern="1200" cap="none" spc="0" normalizeH="0" baseline="0" noProof="0">
              <a:ln>
                <a:noFill/>
              </a:ln>
              <a:solidFill>
                <a:srgbClr val="000000"/>
              </a:solidFill>
              <a:effectLst/>
              <a:uLnTx/>
              <a:uFillTx/>
            </a:endParaRPr>
          </a:p>
        </p:txBody>
      </p:sp>
      <p:sp>
        <p:nvSpPr>
          <p:cNvPr id="24" name="Rectangle 23">
            <a:extLst>
              <a:ext uri="{FF2B5EF4-FFF2-40B4-BE49-F238E27FC236}">
                <a16:creationId xmlns:a16="http://schemas.microsoft.com/office/drawing/2014/main" id="{0FED4B43-69EB-38F1-63A5-4E118DA9AC5D}"/>
              </a:ext>
            </a:extLst>
          </p:cNvPr>
          <p:cNvSpPr/>
          <p:nvPr>
            <p:custDataLst>
              <p:tags r:id="rId48"/>
            </p:custDataLst>
          </p:nvPr>
        </p:nvSpPr>
        <p:spPr bwMode="gray">
          <a:xfrm>
            <a:off x="5411788" y="4697413"/>
            <a:ext cx="32861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lvl="0" algn="ctr">
              <a:lnSpc>
                <a:spcPct val="90000"/>
              </a:lnSpc>
              <a:spcBef>
                <a:spcPct val="0"/>
              </a:spcBef>
              <a:spcAft>
                <a:spcPct val="0"/>
              </a:spcAft>
              <a:defRPr/>
            </a:pPr>
            <a:fld id="{DBDD25EC-3869-4B7B-876F-EF6385AD6AE4}" type="datetime'''''''''''''''''0''''''''''.''''''''''9''''''%'''''''''">
              <a:rPr lang="en-US" altLang="en-US" sz="1000" smtClean="0">
                <a:solidFill>
                  <a:srgbClr val="000000"/>
                </a:solidFill>
              </a:rPr>
              <a:pPr/>
              <a:t>0.9%</a:t>
            </a:fld>
            <a:endParaRPr kumimoji="0" lang="en-US" sz="1000" b="0" i="0" strike="noStrike" kern="1200" cap="none" spc="0" normalizeH="0" baseline="0" noProof="0">
              <a:ln>
                <a:noFill/>
              </a:ln>
              <a:solidFill>
                <a:srgbClr val="000000"/>
              </a:solidFill>
              <a:effectLst/>
              <a:uLnTx/>
              <a:uFillTx/>
            </a:endParaRPr>
          </a:p>
        </p:txBody>
      </p:sp>
      <p:sp>
        <p:nvSpPr>
          <p:cNvPr id="975" name="Rectangle 974">
            <a:extLst>
              <a:ext uri="{FF2B5EF4-FFF2-40B4-BE49-F238E27FC236}">
                <a16:creationId xmlns:a16="http://schemas.microsoft.com/office/drawing/2014/main" id="{BF00E97F-05B5-B909-2441-EFC895E8F60E}"/>
              </a:ext>
            </a:extLst>
          </p:cNvPr>
          <p:cNvSpPr/>
          <p:nvPr>
            <p:custDataLst>
              <p:tags r:id="rId49"/>
            </p:custDataLst>
          </p:nvPr>
        </p:nvSpPr>
        <p:spPr bwMode="gray">
          <a:xfrm>
            <a:off x="990600" y="4049713"/>
            <a:ext cx="28416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lvl="0" algn="ctr">
              <a:lnSpc>
                <a:spcPct val="90000"/>
              </a:lnSpc>
              <a:spcBef>
                <a:spcPct val="0"/>
              </a:spcBef>
              <a:spcAft>
                <a:spcPct val="0"/>
              </a:spcAft>
              <a:defRPr/>
            </a:pPr>
            <a:fld id="{C93B1B48-FD17-4E1D-9A51-2D60ACA87880}" type="datetime'''''''''''''''''1''''''''''.''''''''''''''2''''''''%'''''">
              <a:rPr lang="en-US" altLang="en-US" sz="1000" smtClean="0">
                <a:solidFill>
                  <a:srgbClr val="000000"/>
                </a:solidFill>
              </a:rPr>
              <a:pPr/>
              <a:t>1.2%</a:t>
            </a:fld>
            <a:endParaRPr kumimoji="0" lang="en-US" sz="1000" b="0" i="0" strike="noStrike" kern="1200" cap="none" spc="0" normalizeH="0" baseline="0" noProof="0">
              <a:ln>
                <a:noFill/>
              </a:ln>
              <a:solidFill>
                <a:srgbClr val="000000"/>
              </a:solidFill>
              <a:effectLst/>
              <a:uLnTx/>
              <a:uFillTx/>
            </a:endParaRPr>
          </a:p>
        </p:txBody>
      </p:sp>
      <p:sp>
        <p:nvSpPr>
          <p:cNvPr id="59" name="Text Placeholder 2">
            <a:extLst>
              <a:ext uri="{FF2B5EF4-FFF2-40B4-BE49-F238E27FC236}">
                <a16:creationId xmlns:a16="http://schemas.microsoft.com/office/drawing/2014/main" id="{0D6219EF-FE5D-DB27-808E-31435B824585}"/>
              </a:ext>
            </a:extLst>
          </p:cNvPr>
          <p:cNvSpPr>
            <a:spLocks noGrp="1" noChangeArrowheads="1"/>
          </p:cNvSpPr>
          <p:nvPr>
            <p:custDataLst>
              <p:tags r:id="rId50"/>
            </p:custDataLst>
          </p:nvPr>
        </p:nvSpPr>
        <p:spPr bwMode="auto">
          <a:xfrm>
            <a:off x="5553075" y="5648325"/>
            <a:ext cx="439738" cy="28892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defRPr/>
            </a:pPr>
            <a:fld id="{FFFC5379-26A6-487A-8900-E18CF4C4CDFB}" type="datetime'''''05''/''''1''''''''''''''9'''' ''''-'''' ''''0''5/25'''''''">
              <a:rPr lang="en-US" altLang="en-US" sz="1000" b="1" smtClean="0">
                <a:solidFill>
                  <a:srgbClr val="000000"/>
                </a:solidFill>
              </a:rPr>
              <a:pPr/>
              <a:t>05/19 - 05/25</a:t>
            </a:fld>
            <a:endParaRPr kumimoji="0" lang="en-US" altLang="en-US" sz="1000" b="1" i="0" strike="noStrike" kern="1200" cap="none" spc="0" normalizeH="0" baseline="0" noProof="0">
              <a:ln>
                <a:noFill/>
              </a:ln>
              <a:solidFill>
                <a:srgbClr val="000000"/>
              </a:solidFill>
              <a:effectLst/>
              <a:uLnTx/>
              <a:uFillTx/>
            </a:endParaRPr>
          </a:p>
        </p:txBody>
      </p:sp>
      <p:cxnSp>
        <p:nvCxnSpPr>
          <p:cNvPr id="748" name="Straight Connector 747">
            <a:extLst>
              <a:ext uri="{FF2B5EF4-FFF2-40B4-BE49-F238E27FC236}">
                <a16:creationId xmlns:a16="http://schemas.microsoft.com/office/drawing/2014/main" id="{64207F65-D93E-FCBE-7E12-A2D4AF739367}"/>
              </a:ext>
            </a:extLst>
          </p:cNvPr>
          <p:cNvCxnSpPr/>
          <p:nvPr>
            <p:custDataLst>
              <p:tags r:id="rId51"/>
            </p:custDataLst>
          </p:nvPr>
        </p:nvCxnSpPr>
        <p:spPr bwMode="gray">
          <a:xfrm>
            <a:off x="414338" y="1901825"/>
            <a:ext cx="214313" cy="0"/>
          </a:xfrm>
          <a:prstGeom prst="line">
            <a:avLst/>
          </a:prstGeom>
          <a:ln w="19050" cap="rnd" cmpd="sng" algn="ctr">
            <a:solidFill>
              <a:schemeClr val="accent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50" name="Straight Connector 749">
            <a:extLst>
              <a:ext uri="{FF2B5EF4-FFF2-40B4-BE49-F238E27FC236}">
                <a16:creationId xmlns:a16="http://schemas.microsoft.com/office/drawing/2014/main" id="{B9E835D5-7431-BB40-A138-69B5538783E5}"/>
              </a:ext>
            </a:extLst>
          </p:cNvPr>
          <p:cNvCxnSpPr/>
          <p:nvPr>
            <p:custDataLst>
              <p:tags r:id="rId52"/>
            </p:custDataLst>
          </p:nvPr>
        </p:nvCxnSpPr>
        <p:spPr bwMode="gray">
          <a:xfrm>
            <a:off x="414338" y="2089150"/>
            <a:ext cx="214313" cy="0"/>
          </a:xfrm>
          <a:prstGeom prst="line">
            <a:avLst/>
          </a:prstGeom>
          <a:ln w="19050" cap="rnd" cmpd="sng" algn="ctr">
            <a:solidFill>
              <a:srgbClr val="007770"/>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52" name="Straight Connector 751">
            <a:extLst>
              <a:ext uri="{FF2B5EF4-FFF2-40B4-BE49-F238E27FC236}">
                <a16:creationId xmlns:a16="http://schemas.microsoft.com/office/drawing/2014/main" id="{7552950C-57E1-803B-E133-14D48A2BBDD2}"/>
              </a:ext>
            </a:extLst>
          </p:cNvPr>
          <p:cNvCxnSpPr/>
          <p:nvPr>
            <p:custDataLst>
              <p:tags r:id="rId53"/>
            </p:custDataLst>
          </p:nvPr>
        </p:nvCxnSpPr>
        <p:spPr bwMode="gray">
          <a:xfrm>
            <a:off x="2070100" y="1901825"/>
            <a:ext cx="214313" cy="0"/>
          </a:xfrm>
          <a:prstGeom prst="line">
            <a:avLst/>
          </a:prstGeom>
          <a:ln w="19050" cap="rnd" cmpd="sng" algn="ctr">
            <a:solidFill>
              <a:schemeClr val="accent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54" name="Straight Connector 753">
            <a:extLst>
              <a:ext uri="{FF2B5EF4-FFF2-40B4-BE49-F238E27FC236}">
                <a16:creationId xmlns:a16="http://schemas.microsoft.com/office/drawing/2014/main" id="{C0163400-B4A0-60FD-B113-F1CD9C87F815}"/>
              </a:ext>
            </a:extLst>
          </p:cNvPr>
          <p:cNvCxnSpPr/>
          <p:nvPr>
            <p:custDataLst>
              <p:tags r:id="rId54"/>
            </p:custDataLst>
          </p:nvPr>
        </p:nvCxnSpPr>
        <p:spPr bwMode="gray">
          <a:xfrm>
            <a:off x="2070100" y="2089150"/>
            <a:ext cx="214313" cy="0"/>
          </a:xfrm>
          <a:prstGeom prst="line">
            <a:avLst/>
          </a:prstGeom>
          <a:ln w="19050" cap="rnd" cmpd="sng" algn="ctr">
            <a:solidFill>
              <a:srgbClr val="4C6C9C"/>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49" name="Oval 748">
            <a:extLst>
              <a:ext uri="{FF2B5EF4-FFF2-40B4-BE49-F238E27FC236}">
                <a16:creationId xmlns:a16="http://schemas.microsoft.com/office/drawing/2014/main" id="{BE464361-B93D-BBF6-B134-C766FC380ED6}"/>
              </a:ext>
            </a:extLst>
          </p:cNvPr>
          <p:cNvSpPr/>
          <p:nvPr>
            <p:custDataLst>
              <p:tags r:id="rId55"/>
            </p:custDataLst>
          </p:nvPr>
        </p:nvSpPr>
        <p:spPr bwMode="auto">
          <a:xfrm>
            <a:off x="488950" y="1870075"/>
            <a:ext cx="63500" cy="63500"/>
          </a:xfrm>
          <a:prstGeom prst="ellipse">
            <a:avLst/>
          </a:prstGeom>
          <a:solidFill>
            <a:schemeClr val="accent1"/>
          </a:solidFill>
          <a:ln w="9525" cap="flat" cmpd="sng" algn="ctr">
            <a:solidFill>
              <a:schemeClr val="accent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ontserrat"/>
              <a:ea typeface="+mn-ea"/>
              <a:cs typeface="+mn-cs"/>
            </a:endParaRPr>
          </a:p>
        </p:txBody>
      </p:sp>
      <p:sp>
        <p:nvSpPr>
          <p:cNvPr id="751" name="Oval 750">
            <a:extLst>
              <a:ext uri="{FF2B5EF4-FFF2-40B4-BE49-F238E27FC236}">
                <a16:creationId xmlns:a16="http://schemas.microsoft.com/office/drawing/2014/main" id="{7C42522B-FCA8-1CE3-4BC1-A29D4CD4FA78}"/>
              </a:ext>
            </a:extLst>
          </p:cNvPr>
          <p:cNvSpPr/>
          <p:nvPr>
            <p:custDataLst>
              <p:tags r:id="rId56"/>
            </p:custDataLst>
          </p:nvPr>
        </p:nvSpPr>
        <p:spPr bwMode="auto">
          <a:xfrm>
            <a:off x="488950" y="2057400"/>
            <a:ext cx="63500" cy="63500"/>
          </a:xfrm>
          <a:prstGeom prst="ellipse">
            <a:avLst/>
          </a:prstGeom>
          <a:solidFill>
            <a:srgbClr val="007770"/>
          </a:solidFill>
          <a:ln w="9525" cap="flat" cmpd="sng" algn="ctr">
            <a:solidFill>
              <a:srgbClr val="007770"/>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ontserrat"/>
              <a:ea typeface="+mn-ea"/>
              <a:cs typeface="+mn-cs"/>
            </a:endParaRPr>
          </a:p>
        </p:txBody>
      </p:sp>
      <p:sp>
        <p:nvSpPr>
          <p:cNvPr id="753" name="Oval 752">
            <a:extLst>
              <a:ext uri="{FF2B5EF4-FFF2-40B4-BE49-F238E27FC236}">
                <a16:creationId xmlns:a16="http://schemas.microsoft.com/office/drawing/2014/main" id="{F5DEF898-B498-A020-03EB-CBE0A41C66D0}"/>
              </a:ext>
            </a:extLst>
          </p:cNvPr>
          <p:cNvSpPr/>
          <p:nvPr>
            <p:custDataLst>
              <p:tags r:id="rId57"/>
            </p:custDataLst>
          </p:nvPr>
        </p:nvSpPr>
        <p:spPr bwMode="auto">
          <a:xfrm>
            <a:off x="2144713" y="1870075"/>
            <a:ext cx="63500" cy="63500"/>
          </a:xfrm>
          <a:prstGeom prst="ellipse">
            <a:avLst/>
          </a:prstGeom>
          <a:solidFill>
            <a:schemeClr val="accent2"/>
          </a:solidFill>
          <a:ln w="9525" cap="flat" cmpd="sng" algn="ctr">
            <a:solidFill>
              <a:schemeClr val="accent2"/>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ontserrat"/>
              <a:ea typeface="+mn-ea"/>
              <a:cs typeface="+mn-cs"/>
            </a:endParaRPr>
          </a:p>
        </p:txBody>
      </p:sp>
      <p:sp>
        <p:nvSpPr>
          <p:cNvPr id="755" name="Oval 754">
            <a:extLst>
              <a:ext uri="{FF2B5EF4-FFF2-40B4-BE49-F238E27FC236}">
                <a16:creationId xmlns:a16="http://schemas.microsoft.com/office/drawing/2014/main" id="{42466849-10FB-B635-EA7D-6C8F126CC137}"/>
              </a:ext>
            </a:extLst>
          </p:cNvPr>
          <p:cNvSpPr/>
          <p:nvPr>
            <p:custDataLst>
              <p:tags r:id="rId58"/>
            </p:custDataLst>
          </p:nvPr>
        </p:nvSpPr>
        <p:spPr bwMode="auto">
          <a:xfrm>
            <a:off x="2144713" y="2057400"/>
            <a:ext cx="63500" cy="63500"/>
          </a:xfrm>
          <a:prstGeom prst="ellipse">
            <a:avLst/>
          </a:prstGeom>
          <a:solidFill>
            <a:srgbClr val="4C6C9C"/>
          </a:solidFill>
          <a:ln w="9525" cap="flat" cmpd="sng" algn="ctr">
            <a:solidFill>
              <a:srgbClr val="4C6C9C"/>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ontserrat"/>
              <a:ea typeface="+mn-ea"/>
              <a:cs typeface="+mn-cs"/>
            </a:endParaRPr>
          </a:p>
        </p:txBody>
      </p:sp>
      <p:sp>
        <p:nvSpPr>
          <p:cNvPr id="574" name="Rectangle 573">
            <a:extLst>
              <a:ext uri="{FF2B5EF4-FFF2-40B4-BE49-F238E27FC236}">
                <a16:creationId xmlns:a16="http://schemas.microsoft.com/office/drawing/2014/main" id="{C323AD5B-CF15-E89B-16A5-43E444525D17}"/>
              </a:ext>
            </a:extLst>
          </p:cNvPr>
          <p:cNvSpPr/>
          <p:nvPr>
            <p:custDataLst>
              <p:tags r:id="rId59"/>
            </p:custDataLst>
          </p:nvPr>
        </p:nvSpPr>
        <p:spPr bwMode="auto">
          <a:xfrm>
            <a:off x="688975" y="1838325"/>
            <a:ext cx="127000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marL="0" marR="0" lvl="0" indent="0" algn="l" defTabSz="914400" rtl="0" eaLnBrk="1" fontAlgn="auto" latinLnBrk="0" hangingPunct="1">
              <a:lnSpc>
                <a:spcPct val="100000"/>
              </a:lnSpc>
              <a:spcBef>
                <a:spcPct val="0"/>
              </a:spcBef>
              <a:spcAft>
                <a:spcPct val="0"/>
              </a:spcAft>
              <a:buClrTx/>
              <a:buSzTx/>
              <a:buFontTx/>
              <a:buNone/>
              <a:tabLst/>
              <a:defRPr/>
            </a:pPr>
            <a:fld id="{712A987E-0441-4C30-B425-ED909CB445A8}" type="datetime'On''l''ine'' ''S''ale''s'' Cal''''''''''''''''l''''s C''''VR'">
              <a:rPr kumimoji="0" lang="en-US" altLang="en-US" sz="900" b="0" i="0" u="none" strike="noStrike" kern="1200" cap="none" spc="0" normalizeH="0" baseline="0" noProof="0" smtClean="0">
                <a:ln>
                  <a:noFill/>
                </a:ln>
                <a:solidFill>
                  <a:srgbClr val="000000"/>
                </a:solidFill>
                <a:effectLst/>
                <a:uLnTx/>
                <a:uFillTx/>
                <a:latin typeface="Montserrat"/>
                <a:ea typeface="+mn-ea"/>
                <a:cs typeface="+mn-cs"/>
              </a:rPr>
              <a:pPr marL="0" marR="0" lvl="0" indent="0" algn="l" defTabSz="914400" rtl="0" eaLnBrk="1" fontAlgn="auto" latinLnBrk="0" hangingPunct="1">
                <a:lnSpc>
                  <a:spcPct val="100000"/>
                </a:lnSpc>
                <a:spcBef>
                  <a:spcPct val="0"/>
                </a:spcBef>
                <a:spcAft>
                  <a:spcPct val="0"/>
                </a:spcAft>
                <a:buClrTx/>
                <a:buSzTx/>
                <a:buFontTx/>
                <a:buNone/>
                <a:tabLst/>
                <a:defRPr/>
              </a:pPr>
              <a:t>Online Sales Calls CVR</a:t>
            </a:fld>
            <a:endParaRPr kumimoji="0" lang="en-US" sz="900" b="0" i="0" u="none" strike="noStrike" kern="1200" cap="none" spc="0" normalizeH="0" baseline="0" noProof="0" dirty="0">
              <a:ln>
                <a:noFill/>
              </a:ln>
              <a:solidFill>
                <a:srgbClr val="000000"/>
              </a:solidFill>
              <a:effectLst/>
              <a:uLnTx/>
              <a:uFillTx/>
              <a:latin typeface="Montserrat"/>
              <a:ea typeface="+mn-ea"/>
              <a:cs typeface="+mn-cs"/>
            </a:endParaRPr>
          </a:p>
        </p:txBody>
      </p:sp>
      <p:sp>
        <p:nvSpPr>
          <p:cNvPr id="575" name="Rectangle 574">
            <a:extLst>
              <a:ext uri="{FF2B5EF4-FFF2-40B4-BE49-F238E27FC236}">
                <a16:creationId xmlns:a16="http://schemas.microsoft.com/office/drawing/2014/main" id="{48C60C2E-CD07-9AE9-14FF-0606DDC0CDC6}"/>
              </a:ext>
            </a:extLst>
          </p:cNvPr>
          <p:cNvSpPr/>
          <p:nvPr>
            <p:custDataLst>
              <p:tags r:id="rId60"/>
            </p:custDataLst>
          </p:nvPr>
        </p:nvSpPr>
        <p:spPr bwMode="auto">
          <a:xfrm>
            <a:off x="688975" y="2025650"/>
            <a:ext cx="88900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marL="0" marR="0" lvl="0" indent="0" algn="l" defTabSz="914400" rtl="0" eaLnBrk="1" fontAlgn="auto" latinLnBrk="0" hangingPunct="1">
              <a:lnSpc>
                <a:spcPct val="100000"/>
              </a:lnSpc>
              <a:spcBef>
                <a:spcPct val="0"/>
              </a:spcBef>
              <a:spcAft>
                <a:spcPct val="0"/>
              </a:spcAft>
              <a:buClrTx/>
              <a:buSzTx/>
              <a:buFontTx/>
              <a:buNone/>
              <a:tabLst/>
              <a:defRPr/>
            </a:pPr>
            <a:fld id="{C6F8841F-006C-4643-9FFC-AE280B5C6129}" type="datetime'W''e''''''b'' ''Fo''r''m'''''''''''''''''''' ''C''VR'''">
              <a:rPr kumimoji="0" lang="en-US" altLang="en-US" sz="900" b="0" i="0" u="none" strike="noStrike" kern="1200" cap="none" spc="0" normalizeH="0" baseline="0" noProof="0" smtClean="0">
                <a:ln>
                  <a:noFill/>
                </a:ln>
                <a:solidFill>
                  <a:srgbClr val="000000"/>
                </a:solidFill>
                <a:effectLst/>
                <a:uLnTx/>
                <a:uFillTx/>
                <a:latin typeface="Montserrat"/>
                <a:ea typeface="+mn-ea"/>
                <a:cs typeface="+mn-cs"/>
              </a:rPr>
              <a:pPr marL="0" marR="0" lvl="0" indent="0" algn="l" defTabSz="914400" rtl="0" eaLnBrk="1" fontAlgn="auto" latinLnBrk="0" hangingPunct="1">
                <a:lnSpc>
                  <a:spcPct val="100000"/>
                </a:lnSpc>
                <a:spcBef>
                  <a:spcPct val="0"/>
                </a:spcBef>
                <a:spcAft>
                  <a:spcPct val="0"/>
                </a:spcAft>
                <a:buClrTx/>
                <a:buSzTx/>
                <a:buFontTx/>
                <a:buNone/>
                <a:tabLst/>
                <a:defRPr/>
              </a:pPr>
              <a:t>Web Form CVR</a:t>
            </a:fld>
            <a:endParaRPr kumimoji="0" lang="en-US" sz="900" b="0" i="0" u="none" strike="noStrike" kern="1200" cap="none" spc="0" normalizeH="0" baseline="0" noProof="0">
              <a:ln>
                <a:noFill/>
              </a:ln>
              <a:solidFill>
                <a:srgbClr val="000000"/>
              </a:solidFill>
              <a:effectLst/>
              <a:uLnTx/>
              <a:uFillTx/>
              <a:latin typeface="Montserrat"/>
              <a:ea typeface="+mn-ea"/>
              <a:cs typeface="+mn-cs"/>
            </a:endParaRPr>
          </a:p>
        </p:txBody>
      </p:sp>
      <p:sp>
        <p:nvSpPr>
          <p:cNvPr id="576" name="Rectangle 575">
            <a:extLst>
              <a:ext uri="{FF2B5EF4-FFF2-40B4-BE49-F238E27FC236}">
                <a16:creationId xmlns:a16="http://schemas.microsoft.com/office/drawing/2014/main" id="{93950371-30CB-2454-DC27-2882E00254F0}"/>
              </a:ext>
            </a:extLst>
          </p:cNvPr>
          <p:cNvSpPr/>
          <p:nvPr>
            <p:custDataLst>
              <p:tags r:id="rId61"/>
            </p:custDataLst>
          </p:nvPr>
        </p:nvSpPr>
        <p:spPr bwMode="auto">
          <a:xfrm>
            <a:off x="2344738" y="1838325"/>
            <a:ext cx="547688"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marL="0" marR="0" lvl="0" indent="0" algn="l" defTabSz="914400" rtl="0" eaLnBrk="1" fontAlgn="auto" latinLnBrk="0" hangingPunct="1">
              <a:lnSpc>
                <a:spcPct val="100000"/>
              </a:lnSpc>
              <a:spcBef>
                <a:spcPct val="0"/>
              </a:spcBef>
              <a:spcAft>
                <a:spcPct val="0"/>
              </a:spcAft>
              <a:buClrTx/>
              <a:buSzTx/>
              <a:buFontTx/>
              <a:buNone/>
              <a:tabLst/>
              <a:defRPr/>
            </a:pPr>
            <a:fld id="{FB1D7766-4740-4FDB-B227-890CB5D8F567}" type="datetime'''''C''''''''''''h''''''''a''''''t'''''' ''C''''V''''''''R'''">
              <a:rPr kumimoji="0" lang="en-US" altLang="en-US" sz="900" b="0" i="0" u="none" strike="noStrike" kern="1200" cap="none" spc="0" normalizeH="0" baseline="0" noProof="0" smtClean="0">
                <a:ln>
                  <a:noFill/>
                </a:ln>
                <a:solidFill>
                  <a:srgbClr val="000000"/>
                </a:solidFill>
                <a:effectLst/>
                <a:uLnTx/>
                <a:uFillTx/>
                <a:latin typeface="Montserrat"/>
                <a:ea typeface="+mn-ea"/>
                <a:cs typeface="+mn-cs"/>
              </a:rPr>
              <a:pPr marL="0" marR="0" lvl="0" indent="0" algn="l" defTabSz="914400" rtl="0" eaLnBrk="1" fontAlgn="auto" latinLnBrk="0" hangingPunct="1">
                <a:lnSpc>
                  <a:spcPct val="100000"/>
                </a:lnSpc>
                <a:spcBef>
                  <a:spcPct val="0"/>
                </a:spcBef>
                <a:spcAft>
                  <a:spcPct val="0"/>
                </a:spcAft>
                <a:buClrTx/>
                <a:buSzTx/>
                <a:buFontTx/>
                <a:buNone/>
                <a:tabLst/>
                <a:defRPr/>
              </a:pPr>
              <a:t>Chat CVR</a:t>
            </a:fld>
            <a:endParaRPr kumimoji="0" lang="en-US" sz="900" b="0" i="0" u="none" strike="noStrike" kern="1200" cap="none" spc="0" normalizeH="0" baseline="0" noProof="0">
              <a:ln>
                <a:noFill/>
              </a:ln>
              <a:solidFill>
                <a:srgbClr val="000000"/>
              </a:solidFill>
              <a:effectLst/>
              <a:uLnTx/>
              <a:uFillTx/>
              <a:latin typeface="Montserrat"/>
              <a:ea typeface="+mn-ea"/>
              <a:cs typeface="+mn-cs"/>
            </a:endParaRPr>
          </a:p>
        </p:txBody>
      </p:sp>
      <p:sp>
        <p:nvSpPr>
          <p:cNvPr id="577" name="Rectangle 576">
            <a:extLst>
              <a:ext uri="{FF2B5EF4-FFF2-40B4-BE49-F238E27FC236}">
                <a16:creationId xmlns:a16="http://schemas.microsoft.com/office/drawing/2014/main" id="{F0EA8AD7-486A-2A2E-DD95-F303E31C28D7}"/>
              </a:ext>
            </a:extLst>
          </p:cNvPr>
          <p:cNvSpPr/>
          <p:nvPr>
            <p:custDataLst>
              <p:tags r:id="rId62"/>
            </p:custDataLst>
          </p:nvPr>
        </p:nvSpPr>
        <p:spPr bwMode="auto">
          <a:xfrm>
            <a:off x="2344738" y="2025650"/>
            <a:ext cx="738188"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marL="0" marR="0" lvl="0" indent="0" algn="l" defTabSz="914400" rtl="0" eaLnBrk="1" fontAlgn="auto" latinLnBrk="0" hangingPunct="1">
              <a:lnSpc>
                <a:spcPct val="100000"/>
              </a:lnSpc>
              <a:spcBef>
                <a:spcPct val="0"/>
              </a:spcBef>
              <a:spcAft>
                <a:spcPct val="0"/>
              </a:spcAft>
              <a:buClrTx/>
              <a:buSzTx/>
              <a:buFontTx/>
              <a:buNone/>
              <a:tabLst/>
              <a:defRPr/>
            </a:pPr>
            <a:fld id="{C07E15A4-31B2-494A-B13A-B20AEECDB351}" type="datetime'B''''''''F ''''''S''ta''''''r''t'' C''V''''R'''''''">
              <a:rPr kumimoji="0" lang="en-US" altLang="en-US" sz="900" b="0" i="0" u="none" strike="noStrike" kern="1200" cap="none" spc="0" normalizeH="0" baseline="0" noProof="0" smtClean="0">
                <a:ln>
                  <a:noFill/>
                </a:ln>
                <a:solidFill>
                  <a:srgbClr val="000000"/>
                </a:solidFill>
                <a:effectLst/>
                <a:uLnTx/>
                <a:uFillTx/>
                <a:latin typeface="Montserrat"/>
                <a:ea typeface="+mn-ea"/>
                <a:cs typeface="+mn-cs"/>
              </a:rPr>
              <a:pPr marL="0" marR="0" lvl="0" indent="0" algn="l" defTabSz="914400" rtl="0" eaLnBrk="1" fontAlgn="auto" latinLnBrk="0" hangingPunct="1">
                <a:lnSpc>
                  <a:spcPct val="100000"/>
                </a:lnSpc>
                <a:spcBef>
                  <a:spcPct val="0"/>
                </a:spcBef>
                <a:spcAft>
                  <a:spcPct val="0"/>
                </a:spcAft>
                <a:buClrTx/>
                <a:buSzTx/>
                <a:buFontTx/>
                <a:buNone/>
                <a:tabLst/>
                <a:defRPr/>
              </a:pPr>
              <a:t>BF Start CVR</a:t>
            </a:fld>
            <a:endParaRPr kumimoji="0" lang="en-US" sz="900" b="0" i="0" u="none" strike="noStrike" kern="1200" cap="none" spc="0" normalizeH="0" baseline="0" noProof="0" dirty="0">
              <a:ln>
                <a:noFill/>
              </a:ln>
              <a:solidFill>
                <a:srgbClr val="000000"/>
              </a:solidFill>
              <a:effectLst/>
              <a:uLnTx/>
              <a:uFillTx/>
              <a:latin typeface="Montserrat"/>
              <a:ea typeface="+mn-ea"/>
              <a:cs typeface="+mn-cs"/>
            </a:endParaRPr>
          </a:p>
        </p:txBody>
      </p:sp>
      <p:sp>
        <p:nvSpPr>
          <p:cNvPr id="10" name="TextBox 9">
            <a:extLst>
              <a:ext uri="{FF2B5EF4-FFF2-40B4-BE49-F238E27FC236}">
                <a16:creationId xmlns:a16="http://schemas.microsoft.com/office/drawing/2014/main" id="{ECED42EE-35CF-53CE-274C-25B35D9E53F6}"/>
              </a:ext>
            </a:extLst>
          </p:cNvPr>
          <p:cNvSpPr txBox="1"/>
          <p:nvPr/>
        </p:nvSpPr>
        <p:spPr>
          <a:xfrm>
            <a:off x="463549" y="6283325"/>
            <a:ext cx="2414590" cy="195261"/>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Montserrat"/>
                <a:ea typeface="+mn-ea"/>
                <a:cs typeface="+mn-cs"/>
              </a:rPr>
              <a:t>Data Source: CBMA Weekly Leads Summary</a:t>
            </a:r>
          </a:p>
        </p:txBody>
      </p:sp>
      <p:graphicFrame>
        <p:nvGraphicFramePr>
          <p:cNvPr id="966" name="Chart 965">
            <a:extLst>
              <a:ext uri="{FF2B5EF4-FFF2-40B4-BE49-F238E27FC236}">
                <a16:creationId xmlns:a16="http://schemas.microsoft.com/office/drawing/2014/main" id="{1753C816-7621-AB59-2E4D-16BF8A8143C4}"/>
              </a:ext>
            </a:extLst>
          </p:cNvPr>
          <p:cNvGraphicFramePr/>
          <p:nvPr>
            <p:custDataLst>
              <p:tags r:id="rId63"/>
            </p:custDataLst>
            <p:extLst>
              <p:ext uri="{D42A27DB-BD31-4B8C-83A1-F6EECF244321}">
                <p14:modId xmlns:p14="http://schemas.microsoft.com/office/powerpoint/2010/main" val="768653152"/>
              </p:ext>
            </p:extLst>
          </p:nvPr>
        </p:nvGraphicFramePr>
        <p:xfrm>
          <a:off x="6596063" y="1293813"/>
          <a:ext cx="5221287" cy="4537075"/>
        </p:xfrm>
        <a:graphic>
          <a:graphicData uri="http://schemas.openxmlformats.org/drawingml/2006/chart">
            <c:chart xmlns:c="http://schemas.openxmlformats.org/drawingml/2006/chart" xmlns:r="http://schemas.openxmlformats.org/officeDocument/2006/relationships" r:id="rId95"/>
          </a:graphicData>
        </a:graphic>
      </p:graphicFrame>
      <p:sp>
        <p:nvSpPr>
          <p:cNvPr id="1021" name="Text Placeholder 2">
            <a:extLst>
              <a:ext uri="{FF2B5EF4-FFF2-40B4-BE49-F238E27FC236}">
                <a16:creationId xmlns:a16="http://schemas.microsoft.com/office/drawing/2014/main" id="{96109EB9-C31D-4292-F6EA-9EE2C8665916}"/>
              </a:ext>
            </a:extLst>
          </p:cNvPr>
          <p:cNvSpPr>
            <a:spLocks noGrp="1" noChangeArrowheads="1"/>
          </p:cNvSpPr>
          <p:nvPr>
            <p:custDataLst>
              <p:tags r:id="rId64"/>
            </p:custDataLst>
          </p:nvPr>
        </p:nvSpPr>
        <p:spPr bwMode="auto">
          <a:xfrm>
            <a:off x="6877050" y="5643563"/>
            <a:ext cx="236538" cy="1301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base" latinLnBrk="0" hangingPunct="1">
              <a:lnSpc>
                <a:spcPct val="95000"/>
              </a:lnSpc>
              <a:spcBef>
                <a:spcPct val="0"/>
              </a:spcBef>
              <a:spcAft>
                <a:spcPct val="0"/>
              </a:spcAft>
              <a:buClrTx/>
              <a:buSzTx/>
              <a:buFont typeface="Arial" panose="020B0604020202020204" pitchFamily="34" charset="0"/>
              <a:buNone/>
              <a:tabLst/>
              <a:defRPr/>
            </a:pPr>
            <a:fld id="{858F22C7-04E3-4544-A3A3-DA773A424A2A}" type="datetime'''''''''''''''''''''''''''F''''''''''''e''''''''''''b'''">
              <a:rPr kumimoji="0" lang="en-US" altLang="en-US" sz="900" b="1" i="0" u="none" strike="noStrike" kern="1200" cap="none" spc="0" normalizeH="0" baseline="0" noProof="0" smtClean="0">
                <a:ln>
                  <a:noFill/>
                </a:ln>
                <a:solidFill>
                  <a:srgbClr val="000000"/>
                </a:solidFill>
                <a:effectLst/>
                <a:uLnTx/>
                <a:uFillTx/>
                <a:latin typeface="Montserrat"/>
                <a:ea typeface="+mn-ea"/>
                <a:cs typeface="+mn-cs"/>
              </a:rPr>
              <a:pPr marL="0" marR="0" lvl="0" indent="0" algn="ctr" defTabSz="914400" rtl="0" eaLnBrk="1" fontAlgn="base" latinLnBrk="0" hangingPunct="1">
                <a:lnSpc>
                  <a:spcPct val="95000"/>
                </a:lnSpc>
                <a:spcBef>
                  <a:spcPct val="0"/>
                </a:spcBef>
                <a:spcAft>
                  <a:spcPct val="0"/>
                </a:spcAft>
                <a:buClrTx/>
                <a:buSzTx/>
                <a:buFont typeface="Arial" panose="020B0604020202020204" pitchFamily="34" charset="0"/>
                <a:buNone/>
                <a:tabLst/>
                <a:defRPr/>
              </a:pPr>
              <a:t>Feb</a:t>
            </a:fld>
            <a:endParaRPr kumimoji="0" lang="en-US" altLang="en-US" sz="900" b="1" i="0" u="none" strike="noStrike" kern="1200" cap="none" spc="0" normalizeH="0" baseline="0" noProof="0">
              <a:ln>
                <a:noFill/>
              </a:ln>
              <a:solidFill>
                <a:srgbClr val="000000"/>
              </a:solidFill>
              <a:effectLst/>
              <a:uLnTx/>
              <a:uFillTx/>
              <a:latin typeface="Montserrat"/>
              <a:ea typeface="+mn-ea"/>
              <a:cs typeface="+mn-cs"/>
            </a:endParaRPr>
          </a:p>
        </p:txBody>
      </p:sp>
      <p:sp>
        <p:nvSpPr>
          <p:cNvPr id="1018" name="Text Placeholder 2">
            <a:extLst>
              <a:ext uri="{FF2B5EF4-FFF2-40B4-BE49-F238E27FC236}">
                <a16:creationId xmlns:a16="http://schemas.microsoft.com/office/drawing/2014/main" id="{E6CEDEF4-20B4-0A9A-9AC2-B9CB992C9F87}"/>
              </a:ext>
            </a:extLst>
          </p:cNvPr>
          <p:cNvSpPr>
            <a:spLocks noGrp="1" noChangeArrowheads="1"/>
          </p:cNvSpPr>
          <p:nvPr>
            <p:custDataLst>
              <p:tags r:id="rId65"/>
            </p:custDataLst>
          </p:nvPr>
        </p:nvSpPr>
        <p:spPr bwMode="auto">
          <a:xfrm>
            <a:off x="7505700" y="5643563"/>
            <a:ext cx="241300" cy="1301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base" latinLnBrk="0" hangingPunct="1">
              <a:lnSpc>
                <a:spcPct val="95000"/>
              </a:lnSpc>
              <a:spcBef>
                <a:spcPct val="0"/>
              </a:spcBef>
              <a:spcAft>
                <a:spcPct val="0"/>
              </a:spcAft>
              <a:buClrTx/>
              <a:buSzTx/>
              <a:buFont typeface="Arial" panose="020B0604020202020204" pitchFamily="34" charset="0"/>
              <a:buNone/>
              <a:tabLst/>
              <a:defRPr/>
            </a:pPr>
            <a:fld id="{7AA98BCB-EFFA-4161-B413-3C89B01DE7EB}" type="datetime'''''''''''''''''''M''''''''''''''''''''''''''''''''''''''ar'">
              <a:rPr kumimoji="0" lang="en-US" altLang="en-US" sz="900" b="1" i="0" u="none" strike="noStrike" kern="1200" cap="none" spc="0" normalizeH="0" baseline="0" noProof="0" smtClean="0">
                <a:ln>
                  <a:noFill/>
                </a:ln>
                <a:solidFill>
                  <a:srgbClr val="000000"/>
                </a:solidFill>
                <a:effectLst/>
                <a:uLnTx/>
                <a:uFillTx/>
                <a:latin typeface="Montserrat"/>
                <a:ea typeface="+mn-ea"/>
                <a:cs typeface="+mn-cs"/>
              </a:rPr>
              <a:pPr marL="0" marR="0" lvl="0" indent="0" algn="ctr" defTabSz="914400" rtl="0" eaLnBrk="1" fontAlgn="base" latinLnBrk="0" hangingPunct="1">
                <a:lnSpc>
                  <a:spcPct val="95000"/>
                </a:lnSpc>
                <a:spcBef>
                  <a:spcPct val="0"/>
                </a:spcBef>
                <a:spcAft>
                  <a:spcPct val="0"/>
                </a:spcAft>
                <a:buClrTx/>
                <a:buSzTx/>
                <a:buFont typeface="Arial" panose="020B0604020202020204" pitchFamily="34" charset="0"/>
                <a:buNone/>
                <a:tabLst/>
                <a:defRPr/>
              </a:pPr>
              <a:t>Mar</a:t>
            </a:fld>
            <a:endParaRPr kumimoji="0" lang="en-US" altLang="en-US" sz="900" b="1" i="0" u="none" strike="noStrike" kern="1200" cap="none" spc="0" normalizeH="0" baseline="0" noProof="0">
              <a:ln>
                <a:noFill/>
              </a:ln>
              <a:solidFill>
                <a:srgbClr val="000000"/>
              </a:solidFill>
              <a:effectLst/>
              <a:uLnTx/>
              <a:uFillTx/>
              <a:latin typeface="Montserrat"/>
              <a:ea typeface="+mn-ea"/>
              <a:cs typeface="+mn-cs"/>
            </a:endParaRPr>
          </a:p>
        </p:txBody>
      </p:sp>
      <p:sp>
        <p:nvSpPr>
          <p:cNvPr id="1012" name="Text Placeholder 2">
            <a:extLst>
              <a:ext uri="{FF2B5EF4-FFF2-40B4-BE49-F238E27FC236}">
                <a16:creationId xmlns:a16="http://schemas.microsoft.com/office/drawing/2014/main" id="{AEBA2041-7D67-4884-0B28-0CB7894E0BF5}"/>
              </a:ext>
            </a:extLst>
          </p:cNvPr>
          <p:cNvSpPr>
            <a:spLocks noGrp="1" noChangeArrowheads="1"/>
          </p:cNvSpPr>
          <p:nvPr>
            <p:custDataLst>
              <p:tags r:id="rId66"/>
            </p:custDataLst>
          </p:nvPr>
        </p:nvSpPr>
        <p:spPr bwMode="auto">
          <a:xfrm>
            <a:off x="8056563" y="5643563"/>
            <a:ext cx="404813" cy="1301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base" latinLnBrk="0" hangingPunct="1">
              <a:lnSpc>
                <a:spcPct val="95000"/>
              </a:lnSpc>
              <a:spcBef>
                <a:spcPct val="0"/>
              </a:spcBef>
              <a:spcAft>
                <a:spcPct val="0"/>
              </a:spcAft>
              <a:buClrTx/>
              <a:buSzTx/>
              <a:buFont typeface="Arial" panose="020B0604020202020204" pitchFamily="34" charset="0"/>
              <a:buNone/>
              <a:tabLst/>
              <a:defRPr/>
            </a:pPr>
            <a:fld id="{3C437E8D-C480-41A6-B551-F35786356BDB}" type="datetime'''A''p''''''''r’''''''''''''''''''24'''''''">
              <a:rPr kumimoji="0" lang="en-US" altLang="en-US" sz="900" b="1" i="0" u="none" strike="noStrike" kern="1200" cap="none" spc="0" normalizeH="0" baseline="0" noProof="0" smtClean="0">
                <a:ln>
                  <a:noFill/>
                </a:ln>
                <a:solidFill>
                  <a:srgbClr val="000000"/>
                </a:solidFill>
                <a:effectLst/>
                <a:uLnTx/>
                <a:uFillTx/>
                <a:latin typeface="Montserrat"/>
                <a:ea typeface="+mn-ea"/>
                <a:cs typeface="+mn-cs"/>
              </a:rPr>
              <a:pPr marL="0" marR="0" lvl="0" indent="0" algn="ctr" defTabSz="914400" rtl="0" eaLnBrk="1" fontAlgn="base" latinLnBrk="0" hangingPunct="1">
                <a:lnSpc>
                  <a:spcPct val="95000"/>
                </a:lnSpc>
                <a:spcBef>
                  <a:spcPct val="0"/>
                </a:spcBef>
                <a:spcAft>
                  <a:spcPct val="0"/>
                </a:spcAft>
                <a:buClrTx/>
                <a:buSzTx/>
                <a:buFont typeface="Arial" panose="020B0604020202020204" pitchFamily="34" charset="0"/>
                <a:buNone/>
                <a:tabLst/>
                <a:defRPr/>
              </a:pPr>
              <a:t>Apr’24</a:t>
            </a:fld>
            <a:endParaRPr kumimoji="0" lang="en-US" altLang="en-US" sz="900" b="1" i="0" u="none" strike="noStrike" kern="1200" cap="none" spc="0" normalizeH="0" baseline="0" noProof="0">
              <a:ln>
                <a:noFill/>
              </a:ln>
              <a:solidFill>
                <a:srgbClr val="000000"/>
              </a:solidFill>
              <a:effectLst/>
              <a:uLnTx/>
              <a:uFillTx/>
              <a:latin typeface="Montserrat"/>
              <a:ea typeface="+mn-ea"/>
              <a:cs typeface="+mn-cs"/>
            </a:endParaRPr>
          </a:p>
        </p:txBody>
      </p:sp>
      <p:sp>
        <p:nvSpPr>
          <p:cNvPr id="1020" name="Text Placeholder 2">
            <a:extLst>
              <a:ext uri="{FF2B5EF4-FFF2-40B4-BE49-F238E27FC236}">
                <a16:creationId xmlns:a16="http://schemas.microsoft.com/office/drawing/2014/main" id="{B45A8C6C-428B-08BB-A0FB-6F74D550AFD4}"/>
              </a:ext>
            </a:extLst>
          </p:cNvPr>
          <p:cNvSpPr>
            <a:spLocks noGrp="1" noChangeArrowheads="1"/>
          </p:cNvSpPr>
          <p:nvPr>
            <p:custDataLst>
              <p:tags r:id="rId67"/>
            </p:custDataLst>
          </p:nvPr>
        </p:nvSpPr>
        <p:spPr bwMode="auto">
          <a:xfrm>
            <a:off x="8672513" y="5643563"/>
            <a:ext cx="436563" cy="1301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defRPr/>
            </a:pPr>
            <a:fld id="{6CABFA36-4942-46AE-A851-D05C146C5964}" type="datetime'''''''M''a''y''’''''''''''''''''2''''''''''''''''''''4'''''">
              <a:rPr lang="en-US" altLang="en-US" sz="900" b="1" smtClean="0">
                <a:solidFill>
                  <a:srgbClr val="000000"/>
                </a:solidFill>
              </a:rPr>
              <a:pPr marL="0" lvl="0" indent="0" algn="ctr">
                <a:spcBef>
                  <a:spcPct val="0"/>
                </a:spcBef>
                <a:buNone/>
                <a:defRPr/>
              </a:pPr>
              <a:t>May’24</a:t>
            </a:fld>
            <a:endParaRPr kumimoji="0" lang="en-US" altLang="en-US" sz="900" b="1" i="0" strike="noStrike" kern="1200" cap="none" spc="0" normalizeH="0" baseline="0" noProof="0">
              <a:ln>
                <a:noFill/>
              </a:ln>
              <a:solidFill>
                <a:srgbClr val="000000"/>
              </a:solidFill>
              <a:effectLst/>
              <a:uLnTx/>
              <a:uFillTx/>
            </a:endParaRPr>
          </a:p>
        </p:txBody>
      </p:sp>
      <p:sp>
        <p:nvSpPr>
          <p:cNvPr id="1079" name="Text Placeholder 2">
            <a:extLst>
              <a:ext uri="{FF2B5EF4-FFF2-40B4-BE49-F238E27FC236}">
                <a16:creationId xmlns:a16="http://schemas.microsoft.com/office/drawing/2014/main" id="{7AF6B548-9487-FA43-18F1-272494E112A6}"/>
              </a:ext>
            </a:extLst>
          </p:cNvPr>
          <p:cNvSpPr>
            <a:spLocks noGrp="1" noChangeArrowheads="1"/>
          </p:cNvSpPr>
          <p:nvPr>
            <p:custDataLst>
              <p:tags r:id="rId68"/>
            </p:custDataLst>
          </p:nvPr>
        </p:nvSpPr>
        <p:spPr bwMode="auto">
          <a:xfrm>
            <a:off x="9307513" y="5643563"/>
            <a:ext cx="433388" cy="260350"/>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defRPr/>
            </a:pPr>
            <a:fld id="{0A116F68-64C3-472A-8446-1A41C56B83AC}" type="datetime'0''4''''''/2''8'''''' ''''''- 0''''5''''''''/''''''''''04'">
              <a:rPr lang="en-US" altLang="en-US" sz="900" b="1" smtClean="0">
                <a:solidFill>
                  <a:srgbClr val="000000"/>
                </a:solidFill>
              </a:rPr>
              <a:pPr/>
              <a:t>04/28 - 05/04</a:t>
            </a:fld>
            <a:endParaRPr kumimoji="0" lang="en-US" altLang="en-US" sz="900" b="1" i="0" strike="noStrike" kern="1200" cap="none" spc="0" normalizeH="0" baseline="0" noProof="0">
              <a:ln>
                <a:noFill/>
              </a:ln>
              <a:solidFill>
                <a:srgbClr val="000000"/>
              </a:solidFill>
              <a:effectLst/>
              <a:uLnTx/>
              <a:uFillTx/>
            </a:endParaRPr>
          </a:p>
        </p:txBody>
      </p:sp>
      <p:sp>
        <p:nvSpPr>
          <p:cNvPr id="547" name="Text Placeholder 2">
            <a:extLst>
              <a:ext uri="{FF2B5EF4-FFF2-40B4-BE49-F238E27FC236}">
                <a16:creationId xmlns:a16="http://schemas.microsoft.com/office/drawing/2014/main" id="{A5566146-46F7-A6E3-00B4-08B6ED83A033}"/>
              </a:ext>
            </a:extLst>
          </p:cNvPr>
          <p:cNvSpPr>
            <a:spLocks noGrp="1" noChangeArrowheads="1"/>
          </p:cNvSpPr>
          <p:nvPr>
            <p:custDataLst>
              <p:tags r:id="rId69"/>
            </p:custDataLst>
          </p:nvPr>
        </p:nvSpPr>
        <p:spPr bwMode="auto">
          <a:xfrm>
            <a:off x="9971088" y="5643563"/>
            <a:ext cx="368300" cy="260350"/>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defRPr/>
            </a:pPr>
            <a:fld id="{66DAD871-C30D-48F2-85B8-B11BA6862F2E}" type="datetime'''0''5/0''''''''5'''''' -'''''''''''' ''''0''''''''5/1''1'">
              <a:rPr lang="en-US" altLang="en-US" sz="900" b="1" smtClean="0">
                <a:solidFill>
                  <a:srgbClr val="000000"/>
                </a:solidFill>
              </a:rPr>
              <a:pPr/>
              <a:t>05/05 - 05/11</a:t>
            </a:fld>
            <a:endParaRPr kumimoji="0" lang="en-US" altLang="en-US" sz="900" b="1" i="0" strike="noStrike" kern="1200" cap="none" spc="0" normalizeH="0" baseline="0" noProof="0">
              <a:ln>
                <a:noFill/>
              </a:ln>
              <a:solidFill>
                <a:srgbClr val="000000"/>
              </a:solidFill>
              <a:effectLst/>
              <a:uLnTx/>
              <a:uFillTx/>
            </a:endParaRPr>
          </a:p>
        </p:txBody>
      </p:sp>
      <p:sp>
        <p:nvSpPr>
          <p:cNvPr id="548" name="Text Placeholder 2">
            <a:extLst>
              <a:ext uri="{FF2B5EF4-FFF2-40B4-BE49-F238E27FC236}">
                <a16:creationId xmlns:a16="http://schemas.microsoft.com/office/drawing/2014/main" id="{7EEA2303-C379-279C-B15F-309D721BD1E6}"/>
              </a:ext>
            </a:extLst>
          </p:cNvPr>
          <p:cNvSpPr>
            <a:spLocks noGrp="1" noChangeArrowheads="1"/>
          </p:cNvSpPr>
          <p:nvPr>
            <p:custDataLst>
              <p:tags r:id="rId70"/>
            </p:custDataLst>
          </p:nvPr>
        </p:nvSpPr>
        <p:spPr bwMode="auto">
          <a:xfrm>
            <a:off x="10591801" y="5643563"/>
            <a:ext cx="390525" cy="260350"/>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defRPr/>
            </a:pPr>
            <a:fld id="{A7D471B3-4F2B-49D0-8E1A-2C35F6D606D3}" type="datetime'0''''''5''''/''12 -'''' ''''0''''''''''5''''''''''''''/18'''''">
              <a:rPr lang="en-US" altLang="en-US" sz="900" b="1" smtClean="0">
                <a:solidFill>
                  <a:srgbClr val="000000"/>
                </a:solidFill>
              </a:rPr>
              <a:pPr/>
              <a:t>05/12 - 05/18</a:t>
            </a:fld>
            <a:endParaRPr kumimoji="0" lang="en-US" altLang="en-US" sz="900" b="1" i="0" strike="noStrike" kern="1200" cap="none" spc="0" normalizeH="0" baseline="0" noProof="0">
              <a:ln>
                <a:noFill/>
              </a:ln>
              <a:solidFill>
                <a:srgbClr val="000000"/>
              </a:solidFill>
              <a:effectLst/>
              <a:uLnTx/>
              <a:uFillTx/>
            </a:endParaRPr>
          </a:p>
        </p:txBody>
      </p:sp>
      <p:sp>
        <p:nvSpPr>
          <p:cNvPr id="549" name="Text Placeholder 2">
            <a:extLst>
              <a:ext uri="{FF2B5EF4-FFF2-40B4-BE49-F238E27FC236}">
                <a16:creationId xmlns:a16="http://schemas.microsoft.com/office/drawing/2014/main" id="{1E900813-0855-B41B-E6FF-12949207DD72}"/>
              </a:ext>
            </a:extLst>
          </p:cNvPr>
          <p:cNvSpPr>
            <a:spLocks noGrp="1" noChangeArrowheads="1"/>
          </p:cNvSpPr>
          <p:nvPr>
            <p:custDataLst>
              <p:tags r:id="rId71"/>
            </p:custDataLst>
          </p:nvPr>
        </p:nvSpPr>
        <p:spPr bwMode="auto">
          <a:xfrm>
            <a:off x="11220451" y="5643563"/>
            <a:ext cx="396875" cy="260350"/>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defRPr/>
            </a:pPr>
            <a:fld id="{84DBA601-0555-47F8-A2AA-08446DD42F56}" type="datetime'0''5/''''''19 ''''- ''''0''''''5''''/''2''''5'''''''''''">
              <a:rPr lang="en-US" altLang="en-US" sz="900" b="1" smtClean="0">
                <a:solidFill>
                  <a:srgbClr val="000000"/>
                </a:solidFill>
              </a:rPr>
              <a:pPr/>
              <a:t>05/19 - 05/25</a:t>
            </a:fld>
            <a:endParaRPr kumimoji="0" lang="en-US" altLang="en-US" sz="900" b="1" i="0" strike="noStrike" kern="1200" cap="none" spc="0" normalizeH="0" baseline="0" noProof="0">
              <a:ln>
                <a:noFill/>
              </a:ln>
              <a:solidFill>
                <a:srgbClr val="000000"/>
              </a:solidFill>
              <a:effectLst/>
              <a:uLnTx/>
              <a:uFillTx/>
            </a:endParaRPr>
          </a:p>
        </p:txBody>
      </p:sp>
      <p:sp>
        <p:nvSpPr>
          <p:cNvPr id="519" name="Rectangle 518">
            <a:extLst>
              <a:ext uri="{FF2B5EF4-FFF2-40B4-BE49-F238E27FC236}">
                <a16:creationId xmlns:a16="http://schemas.microsoft.com/office/drawing/2014/main" id="{793CF0B1-EAB5-2755-D25E-F9DEA4CE1004}"/>
              </a:ext>
            </a:extLst>
          </p:cNvPr>
          <p:cNvSpPr/>
          <p:nvPr>
            <p:custDataLst>
              <p:tags r:id="rId72"/>
            </p:custDataLst>
          </p:nvPr>
        </p:nvSpPr>
        <p:spPr bwMode="gray">
          <a:xfrm>
            <a:off x="6848475" y="2668588"/>
            <a:ext cx="292100" cy="1444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marL="0" marR="0" lvl="0" indent="0" algn="ctr" defTabSz="914400" rtl="0" eaLnBrk="1" fontAlgn="auto" latinLnBrk="0" hangingPunct="1">
              <a:lnSpc>
                <a:spcPct val="95000"/>
              </a:lnSpc>
              <a:spcBef>
                <a:spcPct val="0"/>
              </a:spcBef>
              <a:spcAft>
                <a:spcPct val="0"/>
              </a:spcAft>
              <a:buClrTx/>
              <a:buSzTx/>
              <a:buFontTx/>
              <a:buNone/>
              <a:tabLst/>
              <a:defRPr/>
            </a:pPr>
            <a:fld id="{0FB174A9-306B-47CB-9855-FB13E97DF9DE}" type="datetime'''''1,''''''''''''1''''''''''5''''''1'''''''''''''">
              <a:rPr kumimoji="0" lang="en-US" altLang="en-US" sz="1000" b="1" i="0" u="none" strike="noStrike" kern="1200" cap="none" spc="0" normalizeH="0" baseline="0" noProof="0" smtClean="0">
                <a:ln>
                  <a:noFill/>
                </a:ln>
                <a:solidFill>
                  <a:srgbClr val="000000"/>
                </a:solidFill>
                <a:effectLst/>
                <a:uLnTx/>
                <a:uFillTx/>
                <a:latin typeface="Montserrat"/>
                <a:ea typeface="+mn-ea"/>
                <a:cs typeface="+mn-cs"/>
              </a:rPr>
              <a:pPr marL="0" marR="0" lvl="0" indent="0" algn="ctr" defTabSz="914400" rtl="0" eaLnBrk="1" fontAlgn="auto" latinLnBrk="0" hangingPunct="1">
                <a:lnSpc>
                  <a:spcPct val="95000"/>
                </a:lnSpc>
                <a:spcBef>
                  <a:spcPct val="0"/>
                </a:spcBef>
                <a:spcAft>
                  <a:spcPct val="0"/>
                </a:spcAft>
                <a:buClrTx/>
                <a:buSzTx/>
                <a:buFontTx/>
                <a:buNone/>
                <a:tabLst/>
                <a:defRPr/>
              </a:pPr>
              <a:t>1,151</a:t>
            </a:fld>
            <a:endParaRPr kumimoji="0" lang="en-US" sz="1000" b="1" i="0" u="none" strike="noStrike" kern="1200" cap="none" spc="0" normalizeH="0" baseline="0" noProof="0">
              <a:ln>
                <a:noFill/>
              </a:ln>
              <a:solidFill>
                <a:srgbClr val="000000"/>
              </a:solidFill>
              <a:effectLst/>
              <a:uLnTx/>
              <a:uFillTx/>
              <a:latin typeface="Montserrat"/>
              <a:ea typeface="+mn-ea"/>
              <a:cs typeface="+mn-cs"/>
            </a:endParaRPr>
          </a:p>
        </p:txBody>
      </p:sp>
      <p:sp>
        <p:nvSpPr>
          <p:cNvPr id="520" name="Rectangle 519">
            <a:extLst>
              <a:ext uri="{FF2B5EF4-FFF2-40B4-BE49-F238E27FC236}">
                <a16:creationId xmlns:a16="http://schemas.microsoft.com/office/drawing/2014/main" id="{12714B31-1304-2F9D-F0AE-F1676B90F782}"/>
              </a:ext>
            </a:extLst>
          </p:cNvPr>
          <p:cNvSpPr/>
          <p:nvPr>
            <p:custDataLst>
              <p:tags r:id="rId73"/>
            </p:custDataLst>
          </p:nvPr>
        </p:nvSpPr>
        <p:spPr bwMode="gray">
          <a:xfrm>
            <a:off x="7477125" y="2747963"/>
            <a:ext cx="300038" cy="1444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marL="0" marR="0" lvl="0" indent="0" algn="ctr" defTabSz="914400" rtl="0" eaLnBrk="1" fontAlgn="auto" latinLnBrk="0" hangingPunct="1">
              <a:lnSpc>
                <a:spcPct val="95000"/>
              </a:lnSpc>
              <a:spcBef>
                <a:spcPct val="0"/>
              </a:spcBef>
              <a:spcAft>
                <a:spcPct val="0"/>
              </a:spcAft>
              <a:buClrTx/>
              <a:buSzTx/>
              <a:buFontTx/>
              <a:buNone/>
              <a:tabLst/>
              <a:defRPr/>
            </a:pPr>
            <a:fld id="{7C4274FF-2040-498B-93D5-D915DED85D1A}" type="datetime'''''''''''''''''1,''''''1''''''''''''''''''''18'''''''''">
              <a:rPr kumimoji="0" lang="en-US" altLang="en-US" sz="1000" b="1" i="0" u="none" strike="noStrike" kern="1200" cap="none" spc="0" normalizeH="0" baseline="0" noProof="0" smtClean="0">
                <a:ln>
                  <a:noFill/>
                </a:ln>
                <a:solidFill>
                  <a:srgbClr val="000000"/>
                </a:solidFill>
                <a:effectLst/>
                <a:uLnTx/>
                <a:uFillTx/>
                <a:latin typeface="Montserrat"/>
                <a:ea typeface="+mn-ea"/>
                <a:cs typeface="+mn-cs"/>
              </a:rPr>
              <a:pPr marL="0" marR="0" lvl="0" indent="0" algn="ctr" defTabSz="914400" rtl="0" eaLnBrk="1" fontAlgn="auto" latinLnBrk="0" hangingPunct="1">
                <a:lnSpc>
                  <a:spcPct val="95000"/>
                </a:lnSpc>
                <a:spcBef>
                  <a:spcPct val="0"/>
                </a:spcBef>
                <a:spcAft>
                  <a:spcPct val="0"/>
                </a:spcAft>
                <a:buClrTx/>
                <a:buSzTx/>
                <a:buFontTx/>
                <a:buNone/>
                <a:tabLst/>
                <a:defRPr/>
              </a:pPr>
              <a:t>1,118</a:t>
            </a:fld>
            <a:endParaRPr kumimoji="0" lang="en-US" sz="1000" b="1" i="0" u="none" strike="noStrike" kern="1200" cap="none" spc="0" normalizeH="0" baseline="0" noProof="0">
              <a:ln>
                <a:noFill/>
              </a:ln>
              <a:solidFill>
                <a:srgbClr val="000000"/>
              </a:solidFill>
              <a:effectLst/>
              <a:uLnTx/>
              <a:uFillTx/>
              <a:latin typeface="Montserrat"/>
              <a:ea typeface="+mn-ea"/>
              <a:cs typeface="+mn-cs"/>
            </a:endParaRPr>
          </a:p>
        </p:txBody>
      </p:sp>
      <p:sp>
        <p:nvSpPr>
          <p:cNvPr id="521" name="Rectangle 520">
            <a:extLst>
              <a:ext uri="{FF2B5EF4-FFF2-40B4-BE49-F238E27FC236}">
                <a16:creationId xmlns:a16="http://schemas.microsoft.com/office/drawing/2014/main" id="{919412BA-CF12-DCE3-8577-662D1D774845}"/>
              </a:ext>
            </a:extLst>
          </p:cNvPr>
          <p:cNvSpPr/>
          <p:nvPr>
            <p:custDataLst>
              <p:tags r:id="rId74"/>
            </p:custDataLst>
          </p:nvPr>
        </p:nvSpPr>
        <p:spPr bwMode="gray">
          <a:xfrm>
            <a:off x="8089900" y="2771775"/>
            <a:ext cx="336550" cy="1444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lvl="0" algn="ctr">
              <a:lnSpc>
                <a:spcPct val="95000"/>
              </a:lnSpc>
              <a:spcBef>
                <a:spcPct val="0"/>
              </a:spcBef>
              <a:spcAft>
                <a:spcPct val="0"/>
              </a:spcAft>
              <a:defRPr/>
            </a:pPr>
            <a:fld id="{2CA721C4-AED6-4077-81B8-F46A5DB57256}" type="datetime'''''1'''''''''''''''',''''1''''''''0''''''''''8'''">
              <a:rPr lang="en-US" altLang="en-US" sz="1000" b="1" smtClean="0">
                <a:solidFill>
                  <a:srgbClr val="000000"/>
                </a:solidFill>
              </a:rPr>
              <a:pPr/>
              <a:t>1,108</a:t>
            </a:fld>
            <a:endParaRPr kumimoji="0" lang="en-US" sz="1000" b="1" i="0" strike="noStrike" kern="1200" cap="none" spc="0" normalizeH="0" baseline="0" noProof="0">
              <a:ln>
                <a:noFill/>
              </a:ln>
              <a:solidFill>
                <a:srgbClr val="000000"/>
              </a:solidFill>
              <a:effectLst/>
              <a:uLnTx/>
              <a:uFillTx/>
            </a:endParaRPr>
          </a:p>
        </p:txBody>
      </p:sp>
      <p:sp>
        <p:nvSpPr>
          <p:cNvPr id="551" name="Rectangle 550">
            <a:extLst>
              <a:ext uri="{FF2B5EF4-FFF2-40B4-BE49-F238E27FC236}">
                <a16:creationId xmlns:a16="http://schemas.microsoft.com/office/drawing/2014/main" id="{5A94AEB4-28D6-1949-B247-C25C88A9C735}"/>
              </a:ext>
            </a:extLst>
          </p:cNvPr>
          <p:cNvSpPr/>
          <p:nvPr>
            <p:custDataLst>
              <p:tags r:id="rId75"/>
            </p:custDataLst>
          </p:nvPr>
        </p:nvSpPr>
        <p:spPr bwMode="gray">
          <a:xfrm>
            <a:off x="8704263" y="3013075"/>
            <a:ext cx="373063" cy="1444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5000"/>
              </a:lnSpc>
              <a:spcBef>
                <a:spcPct val="0"/>
              </a:spcBef>
              <a:spcAft>
                <a:spcPct val="0"/>
              </a:spcAft>
            </a:pPr>
            <a:fld id="{3B2FC720-8D3E-423A-8335-00CE9A0A1EFB}" type="datetime'1'''''''''''''''''''''',''''''''''0''''''0''8'''''''''''''''">
              <a:rPr lang="en-US" altLang="en-US" sz="1000" b="1" smtClean="0">
                <a:solidFill>
                  <a:srgbClr val="000000"/>
                </a:solidFill>
              </a:rPr>
              <a:pPr/>
              <a:t>1,008</a:t>
            </a:fld>
            <a:endParaRPr lang="en-US" sz="1000" b="1">
              <a:solidFill>
                <a:srgbClr val="000000"/>
              </a:solidFill>
            </a:endParaRPr>
          </a:p>
        </p:txBody>
      </p:sp>
      <p:sp>
        <p:nvSpPr>
          <p:cNvPr id="1025" name="Rectangle 1024">
            <a:extLst>
              <a:ext uri="{FF2B5EF4-FFF2-40B4-BE49-F238E27FC236}">
                <a16:creationId xmlns:a16="http://schemas.microsoft.com/office/drawing/2014/main" id="{96D11389-B724-252D-7FF1-E69922181FC8}"/>
              </a:ext>
            </a:extLst>
          </p:cNvPr>
          <p:cNvSpPr/>
          <p:nvPr>
            <p:custDataLst>
              <p:tags r:id="rId76"/>
            </p:custDataLst>
          </p:nvPr>
        </p:nvSpPr>
        <p:spPr bwMode="gray">
          <a:xfrm>
            <a:off x="9339262" y="2887663"/>
            <a:ext cx="369888" cy="1444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5000"/>
              </a:lnSpc>
              <a:spcBef>
                <a:spcPct val="0"/>
              </a:spcBef>
              <a:spcAft>
                <a:spcPct val="0"/>
              </a:spcAft>
            </a:pPr>
            <a:fld id="{AA5E0F01-9075-42D7-8817-A62A7E39EA04}" type="datetime'''1'''''''''''''''''',''0''''''''6''''''''0'">
              <a:rPr lang="en-US" altLang="en-US" sz="1000" b="1" smtClean="0">
                <a:solidFill>
                  <a:srgbClr val="000000"/>
                </a:solidFill>
              </a:rPr>
              <a:pPr/>
              <a:t>1,060</a:t>
            </a:fld>
            <a:endParaRPr lang="en-US" sz="1000" b="1">
              <a:solidFill>
                <a:srgbClr val="000000"/>
              </a:solidFill>
            </a:endParaRPr>
          </a:p>
        </p:txBody>
      </p:sp>
      <p:sp>
        <p:nvSpPr>
          <p:cNvPr id="1028" name="Rectangle 1027">
            <a:extLst>
              <a:ext uri="{FF2B5EF4-FFF2-40B4-BE49-F238E27FC236}">
                <a16:creationId xmlns:a16="http://schemas.microsoft.com/office/drawing/2014/main" id="{84A0AD10-A21B-CFA6-B098-4FB684398A00}"/>
              </a:ext>
            </a:extLst>
          </p:cNvPr>
          <p:cNvSpPr/>
          <p:nvPr>
            <p:custDataLst>
              <p:tags r:id="rId77"/>
            </p:custDataLst>
          </p:nvPr>
        </p:nvSpPr>
        <p:spPr bwMode="gray">
          <a:xfrm>
            <a:off x="10012363" y="3070225"/>
            <a:ext cx="287338" cy="1444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5000"/>
              </a:lnSpc>
              <a:spcBef>
                <a:spcPct val="0"/>
              </a:spcBef>
              <a:spcAft>
                <a:spcPct val="0"/>
              </a:spcAft>
            </a:pPr>
            <a:fld id="{077BCF29-8A5C-47F2-80DA-E661AE057A2F}" type="datetime'''9''''''''''''''''8''''''''''''''4'''''''''''''">
              <a:rPr lang="en-US" altLang="en-US" sz="1000" b="1" smtClean="0">
                <a:solidFill>
                  <a:srgbClr val="000000"/>
                </a:solidFill>
              </a:rPr>
              <a:pPr/>
              <a:t>984</a:t>
            </a:fld>
            <a:endParaRPr lang="en-US" sz="1000" b="1">
              <a:solidFill>
                <a:srgbClr val="000000"/>
              </a:solidFill>
            </a:endParaRPr>
          </a:p>
        </p:txBody>
      </p:sp>
      <p:sp>
        <p:nvSpPr>
          <p:cNvPr id="1031" name="Rectangle 1030">
            <a:extLst>
              <a:ext uri="{FF2B5EF4-FFF2-40B4-BE49-F238E27FC236}">
                <a16:creationId xmlns:a16="http://schemas.microsoft.com/office/drawing/2014/main" id="{FCE6F227-BE79-5B8A-0872-8C23ABC5047F}"/>
              </a:ext>
            </a:extLst>
          </p:cNvPr>
          <p:cNvSpPr/>
          <p:nvPr>
            <p:custDataLst>
              <p:tags r:id="rId78"/>
            </p:custDataLst>
          </p:nvPr>
        </p:nvSpPr>
        <p:spPr bwMode="gray">
          <a:xfrm>
            <a:off x="10645775" y="3094038"/>
            <a:ext cx="282575" cy="1444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5000"/>
              </a:lnSpc>
              <a:spcBef>
                <a:spcPct val="0"/>
              </a:spcBef>
              <a:spcAft>
                <a:spcPct val="0"/>
              </a:spcAft>
            </a:pPr>
            <a:fld id="{B43CCFF4-87C1-4A1D-A8FA-15342A386A4E}" type="datetime'''''''''''9''''''''''''''''''7''''''''4'''''''''''''''">
              <a:rPr lang="en-US" altLang="en-US" sz="1000" b="1" smtClean="0">
                <a:solidFill>
                  <a:srgbClr val="000000"/>
                </a:solidFill>
              </a:rPr>
              <a:pPr/>
              <a:t>974</a:t>
            </a:fld>
            <a:endParaRPr lang="en-US" sz="1000" b="1">
              <a:solidFill>
                <a:srgbClr val="000000"/>
              </a:solidFill>
            </a:endParaRPr>
          </a:p>
        </p:txBody>
      </p:sp>
      <p:sp>
        <p:nvSpPr>
          <p:cNvPr id="56" name="Rectangle 55">
            <a:extLst>
              <a:ext uri="{FF2B5EF4-FFF2-40B4-BE49-F238E27FC236}">
                <a16:creationId xmlns:a16="http://schemas.microsoft.com/office/drawing/2014/main" id="{9998ECBB-61D2-7D50-C29C-11CD8AB34D98}"/>
              </a:ext>
            </a:extLst>
          </p:cNvPr>
          <p:cNvSpPr/>
          <p:nvPr>
            <p:custDataLst>
              <p:tags r:id="rId79"/>
            </p:custDataLst>
          </p:nvPr>
        </p:nvSpPr>
        <p:spPr bwMode="gray">
          <a:xfrm>
            <a:off x="11285538" y="3459163"/>
            <a:ext cx="268288" cy="1444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5000"/>
              </a:lnSpc>
              <a:spcBef>
                <a:spcPct val="0"/>
              </a:spcBef>
              <a:spcAft>
                <a:spcPct val="0"/>
              </a:spcAft>
            </a:pPr>
            <a:fld id="{0BD7A5A1-7EE8-434A-888C-8694B1C80CF8}" type="datetime'''''8''2''''''''''''''''''''''''''2'''">
              <a:rPr lang="en-US" altLang="en-US" sz="1000" b="1" smtClean="0">
                <a:solidFill>
                  <a:srgbClr val="000000"/>
                </a:solidFill>
              </a:rPr>
              <a:pPr/>
              <a:t>822</a:t>
            </a:fld>
            <a:endParaRPr lang="en-US" sz="1000" b="1">
              <a:solidFill>
                <a:srgbClr val="000000"/>
              </a:solidFill>
            </a:endParaRPr>
          </a:p>
        </p:txBody>
      </p:sp>
      <p:sp>
        <p:nvSpPr>
          <p:cNvPr id="39" name="Rectangle 38">
            <a:extLst>
              <a:ext uri="{FF2B5EF4-FFF2-40B4-BE49-F238E27FC236}">
                <a16:creationId xmlns:a16="http://schemas.microsoft.com/office/drawing/2014/main" id="{A820BB7A-D8DA-969A-B664-B547310894FA}"/>
              </a:ext>
            </a:extLst>
          </p:cNvPr>
          <p:cNvSpPr/>
          <p:nvPr>
            <p:custDataLst>
              <p:tags r:id="rId80"/>
            </p:custDataLst>
          </p:nvPr>
        </p:nvSpPr>
        <p:spPr bwMode="auto">
          <a:xfrm>
            <a:off x="9240838" y="1568450"/>
            <a:ext cx="160338" cy="120650"/>
          </a:xfrm>
          <a:prstGeom prst="rect">
            <a:avLst/>
          </a:prstGeom>
          <a:solidFill>
            <a:schemeClr val="accent1"/>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ontserrat"/>
              <a:ea typeface="+mn-ea"/>
              <a:cs typeface="+mn-cs"/>
            </a:endParaRPr>
          </a:p>
        </p:txBody>
      </p:sp>
      <p:sp>
        <p:nvSpPr>
          <p:cNvPr id="40" name="Rectangle 39">
            <a:extLst>
              <a:ext uri="{FF2B5EF4-FFF2-40B4-BE49-F238E27FC236}">
                <a16:creationId xmlns:a16="http://schemas.microsoft.com/office/drawing/2014/main" id="{D23FF6F9-1068-CAF0-A5DF-EC21639731E2}"/>
              </a:ext>
            </a:extLst>
          </p:cNvPr>
          <p:cNvSpPr/>
          <p:nvPr>
            <p:custDataLst>
              <p:tags r:id="rId81"/>
            </p:custDataLst>
          </p:nvPr>
        </p:nvSpPr>
        <p:spPr bwMode="auto">
          <a:xfrm>
            <a:off x="9240838" y="1755775"/>
            <a:ext cx="160338" cy="120650"/>
          </a:xfrm>
          <a:prstGeom prst="rect">
            <a:avLst/>
          </a:prstGeom>
          <a:solidFill>
            <a:srgbClr val="009B7A"/>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ontserrat"/>
              <a:ea typeface="+mn-ea"/>
              <a:cs typeface="+mn-cs"/>
            </a:endParaRPr>
          </a:p>
        </p:txBody>
      </p:sp>
      <p:sp>
        <p:nvSpPr>
          <p:cNvPr id="41" name="Rectangle 40">
            <a:extLst>
              <a:ext uri="{FF2B5EF4-FFF2-40B4-BE49-F238E27FC236}">
                <a16:creationId xmlns:a16="http://schemas.microsoft.com/office/drawing/2014/main" id="{79DF3007-FFD3-F59D-162C-C93E369C3708}"/>
              </a:ext>
            </a:extLst>
          </p:cNvPr>
          <p:cNvSpPr/>
          <p:nvPr>
            <p:custDataLst>
              <p:tags r:id="rId82"/>
            </p:custDataLst>
          </p:nvPr>
        </p:nvSpPr>
        <p:spPr bwMode="auto">
          <a:xfrm>
            <a:off x="9240838" y="1943100"/>
            <a:ext cx="160338" cy="120650"/>
          </a:xfrm>
          <a:prstGeom prst="rect">
            <a:avLst/>
          </a:prstGeom>
          <a:solidFill>
            <a:schemeClr val="accent3"/>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ontserrat"/>
              <a:ea typeface="+mn-ea"/>
              <a:cs typeface="+mn-cs"/>
            </a:endParaRPr>
          </a:p>
        </p:txBody>
      </p:sp>
      <p:sp>
        <p:nvSpPr>
          <p:cNvPr id="42" name="Rectangle 41">
            <a:extLst>
              <a:ext uri="{FF2B5EF4-FFF2-40B4-BE49-F238E27FC236}">
                <a16:creationId xmlns:a16="http://schemas.microsoft.com/office/drawing/2014/main" id="{4F09E17D-E701-487F-936E-23481A4A077B}"/>
              </a:ext>
            </a:extLst>
          </p:cNvPr>
          <p:cNvSpPr/>
          <p:nvPr>
            <p:custDataLst>
              <p:tags r:id="rId83"/>
            </p:custDataLst>
          </p:nvPr>
        </p:nvSpPr>
        <p:spPr bwMode="auto">
          <a:xfrm>
            <a:off x="10831513" y="1568450"/>
            <a:ext cx="160338" cy="120650"/>
          </a:xfrm>
          <a:prstGeom prst="rect">
            <a:avLst/>
          </a:prstGeom>
          <a:solidFill>
            <a:schemeClr val="accent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ontserrat"/>
              <a:ea typeface="+mn-ea"/>
              <a:cs typeface="+mn-cs"/>
            </a:endParaRPr>
          </a:p>
        </p:txBody>
      </p:sp>
      <p:sp>
        <p:nvSpPr>
          <p:cNvPr id="43" name="Rectangle 42">
            <a:extLst>
              <a:ext uri="{FF2B5EF4-FFF2-40B4-BE49-F238E27FC236}">
                <a16:creationId xmlns:a16="http://schemas.microsoft.com/office/drawing/2014/main" id="{718389B8-EEB7-8CDA-94D2-231C77DC58AC}"/>
              </a:ext>
            </a:extLst>
          </p:cNvPr>
          <p:cNvSpPr/>
          <p:nvPr>
            <p:custDataLst>
              <p:tags r:id="rId84"/>
            </p:custDataLst>
          </p:nvPr>
        </p:nvSpPr>
        <p:spPr bwMode="auto">
          <a:xfrm>
            <a:off x="10831513" y="1755775"/>
            <a:ext cx="160338" cy="120650"/>
          </a:xfrm>
          <a:prstGeom prst="rect">
            <a:avLst/>
          </a:prstGeom>
          <a:solidFill>
            <a:srgbClr val="9DB1CF"/>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ontserrat"/>
              <a:ea typeface="+mn-ea"/>
              <a:cs typeface="+mn-cs"/>
            </a:endParaRPr>
          </a:p>
        </p:txBody>
      </p:sp>
      <p:sp>
        <p:nvSpPr>
          <p:cNvPr id="44" name="Rectangle 43">
            <a:extLst>
              <a:ext uri="{FF2B5EF4-FFF2-40B4-BE49-F238E27FC236}">
                <a16:creationId xmlns:a16="http://schemas.microsoft.com/office/drawing/2014/main" id="{E69A6AC0-E585-4B42-F8C3-87E6F576305E}"/>
              </a:ext>
            </a:extLst>
          </p:cNvPr>
          <p:cNvSpPr/>
          <p:nvPr>
            <p:custDataLst>
              <p:tags r:id="rId85"/>
            </p:custDataLst>
          </p:nvPr>
        </p:nvSpPr>
        <p:spPr bwMode="auto">
          <a:xfrm>
            <a:off x="9451975" y="1565275"/>
            <a:ext cx="99536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marL="0" marR="0" lvl="0" indent="0" algn="l" defTabSz="914400" rtl="0" eaLnBrk="1" fontAlgn="auto" latinLnBrk="0" hangingPunct="1">
              <a:lnSpc>
                <a:spcPct val="100000"/>
              </a:lnSpc>
              <a:spcBef>
                <a:spcPct val="0"/>
              </a:spcBef>
              <a:spcAft>
                <a:spcPct val="0"/>
              </a:spcAft>
              <a:buClrTx/>
              <a:buSzTx/>
              <a:buFontTx/>
              <a:buNone/>
              <a:tabLst/>
              <a:defRPr/>
            </a:pPr>
            <a:fld id="{9BDD8173-1A72-4CBF-8420-32394A0CB5E3}" type="datetime'''''O''n''''''''''''''l''''''''ine Sa''le''''s Cal''ls'">
              <a:rPr kumimoji="0" lang="en-US" altLang="en-US" sz="900" b="0" i="0" u="none" strike="noStrike" kern="1200" cap="none" spc="0" normalizeH="0" baseline="0" noProof="0" smtClean="0">
                <a:ln>
                  <a:noFill/>
                </a:ln>
                <a:solidFill>
                  <a:srgbClr val="000000"/>
                </a:solidFill>
                <a:effectLst/>
                <a:uLnTx/>
                <a:uFillTx/>
                <a:latin typeface="Montserrat"/>
                <a:ea typeface="+mn-ea"/>
                <a:cs typeface="+mn-cs"/>
              </a:rPr>
              <a:pPr marL="0" marR="0" lvl="0" indent="0" algn="l" defTabSz="914400" rtl="0" eaLnBrk="1" fontAlgn="auto" latinLnBrk="0" hangingPunct="1">
                <a:lnSpc>
                  <a:spcPct val="100000"/>
                </a:lnSpc>
                <a:spcBef>
                  <a:spcPct val="0"/>
                </a:spcBef>
                <a:spcAft>
                  <a:spcPct val="0"/>
                </a:spcAft>
                <a:buClrTx/>
                <a:buSzTx/>
                <a:buFontTx/>
                <a:buNone/>
                <a:tabLst/>
                <a:defRPr/>
              </a:pPr>
              <a:t>Online Sales Calls</a:t>
            </a:fld>
            <a:endParaRPr kumimoji="0" lang="en-US" sz="900" b="0" i="0" u="none" strike="noStrike" kern="1200" cap="none" spc="0" normalizeH="0" baseline="0" noProof="0">
              <a:ln>
                <a:noFill/>
              </a:ln>
              <a:solidFill>
                <a:srgbClr val="000000"/>
              </a:solidFill>
              <a:effectLst/>
              <a:uLnTx/>
              <a:uFillTx/>
              <a:latin typeface="Montserrat"/>
              <a:ea typeface="+mn-ea"/>
              <a:cs typeface="+mn-cs"/>
            </a:endParaRPr>
          </a:p>
        </p:txBody>
      </p:sp>
      <p:sp>
        <p:nvSpPr>
          <p:cNvPr id="45" name="Rectangle 44">
            <a:extLst>
              <a:ext uri="{FF2B5EF4-FFF2-40B4-BE49-F238E27FC236}">
                <a16:creationId xmlns:a16="http://schemas.microsoft.com/office/drawing/2014/main" id="{09D72CBA-D689-4F39-8294-7371BE63BC72}"/>
              </a:ext>
            </a:extLst>
          </p:cNvPr>
          <p:cNvSpPr/>
          <p:nvPr>
            <p:custDataLst>
              <p:tags r:id="rId86"/>
            </p:custDataLst>
          </p:nvPr>
        </p:nvSpPr>
        <p:spPr bwMode="auto">
          <a:xfrm>
            <a:off x="9451975" y="1752600"/>
            <a:ext cx="1277938"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marL="0" marR="0" lvl="0" indent="0" algn="l" defTabSz="914400" rtl="0" eaLnBrk="1" fontAlgn="auto" latinLnBrk="0" hangingPunct="1">
              <a:lnSpc>
                <a:spcPct val="100000"/>
              </a:lnSpc>
              <a:spcBef>
                <a:spcPct val="0"/>
              </a:spcBef>
              <a:spcAft>
                <a:spcPct val="0"/>
              </a:spcAft>
              <a:buClrTx/>
              <a:buSzTx/>
              <a:buFontTx/>
              <a:buNone/>
              <a:tabLst/>
              <a:defRPr/>
            </a:pPr>
            <a:fld id="{7967FFE8-C1CD-4B7A-B215-E00CFD2638BC}" type="datetime'P''ri''c''ing ''''and'' ''''O''''''th''e''''r I''''''n''f''o'">
              <a:rPr kumimoji="0" lang="en-US" altLang="en-US" sz="900" b="0" i="0" u="none" strike="noStrike" kern="1200" cap="none" spc="0" normalizeH="0" baseline="0" noProof="0" smtClean="0">
                <a:ln>
                  <a:noFill/>
                </a:ln>
                <a:solidFill>
                  <a:srgbClr val="000000"/>
                </a:solidFill>
                <a:effectLst/>
                <a:uLnTx/>
                <a:uFillTx/>
                <a:latin typeface="Montserrat"/>
                <a:ea typeface="+mn-ea"/>
                <a:cs typeface="+mn-cs"/>
              </a:rPr>
              <a:pPr marL="0" marR="0" lvl="0" indent="0" algn="l" defTabSz="914400" rtl="0" eaLnBrk="1" fontAlgn="auto" latinLnBrk="0" hangingPunct="1">
                <a:lnSpc>
                  <a:spcPct val="100000"/>
                </a:lnSpc>
                <a:spcBef>
                  <a:spcPct val="0"/>
                </a:spcBef>
                <a:spcAft>
                  <a:spcPct val="0"/>
                </a:spcAft>
                <a:buClrTx/>
                <a:buSzTx/>
                <a:buFontTx/>
                <a:buNone/>
                <a:tabLst/>
                <a:defRPr/>
              </a:pPr>
              <a:t>Pricing and Other Info</a:t>
            </a:fld>
            <a:endParaRPr kumimoji="0" lang="en-US" sz="900" b="0" i="0" u="none" strike="noStrike" kern="1200" cap="none" spc="0" normalizeH="0" baseline="0" noProof="0">
              <a:ln>
                <a:noFill/>
              </a:ln>
              <a:solidFill>
                <a:srgbClr val="000000"/>
              </a:solidFill>
              <a:effectLst/>
              <a:uLnTx/>
              <a:uFillTx/>
              <a:latin typeface="Montserrat"/>
              <a:ea typeface="+mn-ea"/>
              <a:cs typeface="+mn-cs"/>
            </a:endParaRPr>
          </a:p>
        </p:txBody>
      </p:sp>
      <p:sp>
        <p:nvSpPr>
          <p:cNvPr id="46" name="Rectangle 45">
            <a:extLst>
              <a:ext uri="{FF2B5EF4-FFF2-40B4-BE49-F238E27FC236}">
                <a16:creationId xmlns:a16="http://schemas.microsoft.com/office/drawing/2014/main" id="{6BDC6B81-CF68-4F9E-7BFE-E4E639D5F1F1}"/>
              </a:ext>
            </a:extLst>
          </p:cNvPr>
          <p:cNvSpPr/>
          <p:nvPr>
            <p:custDataLst>
              <p:tags r:id="rId87"/>
            </p:custDataLst>
          </p:nvPr>
        </p:nvSpPr>
        <p:spPr bwMode="auto">
          <a:xfrm>
            <a:off x="9451975" y="1939925"/>
            <a:ext cx="51911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marL="0" marR="0" lvl="0" indent="0" algn="l" defTabSz="914400" rtl="0" eaLnBrk="1" fontAlgn="auto" latinLnBrk="0" hangingPunct="1">
              <a:lnSpc>
                <a:spcPct val="100000"/>
              </a:lnSpc>
              <a:spcBef>
                <a:spcPct val="0"/>
              </a:spcBef>
              <a:spcAft>
                <a:spcPct val="0"/>
              </a:spcAft>
              <a:buClrTx/>
              <a:buSzTx/>
              <a:buFontTx/>
              <a:buNone/>
              <a:tabLst/>
              <a:defRPr/>
            </a:pPr>
            <a:fld id="{3E2F5E38-6B3F-4B77-92EF-6ED550847B86}" type="datetime'''''Boun''''c''''''''''''''e''''''''''''''''X'''''''''''''''''">
              <a:rPr kumimoji="0" lang="en-US" altLang="en-US" sz="900" b="0" i="0" u="none" strike="noStrike" kern="1200" cap="none" spc="0" normalizeH="0" baseline="0" noProof="0" smtClean="0">
                <a:ln>
                  <a:noFill/>
                </a:ln>
                <a:solidFill>
                  <a:srgbClr val="000000"/>
                </a:solidFill>
                <a:effectLst/>
                <a:uLnTx/>
                <a:uFillTx/>
                <a:latin typeface="Montserrat"/>
                <a:ea typeface="+mn-ea"/>
                <a:cs typeface="+mn-cs"/>
              </a:rPr>
              <a:pPr marL="0" marR="0" lvl="0" indent="0" algn="l" defTabSz="914400" rtl="0" eaLnBrk="1" fontAlgn="auto" latinLnBrk="0" hangingPunct="1">
                <a:lnSpc>
                  <a:spcPct val="100000"/>
                </a:lnSpc>
                <a:spcBef>
                  <a:spcPct val="0"/>
                </a:spcBef>
                <a:spcAft>
                  <a:spcPct val="0"/>
                </a:spcAft>
                <a:buClrTx/>
                <a:buSzTx/>
                <a:buFontTx/>
                <a:buNone/>
                <a:tabLst/>
                <a:defRPr/>
              </a:pPr>
              <a:t>BounceX</a:t>
            </a:fld>
            <a:endParaRPr kumimoji="0" lang="en-US" sz="900" b="0" i="0" u="none" strike="noStrike" kern="1200" cap="none" spc="0" normalizeH="0" baseline="0" noProof="0">
              <a:ln>
                <a:noFill/>
              </a:ln>
              <a:solidFill>
                <a:srgbClr val="000000"/>
              </a:solidFill>
              <a:effectLst/>
              <a:uLnTx/>
              <a:uFillTx/>
              <a:latin typeface="Montserrat"/>
              <a:ea typeface="+mn-ea"/>
              <a:cs typeface="+mn-cs"/>
            </a:endParaRPr>
          </a:p>
        </p:txBody>
      </p:sp>
      <p:sp>
        <p:nvSpPr>
          <p:cNvPr id="47" name="Rectangle 46">
            <a:extLst>
              <a:ext uri="{FF2B5EF4-FFF2-40B4-BE49-F238E27FC236}">
                <a16:creationId xmlns:a16="http://schemas.microsoft.com/office/drawing/2014/main" id="{A970B42C-5413-D2A2-CEEE-EDC50847432C}"/>
              </a:ext>
            </a:extLst>
          </p:cNvPr>
          <p:cNvSpPr/>
          <p:nvPr>
            <p:custDataLst>
              <p:tags r:id="rId88"/>
            </p:custDataLst>
          </p:nvPr>
        </p:nvSpPr>
        <p:spPr bwMode="auto">
          <a:xfrm>
            <a:off x="11042650" y="1565275"/>
            <a:ext cx="32861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marL="0" marR="0" lvl="0" indent="0" algn="l" defTabSz="914400" rtl="0" eaLnBrk="1" fontAlgn="auto" latinLnBrk="0" hangingPunct="1">
              <a:lnSpc>
                <a:spcPct val="100000"/>
              </a:lnSpc>
              <a:spcBef>
                <a:spcPct val="0"/>
              </a:spcBef>
              <a:spcAft>
                <a:spcPct val="0"/>
              </a:spcAft>
              <a:buClrTx/>
              <a:buSzTx/>
              <a:buFontTx/>
              <a:buNone/>
              <a:tabLst/>
              <a:defRPr/>
            </a:pPr>
            <a:fld id="{DD904838-588F-4F1B-8BDF-F47D060DCED6}" type="datetime'C''''''h''''''a''''''''''t''s'''''''''''''">
              <a:rPr kumimoji="0" lang="en-US" altLang="en-US" sz="900" b="0" i="0" u="none" strike="noStrike" kern="1200" cap="none" spc="0" normalizeH="0" baseline="0" noProof="0" smtClean="0">
                <a:ln>
                  <a:noFill/>
                </a:ln>
                <a:solidFill>
                  <a:srgbClr val="000000"/>
                </a:solidFill>
                <a:effectLst/>
                <a:uLnTx/>
                <a:uFillTx/>
                <a:latin typeface="Montserrat"/>
                <a:ea typeface="+mn-ea"/>
                <a:cs typeface="+mn-cs"/>
              </a:rPr>
              <a:pPr marL="0" marR="0" lvl="0" indent="0" algn="l" defTabSz="914400" rtl="0" eaLnBrk="1" fontAlgn="auto" latinLnBrk="0" hangingPunct="1">
                <a:lnSpc>
                  <a:spcPct val="100000"/>
                </a:lnSpc>
                <a:spcBef>
                  <a:spcPct val="0"/>
                </a:spcBef>
                <a:spcAft>
                  <a:spcPct val="0"/>
                </a:spcAft>
                <a:buClrTx/>
                <a:buSzTx/>
                <a:buFontTx/>
                <a:buNone/>
                <a:tabLst/>
                <a:defRPr/>
              </a:pPr>
              <a:t>Chats</a:t>
            </a:fld>
            <a:endParaRPr kumimoji="0" lang="en-US" sz="900" b="0" i="0" u="none" strike="noStrike" kern="1200" cap="none" spc="0" normalizeH="0" baseline="0" noProof="0">
              <a:ln>
                <a:noFill/>
              </a:ln>
              <a:solidFill>
                <a:srgbClr val="000000"/>
              </a:solidFill>
              <a:effectLst/>
              <a:uLnTx/>
              <a:uFillTx/>
              <a:latin typeface="Montserrat"/>
              <a:ea typeface="+mn-ea"/>
              <a:cs typeface="+mn-cs"/>
            </a:endParaRPr>
          </a:p>
        </p:txBody>
      </p:sp>
      <p:sp>
        <p:nvSpPr>
          <p:cNvPr id="48" name="Rectangle 47">
            <a:extLst>
              <a:ext uri="{FF2B5EF4-FFF2-40B4-BE49-F238E27FC236}">
                <a16:creationId xmlns:a16="http://schemas.microsoft.com/office/drawing/2014/main" id="{E063A04E-E68F-DC90-FF7A-A5096AE08481}"/>
              </a:ext>
            </a:extLst>
          </p:cNvPr>
          <p:cNvSpPr/>
          <p:nvPr>
            <p:custDataLst>
              <p:tags r:id="rId89"/>
            </p:custDataLst>
          </p:nvPr>
        </p:nvSpPr>
        <p:spPr bwMode="auto">
          <a:xfrm>
            <a:off x="11042650" y="1752600"/>
            <a:ext cx="82391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marL="0" marR="0" lvl="0" indent="0" algn="l" defTabSz="914400" rtl="0" eaLnBrk="1" fontAlgn="auto" latinLnBrk="0" hangingPunct="1">
              <a:lnSpc>
                <a:spcPct val="100000"/>
              </a:lnSpc>
              <a:spcBef>
                <a:spcPct val="0"/>
              </a:spcBef>
              <a:spcAft>
                <a:spcPct val="0"/>
              </a:spcAft>
              <a:buClrTx/>
              <a:buSzTx/>
              <a:buFontTx/>
              <a:buNone/>
              <a:tabLst/>
              <a:defRPr/>
            </a:pPr>
            <a:fld id="{BA3D2A0F-5CE6-4680-9087-CF3208301BA7}" type="datetime'''B''''''''''''u''y''f''''''''lo''''w ''''''''S''t''art''s'''">
              <a:rPr kumimoji="0" lang="en-US" altLang="en-US" sz="900" b="0" i="0" u="none" strike="noStrike" kern="1200" cap="none" spc="0" normalizeH="0" baseline="0" noProof="0" smtClean="0">
                <a:ln>
                  <a:noFill/>
                </a:ln>
                <a:solidFill>
                  <a:srgbClr val="000000"/>
                </a:solidFill>
                <a:effectLst/>
                <a:uLnTx/>
                <a:uFillTx/>
                <a:latin typeface="Montserrat"/>
                <a:ea typeface="+mn-ea"/>
                <a:cs typeface="+mn-cs"/>
              </a:rPr>
              <a:pPr marL="0" marR="0" lvl="0" indent="0" algn="l" defTabSz="914400" rtl="0" eaLnBrk="1" fontAlgn="auto" latinLnBrk="0" hangingPunct="1">
                <a:lnSpc>
                  <a:spcPct val="100000"/>
                </a:lnSpc>
                <a:spcBef>
                  <a:spcPct val="0"/>
                </a:spcBef>
                <a:spcAft>
                  <a:spcPct val="0"/>
                </a:spcAft>
                <a:buClrTx/>
                <a:buSzTx/>
                <a:buFontTx/>
                <a:buNone/>
                <a:tabLst/>
                <a:defRPr/>
              </a:pPr>
              <a:t>Buyflow Starts</a:t>
            </a:fld>
            <a:endParaRPr kumimoji="0" lang="en-US" sz="900" b="0" i="0" u="none" strike="noStrike" kern="1200" cap="none" spc="0" normalizeH="0" baseline="0" noProof="0">
              <a:ln>
                <a:noFill/>
              </a:ln>
              <a:solidFill>
                <a:srgbClr val="000000"/>
              </a:solidFill>
              <a:effectLst/>
              <a:uLnTx/>
              <a:uFillTx/>
              <a:latin typeface="Montserrat"/>
              <a:ea typeface="+mn-ea"/>
              <a:cs typeface="+mn-cs"/>
            </a:endParaRPr>
          </a:p>
        </p:txBody>
      </p:sp>
      <p:cxnSp>
        <p:nvCxnSpPr>
          <p:cNvPr id="2" name="Straight Connector 1">
            <a:extLst>
              <a:ext uri="{FF2B5EF4-FFF2-40B4-BE49-F238E27FC236}">
                <a16:creationId xmlns:a16="http://schemas.microsoft.com/office/drawing/2014/main" id="{36376B48-2F61-C1CC-71DE-24E36A233EDF}"/>
              </a:ext>
            </a:extLst>
          </p:cNvPr>
          <p:cNvCxnSpPr>
            <a:cxnSpLocks/>
          </p:cNvCxnSpPr>
          <p:nvPr/>
        </p:nvCxnSpPr>
        <p:spPr>
          <a:xfrm flipH="1">
            <a:off x="3053052" y="2345051"/>
            <a:ext cx="9301" cy="3985874"/>
          </a:xfrm>
          <a:prstGeom prst="line">
            <a:avLst/>
          </a:prstGeom>
          <a:ln w="381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CD8770F5-9D58-2803-04C6-8901226B1CE0}"/>
              </a:ext>
            </a:extLst>
          </p:cNvPr>
          <p:cNvSpPr txBox="1"/>
          <p:nvPr/>
        </p:nvSpPr>
        <p:spPr>
          <a:xfrm>
            <a:off x="1938208" y="5995059"/>
            <a:ext cx="1023108" cy="143188"/>
          </a:xfrm>
          <a:prstGeom prst="rect">
            <a:avLst/>
          </a:prstGeom>
          <a:noFill/>
        </p:spPr>
        <p:txBody>
          <a:bodyPr wrap="squar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Montserrat"/>
                <a:ea typeface="+mn-ea"/>
                <a:cs typeface="+mn-cs"/>
              </a:rPr>
              <a:t>&lt;&lt;&lt;Monthly</a:t>
            </a:r>
          </a:p>
        </p:txBody>
      </p:sp>
      <p:sp>
        <p:nvSpPr>
          <p:cNvPr id="5" name="TextBox 4">
            <a:extLst>
              <a:ext uri="{FF2B5EF4-FFF2-40B4-BE49-F238E27FC236}">
                <a16:creationId xmlns:a16="http://schemas.microsoft.com/office/drawing/2014/main" id="{B472EF86-A315-BE43-F9C1-2E1884224688}"/>
              </a:ext>
            </a:extLst>
          </p:cNvPr>
          <p:cNvSpPr txBox="1"/>
          <p:nvPr/>
        </p:nvSpPr>
        <p:spPr>
          <a:xfrm>
            <a:off x="3108732" y="5995059"/>
            <a:ext cx="1023108" cy="143188"/>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Montserrat"/>
                <a:ea typeface="+mn-ea"/>
                <a:cs typeface="+mn-cs"/>
              </a:rPr>
              <a:t>Weekly &gt;&gt;&gt;</a:t>
            </a:r>
          </a:p>
        </p:txBody>
      </p:sp>
      <p:cxnSp>
        <p:nvCxnSpPr>
          <p:cNvPr id="8" name="Straight Connector 7">
            <a:extLst>
              <a:ext uri="{FF2B5EF4-FFF2-40B4-BE49-F238E27FC236}">
                <a16:creationId xmlns:a16="http://schemas.microsoft.com/office/drawing/2014/main" id="{75742641-26A3-B35A-A183-4A68DB0A6A80}"/>
              </a:ext>
            </a:extLst>
          </p:cNvPr>
          <p:cNvCxnSpPr>
            <a:cxnSpLocks/>
          </p:cNvCxnSpPr>
          <p:nvPr/>
        </p:nvCxnSpPr>
        <p:spPr>
          <a:xfrm>
            <a:off x="9231678" y="2293782"/>
            <a:ext cx="0" cy="3967570"/>
          </a:xfrm>
          <a:prstGeom prst="line">
            <a:avLst/>
          </a:prstGeom>
          <a:ln w="381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1EEE812C-0857-9E3F-C8FB-1E4E18533F30}"/>
              </a:ext>
            </a:extLst>
          </p:cNvPr>
          <p:cNvSpPr txBox="1"/>
          <p:nvPr/>
        </p:nvSpPr>
        <p:spPr>
          <a:xfrm>
            <a:off x="8060161" y="6002181"/>
            <a:ext cx="1023108" cy="143188"/>
          </a:xfrm>
          <a:prstGeom prst="rect">
            <a:avLst/>
          </a:prstGeom>
          <a:noFill/>
        </p:spPr>
        <p:txBody>
          <a:bodyPr wrap="squar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solidFill>
                <a:effectLst/>
                <a:uLnTx/>
                <a:uFillTx/>
                <a:latin typeface="Montserrat"/>
                <a:ea typeface="+mn-ea"/>
                <a:cs typeface="+mn-cs"/>
              </a:rPr>
              <a:t>&lt;&lt;&lt;Monthly</a:t>
            </a:r>
          </a:p>
        </p:txBody>
      </p:sp>
      <p:sp>
        <p:nvSpPr>
          <p:cNvPr id="13" name="TextBox 12">
            <a:extLst>
              <a:ext uri="{FF2B5EF4-FFF2-40B4-BE49-F238E27FC236}">
                <a16:creationId xmlns:a16="http://schemas.microsoft.com/office/drawing/2014/main" id="{A8C080BB-1C27-AA86-8AD1-58E985888642}"/>
              </a:ext>
            </a:extLst>
          </p:cNvPr>
          <p:cNvSpPr txBox="1"/>
          <p:nvPr/>
        </p:nvSpPr>
        <p:spPr>
          <a:xfrm>
            <a:off x="9390654" y="6002181"/>
            <a:ext cx="1023108" cy="143188"/>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solidFill>
                <a:effectLst/>
                <a:uLnTx/>
                <a:uFillTx/>
                <a:latin typeface="Montserrat"/>
                <a:ea typeface="+mn-ea"/>
                <a:cs typeface="+mn-cs"/>
              </a:rPr>
              <a:t>Weekly &gt;&gt;&gt;</a:t>
            </a:r>
          </a:p>
        </p:txBody>
      </p:sp>
      <p:sp>
        <p:nvSpPr>
          <p:cNvPr id="1010" name="Rectangle 1009">
            <a:extLst>
              <a:ext uri="{FF2B5EF4-FFF2-40B4-BE49-F238E27FC236}">
                <a16:creationId xmlns:a16="http://schemas.microsoft.com/office/drawing/2014/main" id="{4542E1F0-2AB7-6CDA-F682-DDDA7E94293E}"/>
              </a:ext>
            </a:extLst>
          </p:cNvPr>
          <p:cNvSpPr/>
          <p:nvPr/>
        </p:nvSpPr>
        <p:spPr>
          <a:xfrm>
            <a:off x="6786563" y="1458118"/>
            <a:ext cx="2693218" cy="50006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u="sng" dirty="0">
                <a:solidFill>
                  <a:schemeClr val="tx1"/>
                </a:solidFill>
              </a:rPr>
              <a:t>Digital Demand</a:t>
            </a:r>
          </a:p>
        </p:txBody>
      </p:sp>
      <p:sp>
        <p:nvSpPr>
          <p:cNvPr id="1011" name="Rectangle 1010">
            <a:extLst>
              <a:ext uri="{FF2B5EF4-FFF2-40B4-BE49-F238E27FC236}">
                <a16:creationId xmlns:a16="http://schemas.microsoft.com/office/drawing/2014/main" id="{B263A7A4-0269-EE7D-72CF-D1E922A80A75}"/>
              </a:ext>
            </a:extLst>
          </p:cNvPr>
          <p:cNvSpPr/>
          <p:nvPr/>
        </p:nvSpPr>
        <p:spPr>
          <a:xfrm>
            <a:off x="325437" y="1365625"/>
            <a:ext cx="3545430" cy="50006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u="sng" dirty="0">
                <a:solidFill>
                  <a:schemeClr val="tx1"/>
                </a:solidFill>
              </a:rPr>
              <a:t>Engaged Traffic to Digital Lead</a:t>
            </a:r>
          </a:p>
        </p:txBody>
      </p:sp>
    </p:spTree>
    <p:extLst>
      <p:ext uri="{BB962C8B-B14F-4D97-AF65-F5344CB8AC3E}">
        <p14:creationId xmlns:p14="http://schemas.microsoft.com/office/powerpoint/2010/main" val="3480491312"/>
      </p:ext>
    </p:extLst>
  </p:cSld>
  <p:clrMapOvr>
    <a:masterClrMapping/>
  </p:clrMapOvr>
  <p:transition spd="med"/>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1A833C5-3500-7D6C-02D1-1D257419EFD4}"/>
              </a:ext>
            </a:extLst>
          </p:cNvPr>
          <p:cNvGraphicFramePr>
            <a:graphicFrameLocks noChangeAspect="1"/>
          </p:cNvGraphicFramePr>
          <p:nvPr>
            <p:custDataLst>
              <p:tags r:id="rId1"/>
            </p:custDataLst>
            <p:extLst>
              <p:ext uri="{D42A27DB-BD31-4B8C-83A1-F6EECF244321}">
                <p14:modId xmlns:p14="http://schemas.microsoft.com/office/powerpoint/2010/main" val="16189306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0" imgW="395" imgH="396" progId="TCLayout.ActiveDocument.1">
                  <p:embed/>
                </p:oleObj>
              </mc:Choice>
              <mc:Fallback>
                <p:oleObj name="think-cell Slide" r:id="rId90" imgW="395" imgH="396" progId="TCLayout.ActiveDocument.1">
                  <p:embed/>
                  <p:pic>
                    <p:nvPicPr>
                      <p:cNvPr id="6" name="think-cell data - do not delete" hidden="1">
                        <a:extLst>
                          <a:ext uri="{FF2B5EF4-FFF2-40B4-BE49-F238E27FC236}">
                            <a16:creationId xmlns:a16="http://schemas.microsoft.com/office/drawing/2014/main" id="{A1A833C5-3500-7D6C-02D1-1D257419EFD4}"/>
                          </a:ext>
                        </a:extLst>
                      </p:cNvPr>
                      <p:cNvPicPr/>
                      <p:nvPr/>
                    </p:nvPicPr>
                    <p:blipFill>
                      <a:blip r:embed="rId91"/>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3774AED8-7B7B-E8A9-B655-236921FB1FB7}"/>
              </a:ext>
            </a:extLst>
          </p:cNvPr>
          <p:cNvSpPr>
            <a:spLocks noGrp="1"/>
          </p:cNvSpPr>
          <p:nvPr>
            <p:ph type="title"/>
          </p:nvPr>
        </p:nvSpPr>
        <p:spPr/>
        <p:txBody>
          <a:bodyPr vert="horz"/>
          <a:lstStyle/>
          <a:p>
            <a:r>
              <a:rPr lang="en-US" dirty="0"/>
              <a:t>[main takeaway]</a:t>
            </a:r>
          </a:p>
        </p:txBody>
      </p:sp>
      <p:sp>
        <p:nvSpPr>
          <p:cNvPr id="432" name="Text Placeholder 3">
            <a:extLst>
              <a:ext uri="{FF2B5EF4-FFF2-40B4-BE49-F238E27FC236}">
                <a16:creationId xmlns:a16="http://schemas.microsoft.com/office/drawing/2014/main" id="{AE210B21-9593-27FA-D260-1A4A9EA682A6}"/>
              </a:ext>
            </a:extLst>
          </p:cNvPr>
          <p:cNvSpPr>
            <a:spLocks noGrp="1"/>
          </p:cNvSpPr>
          <p:nvPr>
            <p:ph type="body" sz="quarter" idx="25"/>
          </p:nvPr>
        </p:nvSpPr>
        <p:spPr>
          <a:xfrm>
            <a:off x="463550" y="255588"/>
            <a:ext cx="11271250" cy="201612"/>
          </a:xfrm>
        </p:spPr>
        <p:txBody>
          <a:bodyPr/>
          <a:lstStyle/>
          <a:p>
            <a:r>
              <a:rPr lang="en-US" dirty="0"/>
              <a:t>SB Digital CR % and Sales</a:t>
            </a:r>
            <a:endParaRPr lang="en-US" altLang="en-US" dirty="0"/>
          </a:p>
        </p:txBody>
      </p:sp>
      <p:graphicFrame>
        <p:nvGraphicFramePr>
          <p:cNvPr id="58" name="Chart 57">
            <a:extLst>
              <a:ext uri="{FF2B5EF4-FFF2-40B4-BE49-F238E27FC236}">
                <a16:creationId xmlns:a16="http://schemas.microsoft.com/office/drawing/2014/main" id="{6EB68D6D-C1AE-3D5B-2ED3-F81615E7ACD2}"/>
              </a:ext>
            </a:extLst>
          </p:cNvPr>
          <p:cNvGraphicFramePr/>
          <p:nvPr>
            <p:custDataLst>
              <p:tags r:id="rId2"/>
            </p:custDataLst>
            <p:extLst>
              <p:ext uri="{D42A27DB-BD31-4B8C-83A1-F6EECF244321}">
                <p14:modId xmlns:p14="http://schemas.microsoft.com/office/powerpoint/2010/main" val="393731906"/>
              </p:ext>
            </p:extLst>
          </p:nvPr>
        </p:nvGraphicFramePr>
        <p:xfrm>
          <a:off x="381000" y="1792288"/>
          <a:ext cx="5387975" cy="3927475"/>
        </p:xfrm>
        <a:graphic>
          <a:graphicData uri="http://schemas.openxmlformats.org/drawingml/2006/chart">
            <c:chart xmlns:c="http://schemas.openxmlformats.org/drawingml/2006/chart" xmlns:r="http://schemas.openxmlformats.org/officeDocument/2006/relationships" r:id="rId92"/>
          </a:graphicData>
        </a:graphic>
      </p:graphicFrame>
      <p:cxnSp>
        <p:nvCxnSpPr>
          <p:cNvPr id="993" name="Straight Connector 992">
            <a:extLst>
              <a:ext uri="{FF2B5EF4-FFF2-40B4-BE49-F238E27FC236}">
                <a16:creationId xmlns:a16="http://schemas.microsoft.com/office/drawing/2014/main" id="{604B4941-8333-6462-28BD-19E43C2F5A64}"/>
              </a:ext>
            </a:extLst>
          </p:cNvPr>
          <p:cNvCxnSpPr/>
          <p:nvPr>
            <p:custDataLst>
              <p:tags r:id="rId3"/>
            </p:custDataLst>
          </p:nvPr>
        </p:nvCxnSpPr>
        <p:spPr bwMode="auto">
          <a:xfrm flipV="1">
            <a:off x="3448050" y="4700588"/>
            <a:ext cx="0" cy="23812"/>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98" name="Straight Connector 997">
            <a:extLst>
              <a:ext uri="{FF2B5EF4-FFF2-40B4-BE49-F238E27FC236}">
                <a16:creationId xmlns:a16="http://schemas.microsoft.com/office/drawing/2014/main" id="{DE2D3945-8FE1-0052-4E1B-E5CC80D46C41}"/>
              </a:ext>
            </a:extLst>
          </p:cNvPr>
          <p:cNvCxnSpPr/>
          <p:nvPr>
            <p:custDataLst>
              <p:tags r:id="rId4"/>
            </p:custDataLst>
          </p:nvPr>
        </p:nvCxnSpPr>
        <p:spPr bwMode="auto">
          <a:xfrm flipV="1">
            <a:off x="4194175" y="4405313"/>
            <a:ext cx="0" cy="23812"/>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02" name="Straight Connector 1001">
            <a:extLst>
              <a:ext uri="{FF2B5EF4-FFF2-40B4-BE49-F238E27FC236}">
                <a16:creationId xmlns:a16="http://schemas.microsoft.com/office/drawing/2014/main" id="{06A8AF32-2833-05A6-860E-D5425680BFC3}"/>
              </a:ext>
            </a:extLst>
          </p:cNvPr>
          <p:cNvCxnSpPr/>
          <p:nvPr>
            <p:custDataLst>
              <p:tags r:id="rId5"/>
            </p:custDataLst>
          </p:nvPr>
        </p:nvCxnSpPr>
        <p:spPr bwMode="auto">
          <a:xfrm flipV="1">
            <a:off x="4940300" y="4510088"/>
            <a:ext cx="0" cy="23812"/>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 name="Straight Connector 49">
            <a:extLst>
              <a:ext uri="{FF2B5EF4-FFF2-40B4-BE49-F238E27FC236}">
                <a16:creationId xmlns:a16="http://schemas.microsoft.com/office/drawing/2014/main" id="{2E4A41B5-2626-D282-F5D1-7FC269F8CAE9}"/>
              </a:ext>
            </a:extLst>
          </p:cNvPr>
          <p:cNvCxnSpPr/>
          <p:nvPr>
            <p:custDataLst>
              <p:tags r:id="rId6"/>
            </p:custDataLst>
          </p:nvPr>
        </p:nvCxnSpPr>
        <p:spPr bwMode="auto">
          <a:xfrm flipV="1">
            <a:off x="5556250" y="4498975"/>
            <a:ext cx="76200" cy="5238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84" name="Rectangle 983">
            <a:extLst>
              <a:ext uri="{FF2B5EF4-FFF2-40B4-BE49-F238E27FC236}">
                <a16:creationId xmlns:a16="http://schemas.microsoft.com/office/drawing/2014/main" id="{3F56AD31-7322-066E-80D6-7E694E21F706}"/>
              </a:ext>
            </a:extLst>
          </p:cNvPr>
          <p:cNvSpPr/>
          <p:nvPr>
            <p:custDataLst>
              <p:tags r:id="rId7"/>
            </p:custDataLst>
          </p:nvPr>
        </p:nvSpPr>
        <p:spPr bwMode="gray">
          <a:xfrm>
            <a:off x="1006475" y="2644775"/>
            <a:ext cx="40640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lvl="0" algn="ctr">
              <a:lnSpc>
                <a:spcPct val="90000"/>
              </a:lnSpc>
              <a:spcBef>
                <a:spcPct val="0"/>
              </a:spcBef>
              <a:spcAft>
                <a:spcPct val="0"/>
              </a:spcAft>
              <a:defRPr/>
            </a:pPr>
            <a:fld id="{86BD4A3A-E3C3-4B2A-8744-713F1EC66217}" type="datetime'4''''7''.''''''''''''''''''''''''8''''''%'''''''''''''''">
              <a:rPr lang="en-US" altLang="en-US" sz="1000" smtClean="0">
                <a:solidFill>
                  <a:srgbClr val="000000"/>
                </a:solidFill>
              </a:rPr>
              <a:pPr/>
              <a:t>47.8%</a:t>
            </a:fld>
            <a:endParaRPr kumimoji="0" lang="en-US" sz="1000" b="0" i="0" strike="noStrike" kern="1200" cap="none" spc="0" normalizeH="0" baseline="0" noProof="0">
              <a:ln>
                <a:noFill/>
              </a:ln>
              <a:solidFill>
                <a:srgbClr val="000000"/>
              </a:solidFill>
              <a:effectLst/>
              <a:uLnTx/>
              <a:uFillTx/>
            </a:endParaRPr>
          </a:p>
        </p:txBody>
      </p:sp>
      <p:sp>
        <p:nvSpPr>
          <p:cNvPr id="985" name="Rectangle 984">
            <a:extLst>
              <a:ext uri="{FF2B5EF4-FFF2-40B4-BE49-F238E27FC236}">
                <a16:creationId xmlns:a16="http://schemas.microsoft.com/office/drawing/2014/main" id="{AC10B91B-F220-6488-A42D-0CC802D49812}"/>
              </a:ext>
            </a:extLst>
          </p:cNvPr>
          <p:cNvSpPr/>
          <p:nvPr>
            <p:custDataLst>
              <p:tags r:id="rId8"/>
            </p:custDataLst>
          </p:nvPr>
        </p:nvSpPr>
        <p:spPr bwMode="gray">
          <a:xfrm>
            <a:off x="1025525" y="4765675"/>
            <a:ext cx="368300" cy="136525"/>
          </a:xfrm>
          <a:prstGeom prst="rect">
            <a:avLst/>
          </a:prstGeom>
          <a:no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lvl="0" algn="ctr">
              <a:lnSpc>
                <a:spcPct val="90000"/>
              </a:lnSpc>
              <a:spcBef>
                <a:spcPct val="0"/>
              </a:spcBef>
              <a:spcAft>
                <a:spcPct val="0"/>
              </a:spcAft>
              <a:defRPr/>
            </a:pPr>
            <a:fld id="{11DD5DDE-EFE2-4055-9995-24E54FDE9376}" type="datetime'''1''''''''''''''''''6''''''''''''.''''6''''''%'''''''''''''''">
              <a:rPr lang="en-US" altLang="en-US" sz="1000" smtClean="0">
                <a:solidFill>
                  <a:srgbClr val="000000"/>
                </a:solidFill>
              </a:rPr>
              <a:pPr/>
              <a:t>16.6%</a:t>
            </a:fld>
            <a:endParaRPr kumimoji="0" lang="en-US" sz="1000" b="0" i="0" strike="noStrike" kern="1200" cap="none" spc="0" normalizeH="0" baseline="0" noProof="0">
              <a:ln>
                <a:noFill/>
              </a:ln>
              <a:solidFill>
                <a:srgbClr val="000000"/>
              </a:solidFill>
              <a:effectLst/>
              <a:uLnTx/>
              <a:uFillTx/>
            </a:endParaRPr>
          </a:p>
        </p:txBody>
      </p:sp>
      <p:sp>
        <p:nvSpPr>
          <p:cNvPr id="986" name="Rectangle 985">
            <a:extLst>
              <a:ext uri="{FF2B5EF4-FFF2-40B4-BE49-F238E27FC236}">
                <a16:creationId xmlns:a16="http://schemas.microsoft.com/office/drawing/2014/main" id="{46BA69E6-DE5B-4E0D-C7B8-989DDF082F27}"/>
              </a:ext>
            </a:extLst>
          </p:cNvPr>
          <p:cNvSpPr/>
          <p:nvPr>
            <p:custDataLst>
              <p:tags r:id="rId9"/>
            </p:custDataLst>
          </p:nvPr>
        </p:nvSpPr>
        <p:spPr bwMode="gray">
          <a:xfrm>
            <a:off x="1025525" y="4329113"/>
            <a:ext cx="36830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lvl="0" algn="ctr">
              <a:lnSpc>
                <a:spcPct val="90000"/>
              </a:lnSpc>
              <a:spcBef>
                <a:spcPct val="0"/>
              </a:spcBef>
              <a:spcAft>
                <a:spcPct val="0"/>
              </a:spcAft>
              <a:defRPr/>
            </a:pPr>
            <a:fld id="{825D8F81-C992-4466-9779-E954F85DDC51}" type="datetime'''''''''''''''''''''1''''8.''''''''7''''''''''''''%'''''">
              <a:rPr lang="en-US" altLang="en-US" sz="1000" smtClean="0">
                <a:solidFill>
                  <a:srgbClr val="000000"/>
                </a:solidFill>
              </a:rPr>
              <a:pPr/>
              <a:t>18.7%</a:t>
            </a:fld>
            <a:endParaRPr kumimoji="0" lang="en-US" sz="1000" b="0" i="0" strike="noStrike" kern="1200" cap="none" spc="0" normalizeH="0" baseline="0" noProof="0">
              <a:ln>
                <a:noFill/>
              </a:ln>
              <a:solidFill>
                <a:srgbClr val="000000"/>
              </a:solidFill>
              <a:effectLst/>
              <a:uLnTx/>
              <a:uFillTx/>
            </a:endParaRPr>
          </a:p>
        </p:txBody>
      </p:sp>
      <p:sp>
        <p:nvSpPr>
          <p:cNvPr id="987" name="Rectangle 986">
            <a:extLst>
              <a:ext uri="{FF2B5EF4-FFF2-40B4-BE49-F238E27FC236}">
                <a16:creationId xmlns:a16="http://schemas.microsoft.com/office/drawing/2014/main" id="{B742A8A1-A8FE-C6C4-2B4C-38A5FE8343DB}"/>
              </a:ext>
            </a:extLst>
          </p:cNvPr>
          <p:cNvSpPr/>
          <p:nvPr>
            <p:custDataLst>
              <p:tags r:id="rId10"/>
            </p:custDataLst>
          </p:nvPr>
        </p:nvSpPr>
        <p:spPr bwMode="gray">
          <a:xfrm>
            <a:off x="1019175" y="3541713"/>
            <a:ext cx="38100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lvl="0" algn="ctr">
              <a:lnSpc>
                <a:spcPct val="90000"/>
              </a:lnSpc>
              <a:spcBef>
                <a:spcPct val="0"/>
              </a:spcBef>
              <a:spcAft>
                <a:spcPct val="0"/>
              </a:spcAft>
              <a:defRPr/>
            </a:pPr>
            <a:fld id="{4C932FBD-A1F3-4CE6-8472-154116999FD6}" type="datetime'''''''''''''''3''''''''''''''''''''''2''''.''''''''3%'''">
              <a:rPr lang="en-US" altLang="en-US" sz="1000" smtClean="0">
                <a:solidFill>
                  <a:srgbClr val="000000"/>
                </a:solidFill>
              </a:rPr>
              <a:pPr/>
              <a:t>32.3%</a:t>
            </a:fld>
            <a:endParaRPr kumimoji="0" lang="en-US" sz="1000" b="0" i="0" strike="noStrike" kern="1200" cap="none" spc="0" normalizeH="0" baseline="0" noProof="0">
              <a:ln>
                <a:noFill/>
              </a:ln>
              <a:solidFill>
                <a:srgbClr val="000000"/>
              </a:solidFill>
              <a:effectLst/>
              <a:uLnTx/>
              <a:uFillTx/>
            </a:endParaRPr>
          </a:p>
        </p:txBody>
      </p:sp>
      <p:sp>
        <p:nvSpPr>
          <p:cNvPr id="539" name="Text Placeholder 2">
            <a:extLst>
              <a:ext uri="{FF2B5EF4-FFF2-40B4-BE49-F238E27FC236}">
                <a16:creationId xmlns:a16="http://schemas.microsoft.com/office/drawing/2014/main" id="{66B815DC-4AD3-5453-5017-C2E67447C4E1}"/>
              </a:ext>
            </a:extLst>
          </p:cNvPr>
          <p:cNvSpPr>
            <a:spLocks noGrp="1" noChangeArrowheads="1"/>
          </p:cNvSpPr>
          <p:nvPr>
            <p:custDataLst>
              <p:tags r:id="rId11"/>
            </p:custDataLst>
          </p:nvPr>
        </p:nvSpPr>
        <p:spPr bwMode="auto">
          <a:xfrm>
            <a:off x="1089025" y="5675313"/>
            <a:ext cx="241300" cy="1301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base" latinLnBrk="0" hangingPunct="1">
              <a:lnSpc>
                <a:spcPct val="95000"/>
              </a:lnSpc>
              <a:spcBef>
                <a:spcPct val="0"/>
              </a:spcBef>
              <a:spcAft>
                <a:spcPct val="0"/>
              </a:spcAft>
              <a:buClrTx/>
              <a:buSzTx/>
              <a:buFont typeface="Arial" panose="020B0604020202020204" pitchFamily="34" charset="0"/>
              <a:buNone/>
              <a:tabLst/>
              <a:defRPr/>
            </a:pPr>
            <a:fld id="{5478DA4C-C1DA-4054-AD0F-5B45ED9FEF24}" type="datetime'''M''''''a''''''''''''''r'''''''''''''''''''''''''''''''">
              <a:rPr kumimoji="0" lang="en-US" altLang="en-US" sz="900" b="1" i="0" u="none" strike="noStrike" kern="1200" cap="none" spc="0" normalizeH="0" baseline="0" noProof="0" smtClean="0">
                <a:ln>
                  <a:noFill/>
                </a:ln>
                <a:solidFill>
                  <a:srgbClr val="000000"/>
                </a:solidFill>
                <a:effectLst/>
                <a:uLnTx/>
                <a:uFillTx/>
                <a:latin typeface="Montserrat"/>
                <a:ea typeface="+mn-ea"/>
                <a:cs typeface="+mn-cs"/>
              </a:rPr>
              <a:pPr marL="0" marR="0" lvl="0" indent="0" algn="ctr" defTabSz="914400" rtl="0" eaLnBrk="1" fontAlgn="base" latinLnBrk="0" hangingPunct="1">
                <a:lnSpc>
                  <a:spcPct val="95000"/>
                </a:lnSpc>
                <a:spcBef>
                  <a:spcPct val="0"/>
                </a:spcBef>
                <a:spcAft>
                  <a:spcPct val="0"/>
                </a:spcAft>
                <a:buClrTx/>
                <a:buSzTx/>
                <a:buFont typeface="Arial" panose="020B0604020202020204" pitchFamily="34" charset="0"/>
                <a:buNone/>
                <a:tabLst/>
                <a:defRPr/>
              </a:pPr>
              <a:t>Mar</a:t>
            </a:fld>
            <a:endParaRPr kumimoji="0" lang="en-US" altLang="en-US" sz="900" b="1" i="0" u="none" strike="noStrike" kern="1200" cap="none" spc="0" normalizeH="0" baseline="0" noProof="0">
              <a:ln>
                <a:noFill/>
              </a:ln>
              <a:solidFill>
                <a:srgbClr val="000000"/>
              </a:solidFill>
              <a:effectLst/>
              <a:uLnTx/>
              <a:uFillTx/>
              <a:latin typeface="Montserrat"/>
              <a:ea typeface="+mn-ea"/>
              <a:cs typeface="+mn-cs"/>
            </a:endParaRPr>
          </a:p>
        </p:txBody>
      </p:sp>
      <p:sp>
        <p:nvSpPr>
          <p:cNvPr id="988" name="Rectangle 987">
            <a:extLst>
              <a:ext uri="{FF2B5EF4-FFF2-40B4-BE49-F238E27FC236}">
                <a16:creationId xmlns:a16="http://schemas.microsoft.com/office/drawing/2014/main" id="{FE98B1FD-E55D-EBC9-4A8B-8CE5B8EBAC87}"/>
              </a:ext>
            </a:extLst>
          </p:cNvPr>
          <p:cNvSpPr/>
          <p:nvPr>
            <p:custDataLst>
              <p:tags r:id="rId12"/>
            </p:custDataLst>
          </p:nvPr>
        </p:nvSpPr>
        <p:spPr bwMode="gray">
          <a:xfrm>
            <a:off x="1749425" y="2889250"/>
            <a:ext cx="41275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lvl="0" algn="ctr">
              <a:lnSpc>
                <a:spcPct val="90000"/>
              </a:lnSpc>
              <a:spcBef>
                <a:spcPct val="0"/>
              </a:spcBef>
              <a:spcAft>
                <a:spcPct val="0"/>
              </a:spcAft>
              <a:defRPr/>
            </a:pPr>
            <a:fld id="{C42865ED-FA82-4C57-A324-BE33BE05116C}" type="datetime'''''''''''''''''4''''''''''''''''9''''.''''''''''0''''%'''''">
              <a:rPr lang="en-US" altLang="en-US" sz="1000" smtClean="0">
                <a:solidFill>
                  <a:srgbClr val="000000"/>
                </a:solidFill>
              </a:rPr>
              <a:pPr/>
              <a:t>49.0%</a:t>
            </a:fld>
            <a:endParaRPr kumimoji="0" lang="en-US" sz="1000" b="0" i="0" strike="noStrike" kern="1200" cap="none" spc="0" normalizeH="0" baseline="0" noProof="0">
              <a:ln>
                <a:noFill/>
              </a:ln>
              <a:solidFill>
                <a:srgbClr val="000000"/>
              </a:solidFill>
              <a:effectLst/>
              <a:uLnTx/>
              <a:uFillTx/>
            </a:endParaRPr>
          </a:p>
        </p:txBody>
      </p:sp>
      <p:sp>
        <p:nvSpPr>
          <p:cNvPr id="989" name="Rectangle 988">
            <a:extLst>
              <a:ext uri="{FF2B5EF4-FFF2-40B4-BE49-F238E27FC236}">
                <a16:creationId xmlns:a16="http://schemas.microsoft.com/office/drawing/2014/main" id="{2FF6EBF2-6A07-F378-0075-457E1FA21ADD}"/>
              </a:ext>
            </a:extLst>
          </p:cNvPr>
          <p:cNvSpPr/>
          <p:nvPr>
            <p:custDataLst>
              <p:tags r:id="rId13"/>
            </p:custDataLst>
          </p:nvPr>
        </p:nvSpPr>
        <p:spPr bwMode="gray">
          <a:xfrm>
            <a:off x="1778000" y="4840288"/>
            <a:ext cx="35560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lvl="0" algn="ctr">
              <a:lnSpc>
                <a:spcPct val="90000"/>
              </a:lnSpc>
              <a:spcBef>
                <a:spcPct val="0"/>
              </a:spcBef>
              <a:spcAft>
                <a:spcPct val="0"/>
              </a:spcAft>
              <a:defRPr/>
            </a:pPr>
            <a:fld id="{C43612B4-1706-4F50-82A0-5FC06409B90A}" type="datetime'15''''.3''''''''%'''''''''''''''''''''''''''''''''''''''">
              <a:rPr lang="en-US" altLang="en-US" sz="1000" smtClean="0">
                <a:solidFill>
                  <a:srgbClr val="000000"/>
                </a:solidFill>
              </a:rPr>
              <a:pPr/>
              <a:t>15.3%</a:t>
            </a:fld>
            <a:endParaRPr kumimoji="0" lang="en-US" sz="1000" b="0" i="0" strike="noStrike" kern="1200" cap="none" spc="0" normalizeH="0" baseline="0" noProof="0">
              <a:ln>
                <a:noFill/>
              </a:ln>
              <a:solidFill>
                <a:srgbClr val="000000"/>
              </a:solidFill>
              <a:effectLst/>
              <a:uLnTx/>
              <a:uFillTx/>
            </a:endParaRPr>
          </a:p>
        </p:txBody>
      </p:sp>
      <p:sp>
        <p:nvSpPr>
          <p:cNvPr id="990" name="Rectangle 989">
            <a:extLst>
              <a:ext uri="{FF2B5EF4-FFF2-40B4-BE49-F238E27FC236}">
                <a16:creationId xmlns:a16="http://schemas.microsoft.com/office/drawing/2014/main" id="{DD58EB50-2B2E-01A7-8F5D-E415B3AE9BF0}"/>
              </a:ext>
            </a:extLst>
          </p:cNvPr>
          <p:cNvSpPr/>
          <p:nvPr>
            <p:custDataLst>
              <p:tags r:id="rId14"/>
            </p:custDataLst>
          </p:nvPr>
        </p:nvSpPr>
        <p:spPr bwMode="gray">
          <a:xfrm>
            <a:off x="1771650" y="4433888"/>
            <a:ext cx="368300" cy="136525"/>
          </a:xfrm>
          <a:prstGeom prst="rect">
            <a:avLst/>
          </a:prstGeom>
          <a:no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lvl="0" algn="ctr">
              <a:lnSpc>
                <a:spcPct val="90000"/>
              </a:lnSpc>
              <a:spcBef>
                <a:spcPct val="0"/>
              </a:spcBef>
              <a:spcAft>
                <a:spcPct val="0"/>
              </a:spcAft>
              <a:defRPr/>
            </a:pPr>
            <a:fld id="{3A1157FC-B59B-47B7-B70D-632B89EDB667}" type="datetime'''''''''''''''''''''1''''''''6''''''''''''.9''''%'''''''''''">
              <a:rPr lang="en-US" altLang="en-US" sz="1000" smtClean="0">
                <a:solidFill>
                  <a:srgbClr val="000000"/>
                </a:solidFill>
              </a:rPr>
              <a:pPr/>
              <a:t>16.9%</a:t>
            </a:fld>
            <a:endParaRPr kumimoji="0" lang="en-US" sz="1000" b="0" i="0" strike="noStrike" kern="1200" cap="none" spc="0" normalizeH="0" baseline="0" noProof="0">
              <a:ln>
                <a:noFill/>
              </a:ln>
              <a:solidFill>
                <a:srgbClr val="000000"/>
              </a:solidFill>
              <a:effectLst/>
              <a:uLnTx/>
              <a:uFillTx/>
            </a:endParaRPr>
          </a:p>
        </p:txBody>
      </p:sp>
      <p:sp>
        <p:nvSpPr>
          <p:cNvPr id="991" name="Rectangle 990">
            <a:extLst>
              <a:ext uri="{FF2B5EF4-FFF2-40B4-BE49-F238E27FC236}">
                <a16:creationId xmlns:a16="http://schemas.microsoft.com/office/drawing/2014/main" id="{3517CEFF-2005-3EDB-8B34-312330CA8C66}"/>
              </a:ext>
            </a:extLst>
          </p:cNvPr>
          <p:cNvSpPr/>
          <p:nvPr>
            <p:custDataLst>
              <p:tags r:id="rId15"/>
            </p:custDataLst>
          </p:nvPr>
        </p:nvSpPr>
        <p:spPr bwMode="gray">
          <a:xfrm>
            <a:off x="1758950" y="3746500"/>
            <a:ext cx="39370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lvl="0" algn="ctr">
              <a:lnSpc>
                <a:spcPct val="90000"/>
              </a:lnSpc>
              <a:spcBef>
                <a:spcPct val="0"/>
              </a:spcBef>
              <a:spcAft>
                <a:spcPct val="0"/>
              </a:spcAft>
              <a:defRPr/>
            </a:pPr>
            <a:fld id="{8ECF9265-C95B-46E3-8B88-5EADBB395879}" type="datetime'''''3''4''''.''''''''2''''''''''''''%'''''''''''''''''''">
              <a:rPr lang="en-US" altLang="en-US" sz="1000" smtClean="0">
                <a:solidFill>
                  <a:srgbClr val="000000"/>
                </a:solidFill>
              </a:rPr>
              <a:pPr/>
              <a:t>34.2%</a:t>
            </a:fld>
            <a:endParaRPr kumimoji="0" lang="en-US" sz="1000" b="0" i="0" strike="noStrike" kern="1200" cap="none" spc="0" normalizeH="0" baseline="0" noProof="0">
              <a:ln>
                <a:noFill/>
              </a:ln>
              <a:solidFill>
                <a:srgbClr val="000000"/>
              </a:solidFill>
              <a:effectLst/>
              <a:uLnTx/>
              <a:uFillTx/>
            </a:endParaRPr>
          </a:p>
        </p:txBody>
      </p:sp>
      <p:sp>
        <p:nvSpPr>
          <p:cNvPr id="541" name="Text Placeholder 2">
            <a:extLst>
              <a:ext uri="{FF2B5EF4-FFF2-40B4-BE49-F238E27FC236}">
                <a16:creationId xmlns:a16="http://schemas.microsoft.com/office/drawing/2014/main" id="{676D1E91-5D50-6316-E74D-6B31CC43A164}"/>
              </a:ext>
            </a:extLst>
          </p:cNvPr>
          <p:cNvSpPr>
            <a:spLocks noGrp="1" noChangeArrowheads="1"/>
          </p:cNvSpPr>
          <p:nvPr>
            <p:custDataLst>
              <p:tags r:id="rId16"/>
            </p:custDataLst>
          </p:nvPr>
        </p:nvSpPr>
        <p:spPr bwMode="auto">
          <a:xfrm>
            <a:off x="1754188" y="5675313"/>
            <a:ext cx="404813" cy="1301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base" latinLnBrk="0" hangingPunct="1">
              <a:lnSpc>
                <a:spcPct val="95000"/>
              </a:lnSpc>
              <a:spcBef>
                <a:spcPct val="0"/>
              </a:spcBef>
              <a:spcAft>
                <a:spcPct val="0"/>
              </a:spcAft>
              <a:buClrTx/>
              <a:buSzTx/>
              <a:buFont typeface="Arial" panose="020B0604020202020204" pitchFamily="34" charset="0"/>
              <a:buNone/>
              <a:tabLst/>
              <a:defRPr/>
            </a:pPr>
            <a:fld id="{A95754E0-1909-422D-9107-854061B6FC57}" type="datetime'''''''''''''''A''p''''''''''''r''''’''''''''''2''''''''''''4'">
              <a:rPr kumimoji="0" lang="en-US" altLang="en-US" sz="900" b="1" i="0" u="none" strike="noStrike" kern="1200" cap="none" spc="0" normalizeH="0" baseline="0" noProof="0" smtClean="0">
                <a:ln>
                  <a:noFill/>
                </a:ln>
                <a:solidFill>
                  <a:srgbClr val="000000"/>
                </a:solidFill>
                <a:effectLst/>
                <a:uLnTx/>
                <a:uFillTx/>
                <a:latin typeface="Montserrat"/>
                <a:ea typeface="+mn-ea"/>
                <a:cs typeface="+mn-cs"/>
              </a:rPr>
              <a:pPr marL="0" marR="0" lvl="0" indent="0" algn="ctr" defTabSz="914400" rtl="0" eaLnBrk="1" fontAlgn="base" latinLnBrk="0" hangingPunct="1">
                <a:lnSpc>
                  <a:spcPct val="95000"/>
                </a:lnSpc>
                <a:spcBef>
                  <a:spcPct val="0"/>
                </a:spcBef>
                <a:spcAft>
                  <a:spcPct val="0"/>
                </a:spcAft>
                <a:buClrTx/>
                <a:buSzTx/>
                <a:buFont typeface="Arial" panose="020B0604020202020204" pitchFamily="34" charset="0"/>
                <a:buNone/>
                <a:tabLst/>
                <a:defRPr/>
              </a:pPr>
              <a:t>Apr’24</a:t>
            </a:fld>
            <a:endParaRPr kumimoji="0" lang="en-US" altLang="en-US" sz="900" b="1" i="0" u="none" strike="noStrike" kern="1200" cap="none" spc="0" normalizeH="0" baseline="0" noProof="0" dirty="0">
              <a:ln>
                <a:noFill/>
              </a:ln>
              <a:solidFill>
                <a:srgbClr val="000000"/>
              </a:solidFill>
              <a:effectLst/>
              <a:uLnTx/>
              <a:uFillTx/>
              <a:latin typeface="Montserrat"/>
              <a:ea typeface="+mn-ea"/>
              <a:cs typeface="+mn-cs"/>
            </a:endParaRPr>
          </a:p>
        </p:txBody>
      </p:sp>
      <p:sp>
        <p:nvSpPr>
          <p:cNvPr id="21" name="Rectangle 20">
            <a:extLst>
              <a:ext uri="{FF2B5EF4-FFF2-40B4-BE49-F238E27FC236}">
                <a16:creationId xmlns:a16="http://schemas.microsoft.com/office/drawing/2014/main" id="{7BAD545D-4871-9FBE-5673-9D3AFFBD07E1}"/>
              </a:ext>
            </a:extLst>
          </p:cNvPr>
          <p:cNvSpPr/>
          <p:nvPr>
            <p:custDataLst>
              <p:tags r:id="rId17"/>
            </p:custDataLst>
          </p:nvPr>
        </p:nvSpPr>
        <p:spPr bwMode="gray">
          <a:xfrm>
            <a:off x="2459038" y="2936875"/>
            <a:ext cx="48736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lvl="0" algn="ctr">
              <a:lnSpc>
                <a:spcPct val="90000"/>
              </a:lnSpc>
              <a:spcBef>
                <a:spcPct val="0"/>
              </a:spcBef>
              <a:spcAft>
                <a:spcPct val="0"/>
              </a:spcAft>
              <a:defRPr/>
            </a:pPr>
            <a:fld id="{3DF21DA0-D0D1-4D06-8168-80AA30253DA0}" type="datetime'''4''''8''''.''2''''''''''''''0''''''''%'''''''''''">
              <a:rPr lang="en-US" altLang="en-US" sz="1000" smtClean="0">
                <a:solidFill>
                  <a:srgbClr val="000000"/>
                </a:solidFill>
              </a:rPr>
              <a:pPr/>
              <a:t>48.20%</a:t>
            </a:fld>
            <a:endParaRPr kumimoji="0" lang="en-US" sz="1000" b="0" i="0" strike="noStrike" kern="1200" cap="none" spc="0" normalizeH="0" baseline="0" noProof="0">
              <a:ln>
                <a:noFill/>
              </a:ln>
              <a:solidFill>
                <a:srgbClr val="000000"/>
              </a:solidFill>
              <a:effectLst/>
              <a:uLnTx/>
              <a:uFillTx/>
            </a:endParaRPr>
          </a:p>
        </p:txBody>
      </p:sp>
      <p:sp>
        <p:nvSpPr>
          <p:cNvPr id="26" name="Rectangle 25">
            <a:extLst>
              <a:ext uri="{FF2B5EF4-FFF2-40B4-BE49-F238E27FC236}">
                <a16:creationId xmlns:a16="http://schemas.microsoft.com/office/drawing/2014/main" id="{C7992F8A-48BA-2505-5C9F-C4B0100E59A9}"/>
              </a:ext>
            </a:extLst>
          </p:cNvPr>
          <p:cNvSpPr/>
          <p:nvPr>
            <p:custDataLst>
              <p:tags r:id="rId18"/>
            </p:custDataLst>
          </p:nvPr>
        </p:nvSpPr>
        <p:spPr bwMode="gray">
          <a:xfrm>
            <a:off x="2481263" y="4713288"/>
            <a:ext cx="44291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lvl="0" algn="ctr">
              <a:lnSpc>
                <a:spcPct val="90000"/>
              </a:lnSpc>
              <a:spcBef>
                <a:spcPct val="0"/>
              </a:spcBef>
              <a:spcAft>
                <a:spcPct val="0"/>
              </a:spcAft>
              <a:defRPr/>
            </a:pPr>
            <a:fld id="{64FAA66F-D5EF-48C1-99E0-0851B501E569}" type="datetime'''1''''''7''.''''''''5''0''''''%'''''''''''">
              <a:rPr lang="en-US" altLang="en-US" sz="1000" smtClean="0">
                <a:solidFill>
                  <a:srgbClr val="000000"/>
                </a:solidFill>
              </a:rPr>
              <a:pPr/>
              <a:t>17.50%</a:t>
            </a:fld>
            <a:endParaRPr kumimoji="0" lang="en-US" sz="1000" b="0" i="0" strike="noStrike" kern="1200" cap="none" spc="0" normalizeH="0" baseline="0" noProof="0">
              <a:ln>
                <a:noFill/>
              </a:ln>
              <a:solidFill>
                <a:srgbClr val="000000"/>
              </a:solidFill>
              <a:effectLst/>
              <a:uLnTx/>
              <a:uFillTx/>
            </a:endParaRPr>
          </a:p>
        </p:txBody>
      </p:sp>
      <p:sp>
        <p:nvSpPr>
          <p:cNvPr id="29" name="Rectangle 28">
            <a:extLst>
              <a:ext uri="{FF2B5EF4-FFF2-40B4-BE49-F238E27FC236}">
                <a16:creationId xmlns:a16="http://schemas.microsoft.com/office/drawing/2014/main" id="{F283A4E1-B52B-6515-7F0F-B1D165318B2E}"/>
              </a:ext>
            </a:extLst>
          </p:cNvPr>
          <p:cNvSpPr/>
          <p:nvPr>
            <p:custDataLst>
              <p:tags r:id="rId19"/>
            </p:custDataLst>
          </p:nvPr>
        </p:nvSpPr>
        <p:spPr bwMode="gray">
          <a:xfrm>
            <a:off x="2473324" y="4311650"/>
            <a:ext cx="458788" cy="136525"/>
          </a:xfrm>
          <a:prstGeom prst="rect">
            <a:avLst/>
          </a:prstGeom>
          <a:no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lvl="0" algn="ctr">
              <a:lnSpc>
                <a:spcPct val="90000"/>
              </a:lnSpc>
              <a:spcBef>
                <a:spcPct val="0"/>
              </a:spcBef>
              <a:spcAft>
                <a:spcPct val="0"/>
              </a:spcAft>
              <a:defRPr/>
            </a:pPr>
            <a:fld id="{7124F6FF-3F39-4661-A9E1-2201727F40F0}" type="datetime'''''''''1''''''''''''''''9''''''''''''''''''.''''''0''''0''%'">
              <a:rPr lang="en-US" altLang="en-US" sz="1000" smtClean="0">
                <a:solidFill>
                  <a:srgbClr val="000000"/>
                </a:solidFill>
              </a:rPr>
              <a:pPr/>
              <a:t>19.00%</a:t>
            </a:fld>
            <a:endParaRPr kumimoji="0" lang="en-US" sz="1000" b="0" i="0" strike="noStrike" kern="1200" cap="none" spc="0" normalizeH="0" baseline="0" noProof="0">
              <a:ln>
                <a:noFill/>
              </a:ln>
              <a:solidFill>
                <a:srgbClr val="000000"/>
              </a:solidFill>
              <a:effectLst/>
              <a:uLnTx/>
              <a:uFillTx/>
            </a:endParaRPr>
          </a:p>
        </p:txBody>
      </p:sp>
      <p:sp>
        <p:nvSpPr>
          <p:cNvPr id="32" name="Rectangle 31">
            <a:extLst>
              <a:ext uri="{FF2B5EF4-FFF2-40B4-BE49-F238E27FC236}">
                <a16:creationId xmlns:a16="http://schemas.microsoft.com/office/drawing/2014/main" id="{848D158B-610F-DA26-94C0-E657FD4CF769}"/>
              </a:ext>
            </a:extLst>
          </p:cNvPr>
          <p:cNvSpPr/>
          <p:nvPr>
            <p:custDataLst>
              <p:tags r:id="rId20"/>
            </p:custDataLst>
          </p:nvPr>
        </p:nvSpPr>
        <p:spPr bwMode="gray">
          <a:xfrm>
            <a:off x="2482850" y="3810000"/>
            <a:ext cx="439738"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lvl="0" algn="ctr">
              <a:lnSpc>
                <a:spcPct val="90000"/>
              </a:lnSpc>
              <a:spcBef>
                <a:spcPct val="0"/>
              </a:spcBef>
              <a:spcAft>
                <a:spcPct val="0"/>
              </a:spcAft>
              <a:defRPr/>
            </a:pPr>
            <a:fld id="{5FC90223-DFEC-4ABF-9F8F-585DECF82CCD}" type="datetime'''''3''''''''3''.1''''''''''0%'''''''''''''''''''''''">
              <a:rPr lang="en-US" altLang="en-US" sz="1000" smtClean="0">
                <a:solidFill>
                  <a:srgbClr val="000000"/>
                </a:solidFill>
              </a:rPr>
              <a:pPr/>
              <a:t>33.10%</a:t>
            </a:fld>
            <a:endParaRPr kumimoji="0" lang="en-US" sz="1000" b="0" i="0" strike="noStrike" kern="1200" cap="none" spc="0" normalizeH="0" baseline="0" noProof="0">
              <a:ln>
                <a:noFill/>
              </a:ln>
              <a:solidFill>
                <a:srgbClr val="000000"/>
              </a:solidFill>
              <a:effectLst/>
              <a:uLnTx/>
              <a:uFillTx/>
            </a:endParaRPr>
          </a:p>
        </p:txBody>
      </p:sp>
      <p:sp>
        <p:nvSpPr>
          <p:cNvPr id="17" name="Text Placeholder 2">
            <a:extLst>
              <a:ext uri="{FF2B5EF4-FFF2-40B4-BE49-F238E27FC236}">
                <a16:creationId xmlns:a16="http://schemas.microsoft.com/office/drawing/2014/main" id="{720840D3-C78F-4BB4-1147-E8F1DDA9EC09}"/>
              </a:ext>
            </a:extLst>
          </p:cNvPr>
          <p:cNvSpPr>
            <a:spLocks noGrp="1" noChangeArrowheads="1"/>
          </p:cNvSpPr>
          <p:nvPr>
            <p:custDataLst>
              <p:tags r:id="rId21"/>
            </p:custDataLst>
          </p:nvPr>
        </p:nvSpPr>
        <p:spPr bwMode="auto">
          <a:xfrm>
            <a:off x="2484438" y="5675313"/>
            <a:ext cx="436563" cy="1301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defRPr/>
            </a:pPr>
            <a:fld id="{E96660CD-FFCB-40F4-BD3B-57BCDB8385FC}" type="datetime'''''''''''''''''''''M''a''y''''''’''2''''''''''''''''''4'">
              <a:rPr lang="en-US" altLang="en-US" sz="900" b="1" smtClean="0">
                <a:solidFill>
                  <a:srgbClr val="000000"/>
                </a:solidFill>
              </a:rPr>
              <a:pPr marL="0" lvl="0" indent="0" algn="ctr">
                <a:spcBef>
                  <a:spcPct val="0"/>
                </a:spcBef>
                <a:buNone/>
                <a:defRPr/>
              </a:pPr>
              <a:t>May’24</a:t>
            </a:fld>
            <a:endParaRPr kumimoji="0" lang="en-US" altLang="en-US" sz="900" b="1" i="0" strike="noStrike" kern="1200" cap="none" spc="0" normalizeH="0" baseline="0" noProof="0" dirty="0">
              <a:ln>
                <a:noFill/>
              </a:ln>
              <a:solidFill>
                <a:srgbClr val="000000"/>
              </a:solidFill>
              <a:effectLst/>
              <a:uLnTx/>
              <a:uFillTx/>
            </a:endParaRPr>
          </a:p>
        </p:txBody>
      </p:sp>
      <p:sp>
        <p:nvSpPr>
          <p:cNvPr id="55" name="Rectangle 54">
            <a:extLst>
              <a:ext uri="{FF2B5EF4-FFF2-40B4-BE49-F238E27FC236}">
                <a16:creationId xmlns:a16="http://schemas.microsoft.com/office/drawing/2014/main" id="{075B86B8-0F5C-1980-250D-2EDBA3BE0997}"/>
              </a:ext>
            </a:extLst>
          </p:cNvPr>
          <p:cNvSpPr/>
          <p:nvPr>
            <p:custDataLst>
              <p:tags r:id="rId22"/>
            </p:custDataLst>
          </p:nvPr>
        </p:nvSpPr>
        <p:spPr bwMode="gray">
          <a:xfrm>
            <a:off x="3263900" y="3116263"/>
            <a:ext cx="36830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lvl="0" algn="ctr">
              <a:lnSpc>
                <a:spcPct val="90000"/>
              </a:lnSpc>
              <a:spcBef>
                <a:spcPct val="0"/>
              </a:spcBef>
              <a:spcAft>
                <a:spcPct val="0"/>
              </a:spcAft>
              <a:defRPr/>
            </a:pPr>
            <a:fld id="{4BB4A2F6-82B3-40DB-AA83-0A36F07E421A}" type="datetime'''''''''4''''''''''''''''''''''''''''5''''''''.1%'''">
              <a:rPr lang="en-US" altLang="en-US" sz="1000" smtClean="0">
                <a:solidFill>
                  <a:srgbClr val="000000"/>
                </a:solidFill>
              </a:rPr>
              <a:pPr/>
              <a:t>45.1%</a:t>
            </a:fld>
            <a:endParaRPr kumimoji="0" lang="en-US" sz="1000" b="0" i="0" strike="noStrike" kern="1200" cap="none" spc="0" normalizeH="0" baseline="0" noProof="0">
              <a:ln>
                <a:noFill/>
              </a:ln>
              <a:solidFill>
                <a:srgbClr val="000000"/>
              </a:solidFill>
              <a:effectLst/>
              <a:uLnTx/>
              <a:uFillTx/>
            </a:endParaRPr>
          </a:p>
        </p:txBody>
      </p:sp>
      <p:sp>
        <p:nvSpPr>
          <p:cNvPr id="965" name="Rectangle 964">
            <a:extLst>
              <a:ext uri="{FF2B5EF4-FFF2-40B4-BE49-F238E27FC236}">
                <a16:creationId xmlns:a16="http://schemas.microsoft.com/office/drawing/2014/main" id="{1013207D-FD27-9EC0-2BF6-A7CC4E4A87EC}"/>
              </a:ext>
            </a:extLst>
          </p:cNvPr>
          <p:cNvSpPr/>
          <p:nvPr>
            <p:custDataLst>
              <p:tags r:id="rId23"/>
            </p:custDataLst>
          </p:nvPr>
        </p:nvSpPr>
        <p:spPr bwMode="gray">
          <a:xfrm>
            <a:off x="3260725" y="4776788"/>
            <a:ext cx="37465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lvl="0" algn="ctr">
              <a:lnSpc>
                <a:spcPct val="90000"/>
              </a:lnSpc>
              <a:spcBef>
                <a:spcPct val="0"/>
              </a:spcBef>
              <a:spcAft>
                <a:spcPct val="0"/>
              </a:spcAft>
              <a:defRPr/>
            </a:pPr>
            <a:fld id="{C2224B50-1BD9-4449-B4D0-69BE13A4FA68}" type="datetime'''''''''1''''''6''.''''''''''''4''''''''%'''''''''''''''''">
              <a:rPr lang="en-US" altLang="en-US" sz="1000" smtClean="0">
                <a:solidFill>
                  <a:srgbClr val="000000"/>
                </a:solidFill>
              </a:rPr>
              <a:pPr/>
              <a:t>16.4%</a:t>
            </a:fld>
            <a:endParaRPr kumimoji="0" lang="en-US" sz="1000" b="0" i="0" strike="noStrike" kern="1200" cap="none" spc="0" normalizeH="0" baseline="0" noProof="0">
              <a:ln>
                <a:noFill/>
              </a:ln>
              <a:solidFill>
                <a:srgbClr val="000000"/>
              </a:solidFill>
              <a:effectLst/>
              <a:uLnTx/>
              <a:uFillTx/>
            </a:endParaRPr>
          </a:p>
        </p:txBody>
      </p:sp>
      <p:sp>
        <p:nvSpPr>
          <p:cNvPr id="975" name="Rectangle 974">
            <a:extLst>
              <a:ext uri="{FF2B5EF4-FFF2-40B4-BE49-F238E27FC236}">
                <a16:creationId xmlns:a16="http://schemas.microsoft.com/office/drawing/2014/main" id="{ACFB8249-0A20-EFA2-9098-541948AD5E8C}"/>
              </a:ext>
            </a:extLst>
          </p:cNvPr>
          <p:cNvSpPr/>
          <p:nvPr>
            <p:custDataLst>
              <p:tags r:id="rId24"/>
            </p:custDataLst>
          </p:nvPr>
        </p:nvSpPr>
        <p:spPr bwMode="gray">
          <a:xfrm>
            <a:off x="3268664" y="4724400"/>
            <a:ext cx="358775"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lvl="0" algn="ctr">
              <a:lnSpc>
                <a:spcPct val="90000"/>
              </a:lnSpc>
              <a:spcBef>
                <a:spcPct val="0"/>
              </a:spcBef>
              <a:spcAft>
                <a:spcPct val="0"/>
              </a:spcAft>
              <a:defRPr/>
            </a:pPr>
            <a:fld id="{1C9DD10D-7969-4FD7-8F8C-997DBD5DB9EF}" type="datetime'''''1''''''''''''''''''''''''''7''''''.''3''''''''''''%'''">
              <a:rPr lang="en-US" altLang="en-US" sz="1000" smtClean="0">
                <a:solidFill>
                  <a:srgbClr val="000000"/>
                </a:solidFill>
              </a:rPr>
              <a:pPr/>
              <a:t>17.3%</a:t>
            </a:fld>
            <a:endParaRPr kumimoji="0" lang="en-US" sz="1000" b="0" i="0" strike="noStrike" kern="1200" cap="none" spc="0" normalizeH="0" baseline="0" noProof="0">
              <a:ln>
                <a:noFill/>
              </a:ln>
              <a:solidFill>
                <a:srgbClr val="000000"/>
              </a:solidFill>
              <a:effectLst/>
              <a:uLnTx/>
              <a:uFillTx/>
            </a:endParaRPr>
          </a:p>
        </p:txBody>
      </p:sp>
      <p:sp>
        <p:nvSpPr>
          <p:cNvPr id="980" name="Rectangle 979">
            <a:extLst>
              <a:ext uri="{FF2B5EF4-FFF2-40B4-BE49-F238E27FC236}">
                <a16:creationId xmlns:a16="http://schemas.microsoft.com/office/drawing/2014/main" id="{EAD0FE47-CB54-037F-4652-CFAD934EDDD6}"/>
              </a:ext>
            </a:extLst>
          </p:cNvPr>
          <p:cNvSpPr/>
          <p:nvPr>
            <p:custDataLst>
              <p:tags r:id="rId25"/>
            </p:custDataLst>
          </p:nvPr>
        </p:nvSpPr>
        <p:spPr bwMode="gray">
          <a:xfrm>
            <a:off x="495300" y="2686050"/>
            <a:ext cx="371475"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lvl="0" algn="ctr">
              <a:lnSpc>
                <a:spcPct val="90000"/>
              </a:lnSpc>
              <a:spcBef>
                <a:spcPct val="0"/>
              </a:spcBef>
              <a:spcAft>
                <a:spcPct val="0"/>
              </a:spcAft>
              <a:defRPr/>
            </a:pPr>
            <a:fld id="{D9BE0CE2-D0EA-46A3-8F61-1177737EBC16}" type="datetime'''''''''''''''47''.''''1''''''''''''''''''''''''''''''%'''''''">
              <a:rPr lang="en-US" altLang="en-US" sz="1000" smtClean="0">
                <a:solidFill>
                  <a:srgbClr val="000000"/>
                </a:solidFill>
              </a:rPr>
              <a:pPr/>
              <a:t>47.1%</a:t>
            </a:fld>
            <a:endParaRPr kumimoji="0" lang="en-US" sz="1000" b="0" i="0" strike="noStrike" kern="1200" cap="none" spc="0" normalizeH="0" baseline="0" noProof="0">
              <a:ln>
                <a:noFill/>
              </a:ln>
              <a:solidFill>
                <a:srgbClr val="000000"/>
              </a:solidFill>
              <a:effectLst/>
              <a:uLnTx/>
              <a:uFillTx/>
            </a:endParaRPr>
          </a:p>
        </p:txBody>
      </p:sp>
      <p:sp>
        <p:nvSpPr>
          <p:cNvPr id="1004" name="Rectangle 1003">
            <a:extLst>
              <a:ext uri="{FF2B5EF4-FFF2-40B4-BE49-F238E27FC236}">
                <a16:creationId xmlns:a16="http://schemas.microsoft.com/office/drawing/2014/main" id="{0704E091-6B2B-951F-13A6-11CF2D656E06}"/>
              </a:ext>
            </a:extLst>
          </p:cNvPr>
          <p:cNvSpPr/>
          <p:nvPr>
            <p:custDataLst>
              <p:tags r:id="rId26"/>
            </p:custDataLst>
          </p:nvPr>
        </p:nvSpPr>
        <p:spPr bwMode="gray">
          <a:xfrm>
            <a:off x="3265488" y="4098925"/>
            <a:ext cx="365125"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lvl="0" algn="ctr">
              <a:lnSpc>
                <a:spcPct val="90000"/>
              </a:lnSpc>
              <a:spcBef>
                <a:spcPct val="0"/>
              </a:spcBef>
              <a:spcAft>
                <a:spcPct val="0"/>
              </a:spcAft>
              <a:defRPr/>
            </a:pPr>
            <a:fld id="{72D2A5D8-1A15-47DA-826A-276B19176AF9}" type="datetime'''''2''''''''8''.''''''1''''''''''%'''''''''''''''''''''''''''">
              <a:rPr lang="en-US" altLang="en-US" sz="1000" smtClean="0">
                <a:solidFill>
                  <a:srgbClr val="000000"/>
                </a:solidFill>
              </a:rPr>
              <a:pPr/>
              <a:t>28.1%</a:t>
            </a:fld>
            <a:endParaRPr kumimoji="0" lang="en-US" sz="1000" b="0" i="0" strike="noStrike" kern="1200" cap="none" spc="0" normalizeH="0" baseline="0" noProof="0">
              <a:ln>
                <a:noFill/>
              </a:ln>
              <a:solidFill>
                <a:srgbClr val="000000"/>
              </a:solidFill>
              <a:effectLst/>
              <a:uLnTx/>
              <a:uFillTx/>
            </a:endParaRPr>
          </a:p>
        </p:txBody>
      </p:sp>
      <p:sp>
        <p:nvSpPr>
          <p:cNvPr id="20" name="Text Placeholder 2">
            <a:extLst>
              <a:ext uri="{FF2B5EF4-FFF2-40B4-BE49-F238E27FC236}">
                <a16:creationId xmlns:a16="http://schemas.microsoft.com/office/drawing/2014/main" id="{8D2E5F3B-C9F3-27B6-A273-5426BF503BF4}"/>
              </a:ext>
            </a:extLst>
          </p:cNvPr>
          <p:cNvSpPr>
            <a:spLocks noGrp="1" noChangeArrowheads="1"/>
          </p:cNvSpPr>
          <p:nvPr>
            <p:custDataLst>
              <p:tags r:id="rId27"/>
            </p:custDataLst>
          </p:nvPr>
        </p:nvSpPr>
        <p:spPr bwMode="auto">
          <a:xfrm>
            <a:off x="3232149" y="5675312"/>
            <a:ext cx="433388" cy="260350"/>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defRPr/>
            </a:pPr>
            <a:fld id="{0D89B567-AB2E-436B-B72D-845FFA591661}" type="datetime'''''''0''''''4''''''''''/''2''8'' -'' 0''''''5''''''/''''04'''">
              <a:rPr lang="en-US" altLang="en-US" sz="900" b="1" smtClean="0">
                <a:solidFill>
                  <a:srgbClr val="000000"/>
                </a:solidFill>
              </a:rPr>
              <a:pPr marL="0" lvl="0" indent="0" algn="ctr">
                <a:spcBef>
                  <a:spcPct val="0"/>
                </a:spcBef>
                <a:buNone/>
                <a:defRPr/>
              </a:pPr>
              <a:t>04/28 - 05/04</a:t>
            </a:fld>
            <a:endParaRPr kumimoji="0" lang="en-US" altLang="en-US" sz="900" b="1" i="0" strike="noStrike" kern="1200" cap="none" spc="0" normalizeH="0" baseline="0" noProof="0" dirty="0">
              <a:ln>
                <a:noFill/>
              </a:ln>
              <a:solidFill>
                <a:srgbClr val="000000"/>
              </a:solidFill>
              <a:effectLst/>
              <a:uLnTx/>
              <a:uFillTx/>
            </a:endParaRPr>
          </a:p>
        </p:txBody>
      </p:sp>
      <p:sp>
        <p:nvSpPr>
          <p:cNvPr id="61" name="Rectangle 60">
            <a:extLst>
              <a:ext uri="{FF2B5EF4-FFF2-40B4-BE49-F238E27FC236}">
                <a16:creationId xmlns:a16="http://schemas.microsoft.com/office/drawing/2014/main" id="{2EEF96AD-7A9C-6485-5CF6-3BDCCE58F363}"/>
              </a:ext>
            </a:extLst>
          </p:cNvPr>
          <p:cNvSpPr/>
          <p:nvPr>
            <p:custDataLst>
              <p:tags r:id="rId28"/>
            </p:custDataLst>
          </p:nvPr>
        </p:nvSpPr>
        <p:spPr bwMode="gray">
          <a:xfrm>
            <a:off x="4016375" y="2757488"/>
            <a:ext cx="35560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lvl="0" algn="ctr">
              <a:lnSpc>
                <a:spcPct val="90000"/>
              </a:lnSpc>
              <a:spcBef>
                <a:spcPct val="0"/>
              </a:spcBef>
              <a:spcAft>
                <a:spcPct val="0"/>
              </a:spcAft>
              <a:defRPr/>
            </a:pPr>
            <a:fld id="{B3A9D216-BD02-4553-A03A-65D6DF68A47D}" type="datetime'''''''''''''''''''''''''''''''5''''''''1''.''3''%'''''">
              <a:rPr lang="en-US" altLang="en-US" sz="1000" smtClean="0">
                <a:solidFill>
                  <a:srgbClr val="000000"/>
                </a:solidFill>
              </a:rPr>
              <a:pPr/>
              <a:t>51.3%</a:t>
            </a:fld>
            <a:endParaRPr kumimoji="0" lang="en-US" sz="1000" b="0" i="0" strike="noStrike" kern="1200" cap="none" spc="0" normalizeH="0" baseline="0" noProof="0">
              <a:ln>
                <a:noFill/>
              </a:ln>
              <a:solidFill>
                <a:srgbClr val="000000"/>
              </a:solidFill>
              <a:effectLst/>
              <a:uLnTx/>
              <a:uFillTx/>
            </a:endParaRPr>
          </a:p>
        </p:txBody>
      </p:sp>
      <p:sp>
        <p:nvSpPr>
          <p:cNvPr id="969" name="Rectangle 968">
            <a:extLst>
              <a:ext uri="{FF2B5EF4-FFF2-40B4-BE49-F238E27FC236}">
                <a16:creationId xmlns:a16="http://schemas.microsoft.com/office/drawing/2014/main" id="{2AAF4693-8FA0-9D0D-7D62-D551B41BA3D4}"/>
              </a:ext>
            </a:extLst>
          </p:cNvPr>
          <p:cNvSpPr/>
          <p:nvPr>
            <p:custDataLst>
              <p:tags r:id="rId29"/>
            </p:custDataLst>
          </p:nvPr>
        </p:nvSpPr>
        <p:spPr bwMode="gray">
          <a:xfrm>
            <a:off x="4011613" y="4706938"/>
            <a:ext cx="365125"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lvl="0" algn="ctr">
              <a:lnSpc>
                <a:spcPct val="90000"/>
              </a:lnSpc>
              <a:spcBef>
                <a:spcPct val="0"/>
              </a:spcBef>
              <a:spcAft>
                <a:spcPct val="0"/>
              </a:spcAft>
              <a:defRPr/>
            </a:pPr>
            <a:fld id="{D51B2B0F-D0A7-4620-B387-556B70103D72}" type="datetime'''''''''''1''''''''''7''.''''6''''''''''''%'''''''''''''">
              <a:rPr lang="en-US" altLang="en-US" sz="1000" smtClean="0">
                <a:solidFill>
                  <a:srgbClr val="000000"/>
                </a:solidFill>
              </a:rPr>
              <a:pPr/>
              <a:t>17.6%</a:t>
            </a:fld>
            <a:endParaRPr kumimoji="0" lang="en-US" sz="1000" b="0" i="0" strike="noStrike" kern="1200" cap="none" spc="0" normalizeH="0" baseline="0" noProof="0">
              <a:ln>
                <a:noFill/>
              </a:ln>
              <a:solidFill>
                <a:srgbClr val="000000"/>
              </a:solidFill>
              <a:effectLst/>
              <a:uLnTx/>
              <a:uFillTx/>
            </a:endParaRPr>
          </a:p>
        </p:txBody>
      </p:sp>
      <p:sp>
        <p:nvSpPr>
          <p:cNvPr id="996" name="Rectangle 995">
            <a:extLst>
              <a:ext uri="{FF2B5EF4-FFF2-40B4-BE49-F238E27FC236}">
                <a16:creationId xmlns:a16="http://schemas.microsoft.com/office/drawing/2014/main" id="{BEB0CDAF-BD13-7881-5250-0F1A26E2973E}"/>
              </a:ext>
            </a:extLst>
          </p:cNvPr>
          <p:cNvSpPr/>
          <p:nvPr>
            <p:custDataLst>
              <p:tags r:id="rId30"/>
            </p:custDataLst>
          </p:nvPr>
        </p:nvSpPr>
        <p:spPr bwMode="gray">
          <a:xfrm>
            <a:off x="3997324" y="4429125"/>
            <a:ext cx="39370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lvl="0" algn="ctr">
              <a:lnSpc>
                <a:spcPct val="90000"/>
              </a:lnSpc>
              <a:spcBef>
                <a:spcPct val="0"/>
              </a:spcBef>
              <a:spcAft>
                <a:spcPct val="0"/>
              </a:spcAft>
              <a:defRPr/>
            </a:pPr>
            <a:fld id="{0BC997E6-82A9-4B3D-8012-DC98C9578D4D}" type="datetime'''''''''''''2''2''''''''''''''.''''''''''''''''''''''4%'''">
              <a:rPr lang="en-US" altLang="en-US" sz="1000" smtClean="0">
                <a:solidFill>
                  <a:srgbClr val="000000"/>
                </a:solidFill>
              </a:rPr>
              <a:pPr/>
              <a:t>22.4%</a:t>
            </a:fld>
            <a:endParaRPr kumimoji="0" lang="en-US" sz="1000" b="0" i="0" strike="noStrike" kern="1200" cap="none" spc="0" normalizeH="0" baseline="0" noProof="0">
              <a:ln>
                <a:noFill/>
              </a:ln>
              <a:solidFill>
                <a:srgbClr val="000000"/>
              </a:solidFill>
              <a:effectLst/>
              <a:uLnTx/>
              <a:uFillTx/>
            </a:endParaRPr>
          </a:p>
        </p:txBody>
      </p:sp>
      <p:sp>
        <p:nvSpPr>
          <p:cNvPr id="981" name="Rectangle 980">
            <a:extLst>
              <a:ext uri="{FF2B5EF4-FFF2-40B4-BE49-F238E27FC236}">
                <a16:creationId xmlns:a16="http://schemas.microsoft.com/office/drawing/2014/main" id="{791D9F6E-B0A0-05CD-6743-D82CB6C491B8}"/>
              </a:ext>
            </a:extLst>
          </p:cNvPr>
          <p:cNvSpPr/>
          <p:nvPr>
            <p:custDataLst>
              <p:tags r:id="rId31"/>
            </p:custDataLst>
          </p:nvPr>
        </p:nvSpPr>
        <p:spPr bwMode="gray">
          <a:xfrm>
            <a:off x="495300" y="4706938"/>
            <a:ext cx="365125" cy="136525"/>
          </a:xfrm>
          <a:prstGeom prst="rect">
            <a:avLst/>
          </a:prstGeom>
          <a:no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lvl="0" algn="ctr">
              <a:lnSpc>
                <a:spcPct val="90000"/>
              </a:lnSpc>
              <a:spcBef>
                <a:spcPct val="0"/>
              </a:spcBef>
              <a:spcAft>
                <a:spcPct val="0"/>
              </a:spcAft>
              <a:defRPr/>
            </a:pPr>
            <a:fld id="{74B11B93-CBFE-4758-90F7-C8D3E9366606}" type="datetime'''''''''''''''''''''''1''7''''''''''''.''''''''6''''%'">
              <a:rPr lang="en-US" altLang="en-US" sz="1000" smtClean="0">
                <a:solidFill>
                  <a:srgbClr val="000000"/>
                </a:solidFill>
              </a:rPr>
              <a:pPr/>
              <a:t>17.6%</a:t>
            </a:fld>
            <a:endParaRPr kumimoji="0" lang="en-US" sz="1000" b="0" i="0" strike="noStrike" kern="1200" cap="none" spc="0" normalizeH="0" baseline="0" noProof="0">
              <a:ln>
                <a:noFill/>
              </a:ln>
              <a:solidFill>
                <a:srgbClr val="000000"/>
              </a:solidFill>
              <a:effectLst/>
              <a:uLnTx/>
              <a:uFillTx/>
            </a:endParaRPr>
          </a:p>
        </p:txBody>
      </p:sp>
      <p:sp>
        <p:nvSpPr>
          <p:cNvPr id="1008" name="Rectangle 1007">
            <a:extLst>
              <a:ext uri="{FF2B5EF4-FFF2-40B4-BE49-F238E27FC236}">
                <a16:creationId xmlns:a16="http://schemas.microsoft.com/office/drawing/2014/main" id="{BF76981E-5A1F-7517-AA92-1F05CF6C5325}"/>
              </a:ext>
            </a:extLst>
          </p:cNvPr>
          <p:cNvSpPr/>
          <p:nvPr>
            <p:custDataLst>
              <p:tags r:id="rId32"/>
            </p:custDataLst>
          </p:nvPr>
        </p:nvSpPr>
        <p:spPr bwMode="gray">
          <a:xfrm>
            <a:off x="3997324" y="3873500"/>
            <a:ext cx="39370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lvl="0" algn="ctr">
              <a:lnSpc>
                <a:spcPct val="90000"/>
              </a:lnSpc>
              <a:spcBef>
                <a:spcPct val="0"/>
              </a:spcBef>
              <a:spcAft>
                <a:spcPct val="0"/>
              </a:spcAft>
              <a:defRPr/>
            </a:pPr>
            <a:fld id="{1A3072BA-E123-4875-8047-D9E836DCFD11}" type="datetime'''''''''''''''3''2''.''''''''0''''''%'''''''''''''''''''''''''">
              <a:rPr lang="en-US" altLang="en-US" sz="1000" smtClean="0">
                <a:solidFill>
                  <a:srgbClr val="000000"/>
                </a:solidFill>
              </a:rPr>
              <a:pPr/>
              <a:t>32.0%</a:t>
            </a:fld>
            <a:endParaRPr kumimoji="0" lang="en-US" sz="1000" b="0" i="0" strike="noStrike" kern="1200" cap="none" spc="0" normalizeH="0" baseline="0" noProof="0">
              <a:ln>
                <a:noFill/>
              </a:ln>
              <a:solidFill>
                <a:srgbClr val="000000"/>
              </a:solidFill>
              <a:effectLst/>
              <a:uLnTx/>
              <a:uFillTx/>
            </a:endParaRPr>
          </a:p>
        </p:txBody>
      </p:sp>
      <p:sp>
        <p:nvSpPr>
          <p:cNvPr id="35" name="Text Placeholder 2">
            <a:extLst>
              <a:ext uri="{FF2B5EF4-FFF2-40B4-BE49-F238E27FC236}">
                <a16:creationId xmlns:a16="http://schemas.microsoft.com/office/drawing/2014/main" id="{54A3D052-0243-2F82-1F2A-B1BF6766016C}"/>
              </a:ext>
            </a:extLst>
          </p:cNvPr>
          <p:cNvSpPr>
            <a:spLocks noGrp="1" noChangeArrowheads="1"/>
          </p:cNvSpPr>
          <p:nvPr>
            <p:custDataLst>
              <p:tags r:id="rId33"/>
            </p:custDataLst>
          </p:nvPr>
        </p:nvSpPr>
        <p:spPr bwMode="auto">
          <a:xfrm>
            <a:off x="3825874" y="5675314"/>
            <a:ext cx="736600" cy="1301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defRPr/>
            </a:pPr>
            <a:fld id="{7C1F733F-D6B9-41AF-B7A2-F0BF7DCE28F0}" type="datetime'05''''''/''''''''''0''5 ''''- 0''5''''''''''''/''''1''1'''''">
              <a:rPr lang="en-US" altLang="en-US" sz="900" b="1" smtClean="0">
                <a:solidFill>
                  <a:srgbClr val="000000"/>
                </a:solidFill>
              </a:rPr>
              <a:pPr/>
              <a:t>05/05 - 05/11</a:t>
            </a:fld>
            <a:endParaRPr kumimoji="0" lang="en-US" altLang="en-US" sz="900" b="1" i="0" strike="noStrike" kern="1200" cap="none" spc="0" normalizeH="0" baseline="0" noProof="0">
              <a:ln>
                <a:noFill/>
              </a:ln>
              <a:solidFill>
                <a:srgbClr val="000000"/>
              </a:solidFill>
              <a:effectLst/>
              <a:uLnTx/>
              <a:uFillTx/>
            </a:endParaRPr>
          </a:p>
        </p:txBody>
      </p:sp>
      <p:sp>
        <p:nvSpPr>
          <p:cNvPr id="962" name="Rectangle 961">
            <a:extLst>
              <a:ext uri="{FF2B5EF4-FFF2-40B4-BE49-F238E27FC236}">
                <a16:creationId xmlns:a16="http://schemas.microsoft.com/office/drawing/2014/main" id="{E454DE91-5A1D-6ECB-4640-255EECD02C3B}"/>
              </a:ext>
            </a:extLst>
          </p:cNvPr>
          <p:cNvSpPr/>
          <p:nvPr>
            <p:custDataLst>
              <p:tags r:id="rId34"/>
            </p:custDataLst>
          </p:nvPr>
        </p:nvSpPr>
        <p:spPr bwMode="gray">
          <a:xfrm>
            <a:off x="4735513" y="2913063"/>
            <a:ext cx="409575"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lvl="0" algn="ctr">
              <a:lnSpc>
                <a:spcPct val="90000"/>
              </a:lnSpc>
              <a:spcBef>
                <a:spcPct val="0"/>
              </a:spcBef>
              <a:spcAft>
                <a:spcPct val="0"/>
              </a:spcAft>
              <a:defRPr/>
            </a:pPr>
            <a:fld id="{A9213ACB-E905-4737-A39C-0122E2A3AF88}" type="datetime'''''''''''''''''''''''''''''4''''8''''''''.''''''6%'''''''''''">
              <a:rPr lang="en-US" altLang="en-US" sz="1000" smtClean="0">
                <a:solidFill>
                  <a:srgbClr val="000000"/>
                </a:solidFill>
              </a:rPr>
              <a:pPr/>
              <a:t>48.6%</a:t>
            </a:fld>
            <a:endParaRPr kumimoji="0" lang="en-US" sz="1000" b="0" i="0" strike="noStrike" kern="1200" cap="none" spc="0" normalizeH="0" baseline="0" noProof="0">
              <a:ln>
                <a:noFill/>
              </a:ln>
              <a:solidFill>
                <a:srgbClr val="000000"/>
              </a:solidFill>
              <a:effectLst/>
              <a:uLnTx/>
              <a:uFillTx/>
            </a:endParaRPr>
          </a:p>
        </p:txBody>
      </p:sp>
      <p:sp>
        <p:nvSpPr>
          <p:cNvPr id="972" name="Rectangle 971">
            <a:extLst>
              <a:ext uri="{FF2B5EF4-FFF2-40B4-BE49-F238E27FC236}">
                <a16:creationId xmlns:a16="http://schemas.microsoft.com/office/drawing/2014/main" id="{BDC678E8-F23D-3596-75BE-E73B8ACB99C8}"/>
              </a:ext>
            </a:extLst>
          </p:cNvPr>
          <p:cNvSpPr/>
          <p:nvPr>
            <p:custDataLst>
              <p:tags r:id="rId35"/>
            </p:custDataLst>
          </p:nvPr>
        </p:nvSpPr>
        <p:spPr bwMode="gray">
          <a:xfrm>
            <a:off x="4760913" y="4713288"/>
            <a:ext cx="358775"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lvl="0" algn="ctr">
              <a:lnSpc>
                <a:spcPct val="90000"/>
              </a:lnSpc>
              <a:spcBef>
                <a:spcPct val="0"/>
              </a:spcBef>
              <a:spcAft>
                <a:spcPct val="0"/>
              </a:spcAft>
              <a:defRPr/>
            </a:pPr>
            <a:fld id="{DEBFBE2D-D4A2-4024-A177-E9BCBBE35D0F}" type="datetime'1''7''.''''''''''''''''''''5''''''''''''%'''''''''''">
              <a:rPr lang="en-US" altLang="en-US" sz="1000" smtClean="0">
                <a:solidFill>
                  <a:srgbClr val="000000"/>
                </a:solidFill>
              </a:rPr>
              <a:pPr/>
              <a:t>17.5%</a:t>
            </a:fld>
            <a:endParaRPr kumimoji="0" lang="en-US" sz="1000" b="0" i="0" strike="noStrike" kern="1200" cap="none" spc="0" normalizeH="0" baseline="0" noProof="0">
              <a:ln>
                <a:noFill/>
              </a:ln>
              <a:solidFill>
                <a:srgbClr val="000000"/>
              </a:solidFill>
              <a:effectLst/>
              <a:uLnTx/>
              <a:uFillTx/>
            </a:endParaRPr>
          </a:p>
        </p:txBody>
      </p:sp>
      <p:sp>
        <p:nvSpPr>
          <p:cNvPr id="982" name="Rectangle 981">
            <a:extLst>
              <a:ext uri="{FF2B5EF4-FFF2-40B4-BE49-F238E27FC236}">
                <a16:creationId xmlns:a16="http://schemas.microsoft.com/office/drawing/2014/main" id="{8AFC986B-AEC5-439B-E88A-B84CC616E260}"/>
              </a:ext>
            </a:extLst>
          </p:cNvPr>
          <p:cNvSpPr/>
          <p:nvPr>
            <p:custDataLst>
              <p:tags r:id="rId36"/>
            </p:custDataLst>
          </p:nvPr>
        </p:nvSpPr>
        <p:spPr bwMode="gray">
          <a:xfrm>
            <a:off x="495300" y="4248150"/>
            <a:ext cx="36830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lvl="0" algn="ctr">
              <a:lnSpc>
                <a:spcPct val="90000"/>
              </a:lnSpc>
              <a:spcBef>
                <a:spcPct val="0"/>
              </a:spcBef>
              <a:spcAft>
                <a:spcPct val="0"/>
              </a:spcAft>
              <a:defRPr/>
            </a:pPr>
            <a:fld id="{3D4733CB-C383-4D67-BE46-BD2C9234015E}" type="datetime'2''''''''''''''''''0.''1''''%'''''''''''''''''''">
              <a:rPr lang="en-US" altLang="en-US" sz="1000" smtClean="0">
                <a:solidFill>
                  <a:srgbClr val="000000"/>
                </a:solidFill>
              </a:rPr>
              <a:pPr/>
              <a:t>20.1%</a:t>
            </a:fld>
            <a:endParaRPr kumimoji="0" lang="en-US" sz="1000" b="0" i="0" strike="noStrike" kern="1200" cap="none" spc="0" normalizeH="0" baseline="0" noProof="0">
              <a:ln>
                <a:noFill/>
              </a:ln>
              <a:solidFill>
                <a:srgbClr val="000000"/>
              </a:solidFill>
              <a:effectLst/>
              <a:uLnTx/>
              <a:uFillTx/>
            </a:endParaRPr>
          </a:p>
        </p:txBody>
      </p:sp>
      <p:sp>
        <p:nvSpPr>
          <p:cNvPr id="983" name="Rectangle 982">
            <a:extLst>
              <a:ext uri="{FF2B5EF4-FFF2-40B4-BE49-F238E27FC236}">
                <a16:creationId xmlns:a16="http://schemas.microsoft.com/office/drawing/2014/main" id="{788EB420-75EC-8ACF-E227-F55255C1DE41}"/>
              </a:ext>
            </a:extLst>
          </p:cNvPr>
          <p:cNvSpPr/>
          <p:nvPr>
            <p:custDataLst>
              <p:tags r:id="rId37"/>
            </p:custDataLst>
          </p:nvPr>
        </p:nvSpPr>
        <p:spPr bwMode="gray">
          <a:xfrm>
            <a:off x="495300" y="3646488"/>
            <a:ext cx="39370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lvl="0" algn="ctr">
              <a:lnSpc>
                <a:spcPct val="90000"/>
              </a:lnSpc>
              <a:spcBef>
                <a:spcPct val="0"/>
              </a:spcBef>
              <a:spcAft>
                <a:spcPct val="0"/>
              </a:spcAft>
              <a:defRPr/>
            </a:pPr>
            <a:fld id="{8C66C84F-9AFD-418C-9F3B-7EE88EEB73DC}" type="datetime'''''''''''''''30''''''''''''''.''''''5''''''''''%'''''">
              <a:rPr lang="en-US" altLang="en-US" sz="1000" smtClean="0">
                <a:solidFill>
                  <a:srgbClr val="000000"/>
                </a:solidFill>
              </a:rPr>
              <a:pPr/>
              <a:t>30.5%</a:t>
            </a:fld>
            <a:endParaRPr kumimoji="0" lang="en-US" sz="1000" b="0" i="0" strike="noStrike" kern="1200" cap="none" spc="0" normalizeH="0" baseline="0" noProof="0">
              <a:ln>
                <a:noFill/>
              </a:ln>
              <a:solidFill>
                <a:srgbClr val="000000"/>
              </a:solidFill>
              <a:effectLst/>
              <a:uLnTx/>
              <a:uFillTx/>
            </a:endParaRPr>
          </a:p>
        </p:txBody>
      </p:sp>
      <p:sp>
        <p:nvSpPr>
          <p:cNvPr id="1015" name="Rectangle 1014">
            <a:extLst>
              <a:ext uri="{FF2B5EF4-FFF2-40B4-BE49-F238E27FC236}">
                <a16:creationId xmlns:a16="http://schemas.microsoft.com/office/drawing/2014/main" id="{F565F819-0384-AF18-02D0-A864E8F5DC16}"/>
              </a:ext>
            </a:extLst>
          </p:cNvPr>
          <p:cNvSpPr/>
          <p:nvPr>
            <p:custDataLst>
              <p:tags r:id="rId38"/>
            </p:custDataLst>
          </p:nvPr>
        </p:nvSpPr>
        <p:spPr bwMode="gray">
          <a:xfrm>
            <a:off x="4759325" y="3879850"/>
            <a:ext cx="36195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lvl="0" algn="ctr">
              <a:lnSpc>
                <a:spcPct val="90000"/>
              </a:lnSpc>
              <a:spcBef>
                <a:spcPct val="0"/>
              </a:spcBef>
              <a:spcAft>
                <a:spcPct val="0"/>
              </a:spcAft>
              <a:defRPr/>
            </a:pPr>
            <a:fld id="{1D5113D0-E6BA-43E7-A47E-E51700147F5A}" type="datetime'''3''1''.''''''''''''''''''''''''''''''''9''''''%'''''''''">
              <a:rPr lang="en-US" altLang="en-US" sz="1000" smtClean="0">
                <a:solidFill>
                  <a:srgbClr val="000000"/>
                </a:solidFill>
              </a:rPr>
              <a:pPr/>
              <a:t>31.9%</a:t>
            </a:fld>
            <a:endParaRPr kumimoji="0" lang="en-US" sz="1000" b="0" i="0" strike="noStrike" kern="1200" cap="none" spc="0" normalizeH="0" baseline="0" noProof="0">
              <a:ln>
                <a:noFill/>
              </a:ln>
              <a:solidFill>
                <a:srgbClr val="000000"/>
              </a:solidFill>
              <a:effectLst/>
              <a:uLnTx/>
              <a:uFillTx/>
            </a:endParaRPr>
          </a:p>
        </p:txBody>
      </p:sp>
      <p:sp>
        <p:nvSpPr>
          <p:cNvPr id="57" name="Text Placeholder 2">
            <a:extLst>
              <a:ext uri="{FF2B5EF4-FFF2-40B4-BE49-F238E27FC236}">
                <a16:creationId xmlns:a16="http://schemas.microsoft.com/office/drawing/2014/main" id="{B2AE5802-4B5F-60C6-AC8C-F169DAEC8251}"/>
              </a:ext>
            </a:extLst>
          </p:cNvPr>
          <p:cNvSpPr>
            <a:spLocks noGrp="1" noChangeArrowheads="1"/>
          </p:cNvSpPr>
          <p:nvPr>
            <p:custDataLst>
              <p:tags r:id="rId39"/>
            </p:custDataLst>
          </p:nvPr>
        </p:nvSpPr>
        <p:spPr bwMode="auto">
          <a:xfrm>
            <a:off x="4573588" y="5675314"/>
            <a:ext cx="733425" cy="1301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defRPr/>
            </a:pPr>
            <a:fld id="{1EE650D4-8350-4602-8B3E-5883EC5001A8}" type="datetime'''''0''''''5''''''''''''/''''''''1''2 ''''- ''05''/''''''18'''">
              <a:rPr lang="en-US" altLang="en-US" sz="900" b="1" smtClean="0">
                <a:solidFill>
                  <a:srgbClr val="000000"/>
                </a:solidFill>
              </a:rPr>
              <a:pPr/>
              <a:t>05/12 - 05/18</a:t>
            </a:fld>
            <a:endParaRPr kumimoji="0" lang="en-US" altLang="en-US" sz="900" b="1" i="0" strike="noStrike" kern="1200" cap="none" spc="0" normalizeH="0" baseline="0" noProof="0" dirty="0">
              <a:ln>
                <a:noFill/>
              </a:ln>
              <a:solidFill>
                <a:srgbClr val="000000"/>
              </a:solidFill>
              <a:effectLst/>
              <a:uLnTx/>
              <a:uFillTx/>
            </a:endParaRPr>
          </a:p>
        </p:txBody>
      </p:sp>
      <p:sp>
        <p:nvSpPr>
          <p:cNvPr id="59" name="Text Placeholder 2">
            <a:extLst>
              <a:ext uri="{FF2B5EF4-FFF2-40B4-BE49-F238E27FC236}">
                <a16:creationId xmlns:a16="http://schemas.microsoft.com/office/drawing/2014/main" id="{0D6219EF-FE5D-DB27-808E-31435B824585}"/>
              </a:ext>
            </a:extLst>
          </p:cNvPr>
          <p:cNvSpPr>
            <a:spLocks noGrp="1" noChangeArrowheads="1"/>
          </p:cNvSpPr>
          <p:nvPr>
            <p:custDataLst>
              <p:tags r:id="rId40"/>
            </p:custDataLst>
          </p:nvPr>
        </p:nvSpPr>
        <p:spPr bwMode="auto">
          <a:xfrm>
            <a:off x="5487989" y="5675312"/>
            <a:ext cx="396875" cy="260350"/>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defRPr/>
            </a:pPr>
            <a:fld id="{2FA1EF27-45A3-4DC3-B6FD-4AE72C9981BB}" type="datetime'''''''''0''''''5/''1''''''''''''9'' ''-'''' ''''''''05/2''5'''">
              <a:rPr lang="en-US" altLang="en-US" sz="900" b="1" smtClean="0">
                <a:solidFill>
                  <a:srgbClr val="000000"/>
                </a:solidFill>
              </a:rPr>
              <a:pPr/>
              <a:t>05/19 - 05/25</a:t>
            </a:fld>
            <a:endParaRPr kumimoji="0" lang="en-US" altLang="en-US" sz="900" b="1" i="0" strike="noStrike" kern="1200" cap="none" spc="0" normalizeH="0" baseline="0" noProof="0">
              <a:ln>
                <a:noFill/>
              </a:ln>
              <a:solidFill>
                <a:srgbClr val="000000"/>
              </a:solidFill>
              <a:effectLst/>
              <a:uLnTx/>
              <a:uFillTx/>
            </a:endParaRPr>
          </a:p>
        </p:txBody>
      </p:sp>
      <p:sp useBgFill="1">
        <p:nvSpPr>
          <p:cNvPr id="1000" name="Rectangle 999">
            <a:extLst>
              <a:ext uri="{FF2B5EF4-FFF2-40B4-BE49-F238E27FC236}">
                <a16:creationId xmlns:a16="http://schemas.microsoft.com/office/drawing/2014/main" id="{9C434E43-0545-9887-95BA-28D4F0F827EA}"/>
              </a:ext>
            </a:extLst>
          </p:cNvPr>
          <p:cNvSpPr/>
          <p:nvPr>
            <p:custDataLst>
              <p:tags r:id="rId41"/>
            </p:custDataLst>
          </p:nvPr>
        </p:nvSpPr>
        <p:spPr bwMode="gray">
          <a:xfrm>
            <a:off x="4740275" y="4533900"/>
            <a:ext cx="400050" cy="136525"/>
          </a:xfrm>
          <a:prstGeom prst="rect">
            <a:avLst/>
          </a:pr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lvl="0" algn="ctr">
              <a:lnSpc>
                <a:spcPct val="90000"/>
              </a:lnSpc>
              <a:spcBef>
                <a:spcPct val="0"/>
              </a:spcBef>
              <a:spcAft>
                <a:spcPct val="0"/>
              </a:spcAft>
              <a:defRPr/>
            </a:pPr>
            <a:fld id="{C4062D51-E329-495F-B59E-9BFD6AD03995}" type="datetime'''''''''''20''''''.''''''''6''''''''''''''''%'''''''''''''">
              <a:rPr lang="en-US" altLang="en-US" sz="1000" smtClean="0">
                <a:solidFill>
                  <a:srgbClr val="000000"/>
                </a:solidFill>
              </a:rPr>
              <a:pPr/>
              <a:t>20.6%</a:t>
            </a:fld>
            <a:endParaRPr kumimoji="0" lang="en-US" sz="1000" b="0" i="0" strike="noStrike" kern="1200" cap="none" spc="0" normalizeH="0" baseline="0" noProof="0">
              <a:ln>
                <a:noFill/>
              </a:ln>
              <a:solidFill>
                <a:srgbClr val="000000"/>
              </a:solidFill>
              <a:effectLst/>
              <a:uLnTx/>
              <a:uFillTx/>
            </a:endParaRPr>
          </a:p>
        </p:txBody>
      </p:sp>
      <p:sp>
        <p:nvSpPr>
          <p:cNvPr id="34" name="Rectangle 33">
            <a:extLst>
              <a:ext uri="{FF2B5EF4-FFF2-40B4-BE49-F238E27FC236}">
                <a16:creationId xmlns:a16="http://schemas.microsoft.com/office/drawing/2014/main" id="{0C986A83-ACC3-B69C-0B77-19433D9A9648}"/>
              </a:ext>
            </a:extLst>
          </p:cNvPr>
          <p:cNvSpPr/>
          <p:nvPr>
            <p:custDataLst>
              <p:tags r:id="rId42"/>
            </p:custDataLst>
          </p:nvPr>
        </p:nvSpPr>
        <p:spPr bwMode="gray">
          <a:xfrm>
            <a:off x="5283200" y="4752975"/>
            <a:ext cx="371475"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lvl="0" algn="ctr">
              <a:lnSpc>
                <a:spcPct val="90000"/>
              </a:lnSpc>
              <a:spcBef>
                <a:spcPct val="0"/>
              </a:spcBef>
              <a:spcAft>
                <a:spcPct val="0"/>
              </a:spcAft>
              <a:defRPr/>
            </a:pPr>
            <a:fld id="{181954DB-1632-4C90-8616-AEE3D0F22B09}" type="datetime'''''''1''''6.8''''''''''''%'''''''''''''''''''''''''">
              <a:rPr lang="en-US" altLang="en-US" sz="1000" smtClean="0">
                <a:solidFill>
                  <a:srgbClr val="000000"/>
                </a:solidFill>
              </a:rPr>
              <a:pPr/>
              <a:t>16.8%</a:t>
            </a:fld>
            <a:endParaRPr kumimoji="0" lang="en-US" sz="1000" b="0" i="0" strike="noStrike" kern="1200" cap="none" spc="0" normalizeH="0" baseline="0" noProof="0">
              <a:ln>
                <a:noFill/>
              </a:ln>
              <a:solidFill>
                <a:srgbClr val="000000"/>
              </a:solidFill>
              <a:effectLst/>
              <a:uLnTx/>
              <a:uFillTx/>
            </a:endParaRPr>
          </a:p>
        </p:txBody>
      </p:sp>
      <p:sp useBgFill="1">
        <p:nvSpPr>
          <p:cNvPr id="38" name="Rectangle 37">
            <a:extLst>
              <a:ext uri="{FF2B5EF4-FFF2-40B4-BE49-F238E27FC236}">
                <a16:creationId xmlns:a16="http://schemas.microsoft.com/office/drawing/2014/main" id="{D3A901E0-B205-8CE7-7D84-CE6AE47F93B3}"/>
              </a:ext>
            </a:extLst>
          </p:cNvPr>
          <p:cNvSpPr/>
          <p:nvPr>
            <p:custDataLst>
              <p:tags r:id="rId43"/>
            </p:custDataLst>
          </p:nvPr>
        </p:nvSpPr>
        <p:spPr bwMode="gray">
          <a:xfrm>
            <a:off x="5260975" y="4551363"/>
            <a:ext cx="393700" cy="136525"/>
          </a:xfrm>
          <a:prstGeom prst="rect">
            <a:avLst/>
          </a:pr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lvl="0" algn="ctr">
              <a:lnSpc>
                <a:spcPct val="90000"/>
              </a:lnSpc>
              <a:spcBef>
                <a:spcPct val="0"/>
              </a:spcBef>
              <a:spcAft>
                <a:spcPct val="0"/>
              </a:spcAft>
              <a:defRPr/>
            </a:pPr>
            <a:fld id="{F778F6E3-4103-41D1-8C90-6A7E00363EE0}" type="datetime'''''''2''''''0''.''''''''''''''''''3''''''''''''''%'''''''''">
              <a:rPr lang="en-US" altLang="en-US" sz="1000" smtClean="0">
                <a:solidFill>
                  <a:srgbClr val="000000"/>
                </a:solidFill>
              </a:rPr>
              <a:pPr/>
              <a:t>20.3%</a:t>
            </a:fld>
            <a:endParaRPr kumimoji="0" lang="en-US" sz="1000" b="0" i="0" strike="noStrike" kern="1200" cap="none" spc="0" normalizeH="0" baseline="0" noProof="0">
              <a:ln>
                <a:noFill/>
              </a:ln>
              <a:solidFill>
                <a:srgbClr val="000000"/>
              </a:solidFill>
              <a:effectLst/>
              <a:uLnTx/>
              <a:uFillTx/>
            </a:endParaRPr>
          </a:p>
        </p:txBody>
      </p:sp>
      <p:sp>
        <p:nvSpPr>
          <p:cNvPr id="537" name="Text Placeholder 2">
            <a:extLst>
              <a:ext uri="{FF2B5EF4-FFF2-40B4-BE49-F238E27FC236}">
                <a16:creationId xmlns:a16="http://schemas.microsoft.com/office/drawing/2014/main" id="{A0D026F9-AA22-CF48-0ABA-D8B0ADCA4210}"/>
              </a:ext>
            </a:extLst>
          </p:cNvPr>
          <p:cNvSpPr>
            <a:spLocks noGrp="1" noChangeArrowheads="1"/>
          </p:cNvSpPr>
          <p:nvPr>
            <p:custDataLst>
              <p:tags r:id="rId44"/>
            </p:custDataLst>
          </p:nvPr>
        </p:nvSpPr>
        <p:spPr bwMode="auto">
          <a:xfrm>
            <a:off x="346075" y="5675313"/>
            <a:ext cx="236538" cy="1301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base" latinLnBrk="0" hangingPunct="1">
              <a:lnSpc>
                <a:spcPct val="95000"/>
              </a:lnSpc>
              <a:spcBef>
                <a:spcPct val="0"/>
              </a:spcBef>
              <a:spcAft>
                <a:spcPct val="0"/>
              </a:spcAft>
              <a:buClrTx/>
              <a:buSzTx/>
              <a:buFont typeface="Arial" panose="020B0604020202020204" pitchFamily="34" charset="0"/>
              <a:buNone/>
              <a:tabLst/>
              <a:defRPr/>
            </a:pPr>
            <a:fld id="{55CBDB9F-6095-4F21-97F8-677C4D137C0A}" type="datetime'F''''''e''b'''''''''''''''''''''''''''''''''''">
              <a:rPr kumimoji="0" lang="en-US" altLang="en-US" sz="900" b="1" i="0" u="none" strike="noStrike" kern="1200" cap="none" spc="0" normalizeH="0" baseline="0" noProof="0" smtClean="0">
                <a:ln>
                  <a:noFill/>
                </a:ln>
                <a:solidFill>
                  <a:srgbClr val="000000"/>
                </a:solidFill>
                <a:effectLst/>
                <a:uLnTx/>
                <a:uFillTx/>
                <a:latin typeface="Montserrat"/>
                <a:ea typeface="+mn-ea"/>
                <a:cs typeface="+mn-cs"/>
              </a:rPr>
              <a:pPr marL="0" marR="0" lvl="0" indent="0" algn="ctr" defTabSz="914400" rtl="0" eaLnBrk="1" fontAlgn="base" latinLnBrk="0" hangingPunct="1">
                <a:lnSpc>
                  <a:spcPct val="95000"/>
                </a:lnSpc>
                <a:spcBef>
                  <a:spcPct val="0"/>
                </a:spcBef>
                <a:spcAft>
                  <a:spcPct val="0"/>
                </a:spcAft>
                <a:buClrTx/>
                <a:buSzTx/>
                <a:buFont typeface="Arial" panose="020B0604020202020204" pitchFamily="34" charset="0"/>
                <a:buNone/>
                <a:tabLst/>
                <a:defRPr/>
              </a:pPr>
              <a:t>Feb</a:t>
            </a:fld>
            <a:endParaRPr kumimoji="0" lang="en-US" altLang="en-US" sz="900" b="1" i="0" u="none" strike="noStrike" kern="1200" cap="none" spc="0" normalizeH="0" baseline="0" noProof="0">
              <a:ln>
                <a:noFill/>
              </a:ln>
              <a:solidFill>
                <a:srgbClr val="000000"/>
              </a:solidFill>
              <a:effectLst/>
              <a:uLnTx/>
              <a:uFillTx/>
              <a:latin typeface="Montserrat"/>
              <a:ea typeface="+mn-ea"/>
              <a:cs typeface="+mn-cs"/>
            </a:endParaRPr>
          </a:p>
        </p:txBody>
      </p:sp>
      <p:sp>
        <p:nvSpPr>
          <p:cNvPr id="54" name="Rectangle 53">
            <a:extLst>
              <a:ext uri="{FF2B5EF4-FFF2-40B4-BE49-F238E27FC236}">
                <a16:creationId xmlns:a16="http://schemas.microsoft.com/office/drawing/2014/main" id="{BE070DDA-82E6-C811-C512-7A2EA6AD5F79}"/>
              </a:ext>
            </a:extLst>
          </p:cNvPr>
          <p:cNvSpPr/>
          <p:nvPr>
            <p:custDataLst>
              <p:tags r:id="rId45"/>
            </p:custDataLst>
          </p:nvPr>
        </p:nvSpPr>
        <p:spPr bwMode="gray">
          <a:xfrm>
            <a:off x="5260975" y="3960813"/>
            <a:ext cx="39370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lvl="0" algn="ctr">
              <a:lnSpc>
                <a:spcPct val="90000"/>
              </a:lnSpc>
              <a:spcBef>
                <a:spcPct val="0"/>
              </a:spcBef>
              <a:spcAft>
                <a:spcPct val="0"/>
              </a:spcAft>
              <a:defRPr/>
            </a:pPr>
            <a:fld id="{B6EE1272-5021-4767-AB7D-634C26674E6E}" type="datetime'''3''''''''''''0''''''''''''''''.''''''''''''''5''''''''''''%'">
              <a:rPr lang="en-US" altLang="en-US" sz="1000" smtClean="0">
                <a:solidFill>
                  <a:srgbClr val="000000"/>
                </a:solidFill>
              </a:rPr>
              <a:pPr/>
              <a:t>30.5%</a:t>
            </a:fld>
            <a:endParaRPr kumimoji="0" lang="en-US" sz="1000" b="0" i="0" strike="noStrike" kern="1200" cap="none" spc="0" normalizeH="0" baseline="0" noProof="0">
              <a:ln>
                <a:noFill/>
              </a:ln>
              <a:solidFill>
                <a:srgbClr val="000000"/>
              </a:solidFill>
              <a:effectLst/>
              <a:uLnTx/>
              <a:uFillTx/>
            </a:endParaRPr>
          </a:p>
        </p:txBody>
      </p:sp>
      <p:sp>
        <p:nvSpPr>
          <p:cNvPr id="24" name="Rectangle 23">
            <a:extLst>
              <a:ext uri="{FF2B5EF4-FFF2-40B4-BE49-F238E27FC236}">
                <a16:creationId xmlns:a16="http://schemas.microsoft.com/office/drawing/2014/main" id="{B78F76FD-0626-118F-79A2-7806B65D4470}"/>
              </a:ext>
            </a:extLst>
          </p:cNvPr>
          <p:cNvSpPr/>
          <p:nvPr>
            <p:custDataLst>
              <p:tags r:id="rId46"/>
            </p:custDataLst>
          </p:nvPr>
        </p:nvSpPr>
        <p:spPr bwMode="gray">
          <a:xfrm>
            <a:off x="5254625" y="2871788"/>
            <a:ext cx="40005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lvl="0" algn="ctr">
              <a:lnSpc>
                <a:spcPct val="90000"/>
              </a:lnSpc>
              <a:spcBef>
                <a:spcPct val="0"/>
              </a:spcBef>
              <a:spcAft>
                <a:spcPct val="0"/>
              </a:spcAft>
              <a:defRPr/>
            </a:pPr>
            <a:fld id="{19784AFD-C932-4F25-BBA9-5D4D716054EC}" type="datetime'''''''''''''4''''''9''''.''''''''''3''''''''%'''''">
              <a:rPr lang="en-US" altLang="en-US" sz="1000" smtClean="0">
                <a:solidFill>
                  <a:srgbClr val="000000"/>
                </a:solidFill>
              </a:rPr>
              <a:pPr/>
              <a:t>49.3%</a:t>
            </a:fld>
            <a:endParaRPr kumimoji="0" lang="en-US" sz="1000" b="0" i="0" strike="noStrike" kern="1200" cap="none" spc="0" normalizeH="0" baseline="0" noProof="0">
              <a:ln>
                <a:noFill/>
              </a:ln>
              <a:solidFill>
                <a:srgbClr val="000000"/>
              </a:solidFill>
              <a:effectLst/>
              <a:uLnTx/>
              <a:uFillTx/>
            </a:endParaRPr>
          </a:p>
        </p:txBody>
      </p:sp>
      <p:cxnSp>
        <p:nvCxnSpPr>
          <p:cNvPr id="748" name="Straight Connector 747">
            <a:extLst>
              <a:ext uri="{FF2B5EF4-FFF2-40B4-BE49-F238E27FC236}">
                <a16:creationId xmlns:a16="http://schemas.microsoft.com/office/drawing/2014/main" id="{64207F65-D93E-FCBE-7E12-A2D4AF739367}"/>
              </a:ext>
            </a:extLst>
          </p:cNvPr>
          <p:cNvCxnSpPr/>
          <p:nvPr>
            <p:custDataLst>
              <p:tags r:id="rId47"/>
            </p:custDataLst>
          </p:nvPr>
        </p:nvCxnSpPr>
        <p:spPr bwMode="gray">
          <a:xfrm>
            <a:off x="519113" y="1673225"/>
            <a:ext cx="214313" cy="0"/>
          </a:xfrm>
          <a:prstGeom prst="line">
            <a:avLst/>
          </a:prstGeom>
          <a:ln w="19050" cap="rnd" cmpd="sng" algn="ctr">
            <a:solidFill>
              <a:schemeClr val="accent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50" name="Straight Connector 749">
            <a:extLst>
              <a:ext uri="{FF2B5EF4-FFF2-40B4-BE49-F238E27FC236}">
                <a16:creationId xmlns:a16="http://schemas.microsoft.com/office/drawing/2014/main" id="{B9E835D5-7431-BB40-A138-69B5538783E5}"/>
              </a:ext>
            </a:extLst>
          </p:cNvPr>
          <p:cNvCxnSpPr/>
          <p:nvPr>
            <p:custDataLst>
              <p:tags r:id="rId48"/>
            </p:custDataLst>
          </p:nvPr>
        </p:nvCxnSpPr>
        <p:spPr bwMode="gray">
          <a:xfrm>
            <a:off x="519113" y="1860550"/>
            <a:ext cx="214313" cy="0"/>
          </a:xfrm>
          <a:prstGeom prst="line">
            <a:avLst/>
          </a:prstGeom>
          <a:ln w="19050" cap="rnd" cmpd="sng" algn="ctr">
            <a:solidFill>
              <a:srgbClr val="007770"/>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52" name="Straight Connector 751">
            <a:extLst>
              <a:ext uri="{FF2B5EF4-FFF2-40B4-BE49-F238E27FC236}">
                <a16:creationId xmlns:a16="http://schemas.microsoft.com/office/drawing/2014/main" id="{7552950C-57E1-803B-E133-14D48A2BBDD2}"/>
              </a:ext>
            </a:extLst>
          </p:cNvPr>
          <p:cNvCxnSpPr/>
          <p:nvPr>
            <p:custDataLst>
              <p:tags r:id="rId49"/>
            </p:custDataLst>
          </p:nvPr>
        </p:nvCxnSpPr>
        <p:spPr bwMode="gray">
          <a:xfrm>
            <a:off x="2095500" y="1673225"/>
            <a:ext cx="214313" cy="0"/>
          </a:xfrm>
          <a:prstGeom prst="line">
            <a:avLst/>
          </a:prstGeom>
          <a:ln w="19050" cap="rnd" cmpd="sng" algn="ctr">
            <a:solidFill>
              <a:schemeClr val="accent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54" name="Straight Connector 753">
            <a:extLst>
              <a:ext uri="{FF2B5EF4-FFF2-40B4-BE49-F238E27FC236}">
                <a16:creationId xmlns:a16="http://schemas.microsoft.com/office/drawing/2014/main" id="{C0163400-B4A0-60FD-B113-F1CD9C87F815}"/>
              </a:ext>
            </a:extLst>
          </p:cNvPr>
          <p:cNvCxnSpPr/>
          <p:nvPr>
            <p:custDataLst>
              <p:tags r:id="rId50"/>
            </p:custDataLst>
          </p:nvPr>
        </p:nvCxnSpPr>
        <p:spPr bwMode="gray">
          <a:xfrm>
            <a:off x="2095500" y="1860550"/>
            <a:ext cx="214313" cy="0"/>
          </a:xfrm>
          <a:prstGeom prst="line">
            <a:avLst/>
          </a:prstGeom>
          <a:ln w="19050" cap="rnd" cmpd="sng" algn="ctr">
            <a:solidFill>
              <a:srgbClr val="4C6C9C"/>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0" name="Oval 59">
            <a:extLst>
              <a:ext uri="{FF2B5EF4-FFF2-40B4-BE49-F238E27FC236}">
                <a16:creationId xmlns:a16="http://schemas.microsoft.com/office/drawing/2014/main" id="{79520EDF-ED89-0587-9606-34A915C0771F}"/>
              </a:ext>
            </a:extLst>
          </p:cNvPr>
          <p:cNvSpPr/>
          <p:nvPr>
            <p:custDataLst>
              <p:tags r:id="rId51"/>
            </p:custDataLst>
          </p:nvPr>
        </p:nvSpPr>
        <p:spPr bwMode="auto">
          <a:xfrm>
            <a:off x="593725" y="1641475"/>
            <a:ext cx="63500" cy="63500"/>
          </a:xfrm>
          <a:prstGeom prst="ellipse">
            <a:avLst/>
          </a:prstGeom>
          <a:solidFill>
            <a:schemeClr val="accent1"/>
          </a:solidFill>
          <a:ln w="9525" cap="flat" cmpd="sng" algn="ctr">
            <a:solidFill>
              <a:schemeClr val="accent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68" name="Oval 967">
            <a:extLst>
              <a:ext uri="{FF2B5EF4-FFF2-40B4-BE49-F238E27FC236}">
                <a16:creationId xmlns:a16="http://schemas.microsoft.com/office/drawing/2014/main" id="{338304A8-1340-0268-60CA-3E05770B8F9A}"/>
              </a:ext>
            </a:extLst>
          </p:cNvPr>
          <p:cNvSpPr/>
          <p:nvPr>
            <p:custDataLst>
              <p:tags r:id="rId52"/>
            </p:custDataLst>
          </p:nvPr>
        </p:nvSpPr>
        <p:spPr bwMode="auto">
          <a:xfrm>
            <a:off x="593725" y="1828800"/>
            <a:ext cx="63500" cy="63500"/>
          </a:xfrm>
          <a:prstGeom prst="ellipse">
            <a:avLst/>
          </a:prstGeom>
          <a:solidFill>
            <a:srgbClr val="007770"/>
          </a:solidFill>
          <a:ln w="9525" cap="flat" cmpd="sng" algn="ctr">
            <a:solidFill>
              <a:srgbClr val="007770"/>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95" name="Oval 994">
            <a:extLst>
              <a:ext uri="{FF2B5EF4-FFF2-40B4-BE49-F238E27FC236}">
                <a16:creationId xmlns:a16="http://schemas.microsoft.com/office/drawing/2014/main" id="{0EE86B93-DF32-12E5-FDED-15FFCEAEF352}"/>
              </a:ext>
            </a:extLst>
          </p:cNvPr>
          <p:cNvSpPr/>
          <p:nvPr>
            <p:custDataLst>
              <p:tags r:id="rId53"/>
            </p:custDataLst>
          </p:nvPr>
        </p:nvSpPr>
        <p:spPr bwMode="auto">
          <a:xfrm>
            <a:off x="2170113" y="1641475"/>
            <a:ext cx="63500" cy="63500"/>
          </a:xfrm>
          <a:prstGeom prst="ellipse">
            <a:avLst/>
          </a:prstGeom>
          <a:solidFill>
            <a:schemeClr val="accent2"/>
          </a:solidFill>
          <a:ln w="9525" cap="flat" cmpd="sng" algn="ctr">
            <a:solidFill>
              <a:schemeClr val="accent2"/>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7" name="Oval 1006">
            <a:extLst>
              <a:ext uri="{FF2B5EF4-FFF2-40B4-BE49-F238E27FC236}">
                <a16:creationId xmlns:a16="http://schemas.microsoft.com/office/drawing/2014/main" id="{F953C549-197C-4499-7138-2BDCE0FE573D}"/>
              </a:ext>
            </a:extLst>
          </p:cNvPr>
          <p:cNvSpPr/>
          <p:nvPr>
            <p:custDataLst>
              <p:tags r:id="rId54"/>
            </p:custDataLst>
          </p:nvPr>
        </p:nvSpPr>
        <p:spPr bwMode="auto">
          <a:xfrm>
            <a:off x="2170113" y="1828800"/>
            <a:ext cx="63500" cy="63500"/>
          </a:xfrm>
          <a:prstGeom prst="ellipse">
            <a:avLst/>
          </a:prstGeom>
          <a:solidFill>
            <a:srgbClr val="4C6C9C"/>
          </a:solidFill>
          <a:ln w="9525" cap="flat" cmpd="sng" algn="ctr">
            <a:solidFill>
              <a:srgbClr val="4C6C9C"/>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4" name="Rectangle 573">
            <a:extLst>
              <a:ext uri="{FF2B5EF4-FFF2-40B4-BE49-F238E27FC236}">
                <a16:creationId xmlns:a16="http://schemas.microsoft.com/office/drawing/2014/main" id="{C323AD5B-CF15-E89B-16A5-43E444525D17}"/>
              </a:ext>
            </a:extLst>
          </p:cNvPr>
          <p:cNvSpPr/>
          <p:nvPr>
            <p:custDataLst>
              <p:tags r:id="rId55"/>
            </p:custDataLst>
          </p:nvPr>
        </p:nvSpPr>
        <p:spPr bwMode="auto">
          <a:xfrm>
            <a:off x="793750" y="1609725"/>
            <a:ext cx="1190625"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lvl="0">
              <a:spcBef>
                <a:spcPct val="0"/>
              </a:spcBef>
              <a:spcAft>
                <a:spcPct val="0"/>
              </a:spcAft>
              <a:defRPr/>
            </a:pPr>
            <a:fld id="{880132A2-4371-4CDC-B217-FF72B926B4BD}" type="datetime'O''n''l''i''n''e ''S''a''le''s ''C''''alls'''' CR'">
              <a:rPr lang="en-US" altLang="en-US" sz="900" smtClean="0">
                <a:solidFill>
                  <a:srgbClr val="000000"/>
                </a:solidFill>
              </a:rPr>
              <a:pPr lvl="0">
                <a:spcBef>
                  <a:spcPct val="0"/>
                </a:spcBef>
                <a:spcAft>
                  <a:spcPct val="0"/>
                </a:spcAft>
                <a:defRPr/>
              </a:pPr>
              <a:t>Online Sales Calls CR</a:t>
            </a:fld>
            <a:endParaRPr kumimoji="0" lang="en-US" sz="900" b="0" i="0" strike="noStrike" kern="1200" cap="none" spc="0" normalizeH="0" baseline="0" noProof="0">
              <a:ln>
                <a:noFill/>
              </a:ln>
              <a:solidFill>
                <a:srgbClr val="000000"/>
              </a:solidFill>
              <a:effectLst/>
              <a:uLnTx/>
              <a:uFillTx/>
            </a:endParaRPr>
          </a:p>
        </p:txBody>
      </p:sp>
      <p:sp>
        <p:nvSpPr>
          <p:cNvPr id="575" name="Rectangle 574">
            <a:extLst>
              <a:ext uri="{FF2B5EF4-FFF2-40B4-BE49-F238E27FC236}">
                <a16:creationId xmlns:a16="http://schemas.microsoft.com/office/drawing/2014/main" id="{48C60C2E-CD07-9AE9-14FF-0606DDC0CDC6}"/>
              </a:ext>
            </a:extLst>
          </p:cNvPr>
          <p:cNvSpPr/>
          <p:nvPr>
            <p:custDataLst>
              <p:tags r:id="rId56"/>
            </p:custDataLst>
          </p:nvPr>
        </p:nvSpPr>
        <p:spPr bwMode="auto">
          <a:xfrm>
            <a:off x="793750" y="1797050"/>
            <a:ext cx="809625"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lvl="0">
              <a:spcBef>
                <a:spcPct val="0"/>
              </a:spcBef>
              <a:spcAft>
                <a:spcPct val="0"/>
              </a:spcAft>
              <a:defRPr/>
            </a:pPr>
            <a:fld id="{CFFDB9A3-795D-41C5-A2F9-A81DF821327F}" type="datetime'We''''b'''' ''''''F''o''''''''''''r''''''''m'' ''''C''''R'''''">
              <a:rPr lang="en-US" altLang="en-US" sz="900" smtClean="0">
                <a:solidFill>
                  <a:srgbClr val="000000"/>
                </a:solidFill>
              </a:rPr>
              <a:pPr lvl="0">
                <a:spcBef>
                  <a:spcPct val="0"/>
                </a:spcBef>
                <a:spcAft>
                  <a:spcPct val="0"/>
                </a:spcAft>
                <a:defRPr/>
              </a:pPr>
              <a:t>Web Form CR</a:t>
            </a:fld>
            <a:endParaRPr kumimoji="0" lang="en-US" sz="900" b="0" i="0" strike="noStrike" kern="1200" cap="none" spc="0" normalizeH="0" baseline="0" noProof="0">
              <a:ln>
                <a:noFill/>
              </a:ln>
              <a:solidFill>
                <a:srgbClr val="000000"/>
              </a:solidFill>
              <a:effectLst/>
              <a:uLnTx/>
              <a:uFillTx/>
            </a:endParaRPr>
          </a:p>
        </p:txBody>
      </p:sp>
      <p:sp>
        <p:nvSpPr>
          <p:cNvPr id="576" name="Rectangle 575">
            <a:extLst>
              <a:ext uri="{FF2B5EF4-FFF2-40B4-BE49-F238E27FC236}">
                <a16:creationId xmlns:a16="http://schemas.microsoft.com/office/drawing/2014/main" id="{93950371-30CB-2454-DC27-2882E00254F0}"/>
              </a:ext>
            </a:extLst>
          </p:cNvPr>
          <p:cNvSpPr/>
          <p:nvPr>
            <p:custDataLst>
              <p:tags r:id="rId57"/>
            </p:custDataLst>
          </p:nvPr>
        </p:nvSpPr>
        <p:spPr bwMode="auto">
          <a:xfrm>
            <a:off x="2370138" y="1609725"/>
            <a:ext cx="46831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lvl="0">
              <a:spcBef>
                <a:spcPct val="0"/>
              </a:spcBef>
              <a:spcAft>
                <a:spcPct val="0"/>
              </a:spcAft>
              <a:defRPr/>
            </a:pPr>
            <a:fld id="{FE306D5C-63EF-44FD-B5D0-5422A2181F08}" type="datetime'''''C''''''''ha''''''t ''''''''''C''''''R'''">
              <a:rPr lang="en-US" altLang="en-US" sz="900" smtClean="0">
                <a:solidFill>
                  <a:srgbClr val="000000"/>
                </a:solidFill>
              </a:rPr>
              <a:pPr lvl="0">
                <a:spcBef>
                  <a:spcPct val="0"/>
                </a:spcBef>
                <a:spcAft>
                  <a:spcPct val="0"/>
                </a:spcAft>
                <a:defRPr/>
              </a:pPr>
              <a:t>Chat CR</a:t>
            </a:fld>
            <a:endParaRPr kumimoji="0" lang="en-US" sz="900" b="0" i="0" strike="noStrike" kern="1200" cap="none" spc="0" normalizeH="0" baseline="0" noProof="0">
              <a:ln>
                <a:noFill/>
              </a:ln>
              <a:solidFill>
                <a:srgbClr val="000000"/>
              </a:solidFill>
              <a:effectLst/>
              <a:uLnTx/>
              <a:uFillTx/>
            </a:endParaRPr>
          </a:p>
        </p:txBody>
      </p:sp>
      <p:sp>
        <p:nvSpPr>
          <p:cNvPr id="577" name="Rectangle 576">
            <a:extLst>
              <a:ext uri="{FF2B5EF4-FFF2-40B4-BE49-F238E27FC236}">
                <a16:creationId xmlns:a16="http://schemas.microsoft.com/office/drawing/2014/main" id="{F0EA8AD7-486A-2A2E-DD95-F303E31C28D7}"/>
              </a:ext>
            </a:extLst>
          </p:cNvPr>
          <p:cNvSpPr/>
          <p:nvPr>
            <p:custDataLst>
              <p:tags r:id="rId58"/>
            </p:custDataLst>
          </p:nvPr>
        </p:nvSpPr>
        <p:spPr bwMode="auto">
          <a:xfrm>
            <a:off x="2370138" y="1797050"/>
            <a:ext cx="65881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lvl="0">
              <a:spcBef>
                <a:spcPct val="0"/>
              </a:spcBef>
              <a:spcAft>
                <a:spcPct val="0"/>
              </a:spcAft>
              <a:defRPr/>
            </a:pPr>
            <a:fld id="{87402CAD-9BA2-437E-8BBA-16AA139FA915}" type="datetime'''''BF'''' ''''S''t''ar''''t'''''''' ''''C''''''''''R'">
              <a:rPr lang="en-US" altLang="en-US" sz="900" smtClean="0">
                <a:solidFill>
                  <a:srgbClr val="000000"/>
                </a:solidFill>
              </a:rPr>
              <a:pPr lvl="0">
                <a:spcBef>
                  <a:spcPct val="0"/>
                </a:spcBef>
                <a:spcAft>
                  <a:spcPct val="0"/>
                </a:spcAft>
                <a:defRPr/>
              </a:pPr>
              <a:t>BF Start CR</a:t>
            </a:fld>
            <a:endParaRPr kumimoji="0" lang="en-US" sz="900" b="0" i="0" strike="noStrike" kern="1200" cap="none" spc="0" normalizeH="0" baseline="0" noProof="0">
              <a:ln>
                <a:noFill/>
              </a:ln>
              <a:solidFill>
                <a:srgbClr val="000000"/>
              </a:solidFill>
              <a:effectLst/>
              <a:uLnTx/>
              <a:uFillTx/>
            </a:endParaRPr>
          </a:p>
        </p:txBody>
      </p:sp>
      <p:sp>
        <p:nvSpPr>
          <p:cNvPr id="10" name="TextBox 9">
            <a:extLst>
              <a:ext uri="{FF2B5EF4-FFF2-40B4-BE49-F238E27FC236}">
                <a16:creationId xmlns:a16="http://schemas.microsoft.com/office/drawing/2014/main" id="{ECED42EE-35CF-53CE-274C-25B35D9E53F6}"/>
              </a:ext>
            </a:extLst>
          </p:cNvPr>
          <p:cNvSpPr txBox="1"/>
          <p:nvPr/>
        </p:nvSpPr>
        <p:spPr>
          <a:xfrm>
            <a:off x="463549" y="6283325"/>
            <a:ext cx="2414590" cy="195261"/>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Montserrat"/>
                <a:ea typeface="+mn-ea"/>
                <a:cs typeface="+mn-cs"/>
              </a:rPr>
              <a:t>Data Source: CBMA Weekly Leads Summary</a:t>
            </a:r>
          </a:p>
        </p:txBody>
      </p:sp>
      <p:cxnSp>
        <p:nvCxnSpPr>
          <p:cNvPr id="709" name="Straight Connector 708">
            <a:extLst>
              <a:ext uri="{FF2B5EF4-FFF2-40B4-BE49-F238E27FC236}">
                <a16:creationId xmlns:a16="http://schemas.microsoft.com/office/drawing/2014/main" id="{82B8EA0D-CFF6-1F61-4243-207A0EB3713E}"/>
              </a:ext>
            </a:extLst>
          </p:cNvPr>
          <p:cNvCxnSpPr/>
          <p:nvPr>
            <p:custDataLst>
              <p:tags r:id="rId59"/>
            </p:custDataLst>
          </p:nvPr>
        </p:nvCxnSpPr>
        <p:spPr bwMode="auto">
          <a:xfrm>
            <a:off x="7364413" y="4740275"/>
            <a:ext cx="268288" cy="134938"/>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11" name="Straight Connector 710">
            <a:extLst>
              <a:ext uri="{FF2B5EF4-FFF2-40B4-BE49-F238E27FC236}">
                <a16:creationId xmlns:a16="http://schemas.microsoft.com/office/drawing/2014/main" id="{853123B2-1140-5D04-9C50-620C90AD1F2C}"/>
              </a:ext>
            </a:extLst>
          </p:cNvPr>
          <p:cNvCxnSpPr/>
          <p:nvPr>
            <p:custDataLst>
              <p:tags r:id="rId60"/>
            </p:custDataLst>
          </p:nvPr>
        </p:nvCxnSpPr>
        <p:spPr bwMode="auto">
          <a:xfrm>
            <a:off x="7364413" y="5048250"/>
            <a:ext cx="268288" cy="207963"/>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1001" name="Chart 1000">
            <a:extLst>
              <a:ext uri="{FF2B5EF4-FFF2-40B4-BE49-F238E27FC236}">
                <a16:creationId xmlns:a16="http://schemas.microsoft.com/office/drawing/2014/main" id="{E9DE3043-827F-5FA7-5FC3-84329A0EFE39}"/>
              </a:ext>
            </a:extLst>
          </p:cNvPr>
          <p:cNvGraphicFramePr/>
          <p:nvPr>
            <p:custDataLst>
              <p:tags r:id="rId61"/>
            </p:custDataLst>
            <p:extLst>
              <p:ext uri="{D42A27DB-BD31-4B8C-83A1-F6EECF244321}">
                <p14:modId xmlns:p14="http://schemas.microsoft.com/office/powerpoint/2010/main" val="1469033293"/>
              </p:ext>
            </p:extLst>
          </p:nvPr>
        </p:nvGraphicFramePr>
        <p:xfrm>
          <a:off x="6207125" y="1785938"/>
          <a:ext cx="5005388" cy="4076700"/>
        </p:xfrm>
        <a:graphic>
          <a:graphicData uri="http://schemas.openxmlformats.org/drawingml/2006/chart">
            <c:chart xmlns:c="http://schemas.openxmlformats.org/drawingml/2006/chart" xmlns:r="http://schemas.openxmlformats.org/officeDocument/2006/relationships" r:id="rId93"/>
          </a:graphicData>
        </a:graphic>
      </p:graphicFrame>
      <p:sp>
        <p:nvSpPr>
          <p:cNvPr id="1021" name="Text Placeholder 2">
            <a:extLst>
              <a:ext uri="{FF2B5EF4-FFF2-40B4-BE49-F238E27FC236}">
                <a16:creationId xmlns:a16="http://schemas.microsoft.com/office/drawing/2014/main" id="{96109EB9-C31D-4292-F6EA-9EE2C8665916}"/>
              </a:ext>
            </a:extLst>
          </p:cNvPr>
          <p:cNvSpPr>
            <a:spLocks noGrp="1" noChangeArrowheads="1"/>
          </p:cNvSpPr>
          <p:nvPr>
            <p:custDataLst>
              <p:tags r:id="rId62"/>
            </p:custDataLst>
          </p:nvPr>
        </p:nvSpPr>
        <p:spPr bwMode="auto">
          <a:xfrm>
            <a:off x="6473825" y="5675313"/>
            <a:ext cx="236538" cy="1301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base" latinLnBrk="0" hangingPunct="1">
              <a:lnSpc>
                <a:spcPct val="95000"/>
              </a:lnSpc>
              <a:spcBef>
                <a:spcPct val="0"/>
              </a:spcBef>
              <a:spcAft>
                <a:spcPct val="0"/>
              </a:spcAft>
              <a:buClrTx/>
              <a:buSzTx/>
              <a:buFont typeface="Arial" panose="020B0604020202020204" pitchFamily="34" charset="0"/>
              <a:buNone/>
              <a:tabLst/>
              <a:defRPr/>
            </a:pPr>
            <a:fld id="{858F22C7-04E3-4544-A3A3-DA773A424A2A}" type="datetime'''''''''''''''''''''''''''F''''''''''''e''''''''''''b'''">
              <a:rPr kumimoji="0" lang="en-US" altLang="en-US" sz="900" b="1" i="0" u="none" strike="noStrike" kern="1200" cap="none" spc="0" normalizeH="0" baseline="0" noProof="0" smtClean="0">
                <a:ln>
                  <a:noFill/>
                </a:ln>
                <a:solidFill>
                  <a:srgbClr val="000000"/>
                </a:solidFill>
                <a:effectLst/>
                <a:uLnTx/>
                <a:uFillTx/>
                <a:latin typeface="Montserrat"/>
                <a:ea typeface="+mn-ea"/>
                <a:cs typeface="+mn-cs"/>
              </a:rPr>
              <a:pPr marL="0" marR="0" lvl="0" indent="0" algn="ctr" defTabSz="914400" rtl="0" eaLnBrk="1" fontAlgn="base" latinLnBrk="0" hangingPunct="1">
                <a:lnSpc>
                  <a:spcPct val="95000"/>
                </a:lnSpc>
                <a:spcBef>
                  <a:spcPct val="0"/>
                </a:spcBef>
                <a:spcAft>
                  <a:spcPct val="0"/>
                </a:spcAft>
                <a:buClrTx/>
                <a:buSzTx/>
                <a:buFont typeface="Arial" panose="020B0604020202020204" pitchFamily="34" charset="0"/>
                <a:buNone/>
                <a:tabLst/>
                <a:defRPr/>
              </a:pPr>
              <a:t>Feb</a:t>
            </a:fld>
            <a:endParaRPr kumimoji="0" lang="en-US" altLang="en-US" sz="900" b="1" i="0" u="none" strike="noStrike" kern="1200" cap="none" spc="0" normalizeH="0" baseline="0" noProof="0">
              <a:ln>
                <a:noFill/>
              </a:ln>
              <a:solidFill>
                <a:srgbClr val="000000"/>
              </a:solidFill>
              <a:effectLst/>
              <a:uLnTx/>
              <a:uFillTx/>
              <a:latin typeface="Montserrat"/>
              <a:ea typeface="+mn-ea"/>
              <a:cs typeface="+mn-cs"/>
            </a:endParaRPr>
          </a:p>
        </p:txBody>
      </p:sp>
      <p:sp>
        <p:nvSpPr>
          <p:cNvPr id="1018" name="Text Placeholder 2">
            <a:extLst>
              <a:ext uri="{FF2B5EF4-FFF2-40B4-BE49-F238E27FC236}">
                <a16:creationId xmlns:a16="http://schemas.microsoft.com/office/drawing/2014/main" id="{E6CEDEF4-20B4-0A9A-9AC2-B9CB992C9F87}"/>
              </a:ext>
            </a:extLst>
          </p:cNvPr>
          <p:cNvSpPr>
            <a:spLocks noGrp="1" noChangeArrowheads="1"/>
          </p:cNvSpPr>
          <p:nvPr>
            <p:custDataLst>
              <p:tags r:id="rId63"/>
            </p:custDataLst>
          </p:nvPr>
        </p:nvSpPr>
        <p:spPr bwMode="auto">
          <a:xfrm>
            <a:off x="7075488" y="5675313"/>
            <a:ext cx="241300" cy="1301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base" latinLnBrk="0" hangingPunct="1">
              <a:lnSpc>
                <a:spcPct val="95000"/>
              </a:lnSpc>
              <a:spcBef>
                <a:spcPct val="0"/>
              </a:spcBef>
              <a:spcAft>
                <a:spcPct val="0"/>
              </a:spcAft>
              <a:buClrTx/>
              <a:buSzTx/>
              <a:buFont typeface="Arial" panose="020B0604020202020204" pitchFamily="34" charset="0"/>
              <a:buNone/>
              <a:tabLst/>
              <a:defRPr/>
            </a:pPr>
            <a:fld id="{7AA98BCB-EFFA-4161-B413-3C89B01DE7EB}" type="datetime'''''''''''''''''''M''''''''''''''''''''''''''''''''''''''ar'">
              <a:rPr kumimoji="0" lang="en-US" altLang="en-US" sz="900" b="1" i="0" u="none" strike="noStrike" kern="1200" cap="none" spc="0" normalizeH="0" baseline="0" noProof="0" smtClean="0">
                <a:ln>
                  <a:noFill/>
                </a:ln>
                <a:solidFill>
                  <a:srgbClr val="000000"/>
                </a:solidFill>
                <a:effectLst/>
                <a:uLnTx/>
                <a:uFillTx/>
                <a:latin typeface="Montserrat"/>
                <a:ea typeface="+mn-ea"/>
                <a:cs typeface="+mn-cs"/>
              </a:rPr>
              <a:pPr marL="0" marR="0" lvl="0" indent="0" algn="ctr" defTabSz="914400" rtl="0" eaLnBrk="1" fontAlgn="base" latinLnBrk="0" hangingPunct="1">
                <a:lnSpc>
                  <a:spcPct val="95000"/>
                </a:lnSpc>
                <a:spcBef>
                  <a:spcPct val="0"/>
                </a:spcBef>
                <a:spcAft>
                  <a:spcPct val="0"/>
                </a:spcAft>
                <a:buClrTx/>
                <a:buSzTx/>
                <a:buFont typeface="Arial" panose="020B0604020202020204" pitchFamily="34" charset="0"/>
                <a:buNone/>
                <a:tabLst/>
                <a:defRPr/>
              </a:pPr>
              <a:t>Mar</a:t>
            </a:fld>
            <a:endParaRPr kumimoji="0" lang="en-US" altLang="en-US" sz="900" b="1" i="0" u="none" strike="noStrike" kern="1200" cap="none" spc="0" normalizeH="0" baseline="0" noProof="0">
              <a:ln>
                <a:noFill/>
              </a:ln>
              <a:solidFill>
                <a:srgbClr val="000000"/>
              </a:solidFill>
              <a:effectLst/>
              <a:uLnTx/>
              <a:uFillTx/>
              <a:latin typeface="Montserrat"/>
              <a:ea typeface="+mn-ea"/>
              <a:cs typeface="+mn-cs"/>
            </a:endParaRPr>
          </a:p>
        </p:txBody>
      </p:sp>
      <p:sp>
        <p:nvSpPr>
          <p:cNvPr id="1012" name="Text Placeholder 2">
            <a:extLst>
              <a:ext uri="{FF2B5EF4-FFF2-40B4-BE49-F238E27FC236}">
                <a16:creationId xmlns:a16="http://schemas.microsoft.com/office/drawing/2014/main" id="{AEBA2041-7D67-4884-0B28-0CB7894E0BF5}"/>
              </a:ext>
            </a:extLst>
          </p:cNvPr>
          <p:cNvSpPr>
            <a:spLocks noGrp="1" noChangeArrowheads="1"/>
          </p:cNvSpPr>
          <p:nvPr>
            <p:custDataLst>
              <p:tags r:id="rId64"/>
            </p:custDataLst>
          </p:nvPr>
        </p:nvSpPr>
        <p:spPr bwMode="auto">
          <a:xfrm>
            <a:off x="7599363" y="5675313"/>
            <a:ext cx="404813" cy="1301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base" latinLnBrk="0" hangingPunct="1">
              <a:lnSpc>
                <a:spcPct val="95000"/>
              </a:lnSpc>
              <a:spcBef>
                <a:spcPct val="0"/>
              </a:spcBef>
              <a:spcAft>
                <a:spcPct val="0"/>
              </a:spcAft>
              <a:buClrTx/>
              <a:buSzTx/>
              <a:buFont typeface="Arial" panose="020B0604020202020204" pitchFamily="34" charset="0"/>
              <a:buNone/>
              <a:tabLst/>
              <a:defRPr/>
            </a:pPr>
            <a:fld id="{3C437E8D-C480-41A6-B551-F35786356BDB}" type="datetime'''A''p''''''''r’''''''''''''''''''24'''''''">
              <a:rPr kumimoji="0" lang="en-US" altLang="en-US" sz="900" b="1" i="0" u="none" strike="noStrike" kern="1200" cap="none" spc="0" normalizeH="0" baseline="0" noProof="0" smtClean="0">
                <a:ln>
                  <a:noFill/>
                </a:ln>
                <a:solidFill>
                  <a:srgbClr val="000000"/>
                </a:solidFill>
                <a:effectLst/>
                <a:uLnTx/>
                <a:uFillTx/>
                <a:latin typeface="Montserrat"/>
                <a:ea typeface="+mn-ea"/>
                <a:cs typeface="+mn-cs"/>
              </a:rPr>
              <a:pPr marL="0" marR="0" lvl="0" indent="0" algn="ctr" defTabSz="914400" rtl="0" eaLnBrk="1" fontAlgn="base" latinLnBrk="0" hangingPunct="1">
                <a:lnSpc>
                  <a:spcPct val="95000"/>
                </a:lnSpc>
                <a:spcBef>
                  <a:spcPct val="0"/>
                </a:spcBef>
                <a:spcAft>
                  <a:spcPct val="0"/>
                </a:spcAft>
                <a:buClrTx/>
                <a:buSzTx/>
                <a:buFont typeface="Arial" panose="020B0604020202020204" pitchFamily="34" charset="0"/>
                <a:buNone/>
                <a:tabLst/>
                <a:defRPr/>
              </a:pPr>
              <a:t>Apr’24</a:t>
            </a:fld>
            <a:endParaRPr kumimoji="0" lang="en-US" altLang="en-US" sz="900" b="1" i="0" u="none" strike="noStrike" kern="1200" cap="none" spc="0" normalizeH="0" baseline="0" noProof="0">
              <a:ln>
                <a:noFill/>
              </a:ln>
              <a:solidFill>
                <a:srgbClr val="000000"/>
              </a:solidFill>
              <a:effectLst/>
              <a:uLnTx/>
              <a:uFillTx/>
              <a:latin typeface="Montserrat"/>
              <a:ea typeface="+mn-ea"/>
              <a:cs typeface="+mn-cs"/>
            </a:endParaRPr>
          </a:p>
        </p:txBody>
      </p:sp>
      <p:sp>
        <p:nvSpPr>
          <p:cNvPr id="515" name="Text Placeholder 2">
            <a:extLst>
              <a:ext uri="{FF2B5EF4-FFF2-40B4-BE49-F238E27FC236}">
                <a16:creationId xmlns:a16="http://schemas.microsoft.com/office/drawing/2014/main" id="{54E9C020-A018-94AC-7962-34903FAEC9D9}"/>
              </a:ext>
            </a:extLst>
          </p:cNvPr>
          <p:cNvSpPr>
            <a:spLocks noGrp="1" noChangeArrowheads="1"/>
          </p:cNvSpPr>
          <p:nvPr>
            <p:custDataLst>
              <p:tags r:id="rId65"/>
            </p:custDataLst>
          </p:nvPr>
        </p:nvSpPr>
        <p:spPr bwMode="auto">
          <a:xfrm>
            <a:off x="8188325" y="5675313"/>
            <a:ext cx="436563" cy="1301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defRPr/>
            </a:pPr>
            <a:fld id="{201E8F05-14EB-4241-A163-C38F8D293D37}" type="datetime'''''M''''''''''a''''''y’''''2''''''4'''''''">
              <a:rPr lang="en-US" altLang="en-US" sz="900" b="1" smtClean="0">
                <a:solidFill>
                  <a:srgbClr val="000000"/>
                </a:solidFill>
              </a:rPr>
              <a:pPr marL="0" lvl="0" indent="0" algn="ctr">
                <a:spcBef>
                  <a:spcPct val="0"/>
                </a:spcBef>
                <a:buNone/>
                <a:defRPr/>
              </a:pPr>
              <a:t>May’24</a:t>
            </a:fld>
            <a:endParaRPr kumimoji="0" lang="en-US" altLang="en-US" sz="900" b="1" i="0" strike="noStrike" kern="1200" cap="none" spc="0" normalizeH="0" baseline="0" noProof="0">
              <a:ln>
                <a:noFill/>
              </a:ln>
              <a:solidFill>
                <a:srgbClr val="000000"/>
              </a:solidFill>
              <a:effectLst/>
              <a:uLnTx/>
              <a:uFillTx/>
            </a:endParaRPr>
          </a:p>
        </p:txBody>
      </p:sp>
      <p:sp>
        <p:nvSpPr>
          <p:cNvPr id="1079" name="Text Placeholder 2">
            <a:extLst>
              <a:ext uri="{FF2B5EF4-FFF2-40B4-BE49-F238E27FC236}">
                <a16:creationId xmlns:a16="http://schemas.microsoft.com/office/drawing/2014/main" id="{7AF6B548-9487-FA43-18F1-272494E112A6}"/>
              </a:ext>
            </a:extLst>
          </p:cNvPr>
          <p:cNvSpPr>
            <a:spLocks noGrp="1" noChangeArrowheads="1"/>
          </p:cNvSpPr>
          <p:nvPr>
            <p:custDataLst>
              <p:tags r:id="rId66"/>
            </p:custDataLst>
          </p:nvPr>
        </p:nvSpPr>
        <p:spPr bwMode="auto">
          <a:xfrm>
            <a:off x="8796337" y="5675313"/>
            <a:ext cx="433388" cy="260350"/>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defRPr/>
            </a:pPr>
            <a:fld id="{A676BE3A-341C-4256-87CB-ADBC2EC670C3}" type="datetime'''04/''''''''''''''28 ''''''''''- ''0''''''''5/''''''''04'">
              <a:rPr lang="en-US" altLang="en-US" sz="900" b="1" smtClean="0">
                <a:solidFill>
                  <a:srgbClr val="000000"/>
                </a:solidFill>
              </a:rPr>
              <a:pPr/>
              <a:t>04/28 - 05/04</a:t>
            </a:fld>
            <a:endParaRPr kumimoji="0" lang="en-US" altLang="en-US" sz="900" b="1" i="0" strike="noStrike" kern="1200" cap="none" spc="0" normalizeH="0" baseline="0" noProof="0">
              <a:ln>
                <a:noFill/>
              </a:ln>
              <a:solidFill>
                <a:srgbClr val="000000"/>
              </a:solidFill>
              <a:effectLst/>
              <a:uLnTx/>
              <a:uFillTx/>
            </a:endParaRPr>
          </a:p>
        </p:txBody>
      </p:sp>
      <p:sp>
        <p:nvSpPr>
          <p:cNvPr id="547" name="Text Placeholder 2">
            <a:extLst>
              <a:ext uri="{FF2B5EF4-FFF2-40B4-BE49-F238E27FC236}">
                <a16:creationId xmlns:a16="http://schemas.microsoft.com/office/drawing/2014/main" id="{A5566146-46F7-A6E3-00B4-08B6ED83A033}"/>
              </a:ext>
            </a:extLst>
          </p:cNvPr>
          <p:cNvSpPr>
            <a:spLocks noGrp="1" noChangeArrowheads="1"/>
          </p:cNvSpPr>
          <p:nvPr>
            <p:custDataLst>
              <p:tags r:id="rId67"/>
            </p:custDataLst>
          </p:nvPr>
        </p:nvSpPr>
        <p:spPr bwMode="auto">
          <a:xfrm>
            <a:off x="9432925" y="5675313"/>
            <a:ext cx="368300" cy="260350"/>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defRPr/>
            </a:pPr>
            <a:fld id="{5887C5A2-25E8-4F08-BA08-0B25536DFCF3}" type="datetime'''''''''''0''5''''/''0''''''5 - ''''''''''''''''''0''5''/11'''">
              <a:rPr lang="en-US" altLang="en-US" sz="900" b="1" smtClean="0">
                <a:solidFill>
                  <a:srgbClr val="000000"/>
                </a:solidFill>
              </a:rPr>
              <a:pPr/>
              <a:t>05/05 - 05/11</a:t>
            </a:fld>
            <a:endParaRPr kumimoji="0" lang="en-US" altLang="en-US" sz="900" b="1" i="0" strike="noStrike" kern="1200" cap="none" spc="0" normalizeH="0" baseline="0" noProof="0">
              <a:ln>
                <a:noFill/>
              </a:ln>
              <a:solidFill>
                <a:srgbClr val="000000"/>
              </a:solidFill>
              <a:effectLst/>
              <a:uLnTx/>
              <a:uFillTx/>
            </a:endParaRPr>
          </a:p>
        </p:txBody>
      </p:sp>
      <p:sp>
        <p:nvSpPr>
          <p:cNvPr id="548" name="Text Placeholder 2">
            <a:extLst>
              <a:ext uri="{FF2B5EF4-FFF2-40B4-BE49-F238E27FC236}">
                <a16:creationId xmlns:a16="http://schemas.microsoft.com/office/drawing/2014/main" id="{7EEA2303-C379-279C-B15F-309D721BD1E6}"/>
              </a:ext>
            </a:extLst>
          </p:cNvPr>
          <p:cNvSpPr>
            <a:spLocks noGrp="1" noChangeArrowheads="1"/>
          </p:cNvSpPr>
          <p:nvPr>
            <p:custDataLst>
              <p:tags r:id="rId68"/>
            </p:custDataLst>
          </p:nvPr>
        </p:nvSpPr>
        <p:spPr bwMode="auto">
          <a:xfrm>
            <a:off x="10026651" y="5675313"/>
            <a:ext cx="390525" cy="260350"/>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defRPr/>
            </a:pPr>
            <a:fld id="{0DFEC619-A760-4F7D-84B1-5100DA09F260}" type="datetime'05/1''2'' -'' ''0''''''''''''''5''''''''/1''''''''''''8'">
              <a:rPr lang="en-US" altLang="en-US" sz="900" b="1" smtClean="0">
                <a:solidFill>
                  <a:srgbClr val="000000"/>
                </a:solidFill>
              </a:rPr>
              <a:pPr/>
              <a:t>05/12 - 05/18</a:t>
            </a:fld>
            <a:endParaRPr kumimoji="0" lang="en-US" altLang="en-US" sz="900" b="1" i="0" strike="noStrike" kern="1200" cap="none" spc="0" normalizeH="0" baseline="0" noProof="0">
              <a:ln>
                <a:noFill/>
              </a:ln>
              <a:solidFill>
                <a:srgbClr val="000000"/>
              </a:solidFill>
              <a:effectLst/>
              <a:uLnTx/>
              <a:uFillTx/>
            </a:endParaRPr>
          </a:p>
        </p:txBody>
      </p:sp>
      <p:sp>
        <p:nvSpPr>
          <p:cNvPr id="549" name="Text Placeholder 2">
            <a:extLst>
              <a:ext uri="{FF2B5EF4-FFF2-40B4-BE49-F238E27FC236}">
                <a16:creationId xmlns:a16="http://schemas.microsoft.com/office/drawing/2014/main" id="{1E900813-0855-B41B-E6FF-12949207DD72}"/>
              </a:ext>
            </a:extLst>
          </p:cNvPr>
          <p:cNvSpPr>
            <a:spLocks noGrp="1" noChangeArrowheads="1"/>
          </p:cNvSpPr>
          <p:nvPr>
            <p:custDataLst>
              <p:tags r:id="rId69"/>
            </p:custDataLst>
          </p:nvPr>
        </p:nvSpPr>
        <p:spPr bwMode="auto">
          <a:xfrm>
            <a:off x="10628314" y="5675313"/>
            <a:ext cx="396875" cy="260350"/>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defRPr/>
            </a:pPr>
            <a:fld id="{CF846D66-5DD0-4B94-8FD8-EBDE3382FF3D}" type="datetime'05''/''''19'''' -'''''''''' ''''''''''0''''5/''''''''''2''5'">
              <a:rPr lang="en-US" altLang="en-US" sz="900" b="1" smtClean="0">
                <a:solidFill>
                  <a:srgbClr val="000000"/>
                </a:solidFill>
              </a:rPr>
              <a:pPr/>
              <a:t>05/19 - 05/25</a:t>
            </a:fld>
            <a:endParaRPr kumimoji="0" lang="en-US" altLang="en-US" sz="900" b="1" i="0" strike="noStrike" kern="1200" cap="none" spc="0" normalizeH="0" baseline="0" noProof="0">
              <a:ln>
                <a:noFill/>
              </a:ln>
              <a:solidFill>
                <a:srgbClr val="000000"/>
              </a:solidFill>
              <a:effectLst/>
              <a:uLnTx/>
              <a:uFillTx/>
            </a:endParaRPr>
          </a:p>
        </p:txBody>
      </p:sp>
      <p:sp>
        <p:nvSpPr>
          <p:cNvPr id="519" name="Rectangle 518">
            <a:extLst>
              <a:ext uri="{FF2B5EF4-FFF2-40B4-BE49-F238E27FC236}">
                <a16:creationId xmlns:a16="http://schemas.microsoft.com/office/drawing/2014/main" id="{793CF0B1-EAB5-2755-D25E-F9DEA4CE1004}"/>
              </a:ext>
            </a:extLst>
          </p:cNvPr>
          <p:cNvSpPr/>
          <p:nvPr>
            <p:custDataLst>
              <p:tags r:id="rId70"/>
            </p:custDataLst>
          </p:nvPr>
        </p:nvSpPr>
        <p:spPr bwMode="gray">
          <a:xfrm>
            <a:off x="6469063" y="2620963"/>
            <a:ext cx="246063" cy="1444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lvl="0" algn="ctr">
              <a:lnSpc>
                <a:spcPct val="95000"/>
              </a:lnSpc>
              <a:spcBef>
                <a:spcPct val="0"/>
              </a:spcBef>
              <a:spcAft>
                <a:spcPct val="0"/>
              </a:spcAft>
              <a:defRPr/>
            </a:pPr>
            <a:fld id="{D4B2C7BD-C136-43F2-A0C5-4360042CCF1C}" type="datetime'''''''''''''''''''''''''''''3''''''1''''''4'''''''''">
              <a:rPr lang="en-US" altLang="en-US" sz="1000" b="1" smtClean="0">
                <a:solidFill>
                  <a:srgbClr val="000000"/>
                </a:solidFill>
              </a:rPr>
              <a:pPr/>
              <a:t>314</a:t>
            </a:fld>
            <a:endParaRPr kumimoji="0" lang="en-US" sz="1000" b="1" i="0" strike="noStrike" kern="1200" cap="none" spc="0" normalizeH="0" baseline="0" noProof="0">
              <a:ln>
                <a:noFill/>
              </a:ln>
              <a:solidFill>
                <a:srgbClr val="000000"/>
              </a:solidFill>
              <a:effectLst/>
              <a:uLnTx/>
              <a:uFillTx/>
            </a:endParaRPr>
          </a:p>
        </p:txBody>
      </p:sp>
      <p:sp>
        <p:nvSpPr>
          <p:cNvPr id="520" name="Rectangle 519">
            <a:extLst>
              <a:ext uri="{FF2B5EF4-FFF2-40B4-BE49-F238E27FC236}">
                <a16:creationId xmlns:a16="http://schemas.microsoft.com/office/drawing/2014/main" id="{12714B31-1304-2F9D-F0AE-F1676B90F782}"/>
              </a:ext>
            </a:extLst>
          </p:cNvPr>
          <p:cNvSpPr/>
          <p:nvPr>
            <p:custDataLst>
              <p:tags r:id="rId71"/>
            </p:custDataLst>
          </p:nvPr>
        </p:nvSpPr>
        <p:spPr bwMode="gray">
          <a:xfrm>
            <a:off x="7073900" y="2738438"/>
            <a:ext cx="244475" cy="1444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lvl="0" algn="ctr">
              <a:lnSpc>
                <a:spcPct val="95000"/>
              </a:lnSpc>
              <a:spcBef>
                <a:spcPct val="0"/>
              </a:spcBef>
              <a:spcAft>
                <a:spcPct val="0"/>
              </a:spcAft>
              <a:defRPr/>
            </a:pPr>
            <a:fld id="{2E8E95A5-F942-4085-8EB3-F598F7C3BF40}" type="datetime'''''''''3''''''''''''0''''''''''''''''''''''''''''1'''''''''''">
              <a:rPr lang="en-US" altLang="en-US" sz="1000" b="1" smtClean="0">
                <a:solidFill>
                  <a:srgbClr val="000000"/>
                </a:solidFill>
              </a:rPr>
              <a:pPr/>
              <a:t>301</a:t>
            </a:fld>
            <a:endParaRPr kumimoji="0" lang="en-US" sz="1000" b="1" i="0" strike="noStrike" kern="1200" cap="none" spc="0" normalizeH="0" baseline="0" noProof="0">
              <a:ln>
                <a:noFill/>
              </a:ln>
              <a:solidFill>
                <a:srgbClr val="000000"/>
              </a:solidFill>
              <a:effectLst/>
              <a:uLnTx/>
              <a:uFillTx/>
            </a:endParaRPr>
          </a:p>
        </p:txBody>
      </p:sp>
      <p:sp>
        <p:nvSpPr>
          <p:cNvPr id="521" name="Rectangle 520">
            <a:extLst>
              <a:ext uri="{FF2B5EF4-FFF2-40B4-BE49-F238E27FC236}">
                <a16:creationId xmlns:a16="http://schemas.microsoft.com/office/drawing/2014/main" id="{919412BA-CF12-DCE3-8577-662D1D774845}"/>
              </a:ext>
            </a:extLst>
          </p:cNvPr>
          <p:cNvSpPr/>
          <p:nvPr>
            <p:custDataLst>
              <p:tags r:id="rId72"/>
            </p:custDataLst>
          </p:nvPr>
        </p:nvSpPr>
        <p:spPr bwMode="gray">
          <a:xfrm>
            <a:off x="7667625" y="2911475"/>
            <a:ext cx="268288" cy="1444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lvl="0" algn="ctr">
              <a:lnSpc>
                <a:spcPct val="95000"/>
              </a:lnSpc>
              <a:spcBef>
                <a:spcPct val="0"/>
              </a:spcBef>
              <a:spcAft>
                <a:spcPct val="0"/>
              </a:spcAft>
              <a:defRPr/>
            </a:pPr>
            <a:fld id="{DC126EC4-ED5B-4146-91D1-3D50E6B3DB4A}" type="datetime'''''''''''''''''''''2''''''82'''''''">
              <a:rPr lang="en-US" altLang="en-US" sz="1000" b="1" smtClean="0">
                <a:solidFill>
                  <a:srgbClr val="000000"/>
                </a:solidFill>
              </a:rPr>
              <a:pPr/>
              <a:t>282</a:t>
            </a:fld>
            <a:endParaRPr kumimoji="0" lang="en-US" sz="1000" b="1" i="0" strike="noStrike" kern="1200" cap="none" spc="0" normalizeH="0" baseline="0" noProof="0">
              <a:ln>
                <a:noFill/>
              </a:ln>
              <a:solidFill>
                <a:srgbClr val="000000"/>
              </a:solidFill>
              <a:effectLst/>
              <a:uLnTx/>
              <a:uFillTx/>
            </a:endParaRPr>
          </a:p>
        </p:txBody>
      </p:sp>
      <p:sp>
        <p:nvSpPr>
          <p:cNvPr id="529" name="Rectangle 528">
            <a:extLst>
              <a:ext uri="{FF2B5EF4-FFF2-40B4-BE49-F238E27FC236}">
                <a16:creationId xmlns:a16="http://schemas.microsoft.com/office/drawing/2014/main" id="{501B8FCE-B8C5-AD2A-0543-657EA81314BC}"/>
              </a:ext>
            </a:extLst>
          </p:cNvPr>
          <p:cNvSpPr/>
          <p:nvPr>
            <p:custDataLst>
              <p:tags r:id="rId73"/>
            </p:custDataLst>
          </p:nvPr>
        </p:nvSpPr>
        <p:spPr bwMode="gray">
          <a:xfrm>
            <a:off x="8269287" y="2947988"/>
            <a:ext cx="273050" cy="1444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5000"/>
              </a:lnSpc>
              <a:spcBef>
                <a:spcPct val="0"/>
              </a:spcBef>
              <a:spcAft>
                <a:spcPct val="0"/>
              </a:spcAft>
            </a:pPr>
            <a:fld id="{E2801D9C-8061-420C-962F-A211A34C8FC2}" type="datetime'2''7''''''''''''''''''''''''''''''''''''''8'">
              <a:rPr lang="en-US" altLang="en-US" sz="1000" b="1" smtClean="0">
                <a:solidFill>
                  <a:srgbClr val="000000"/>
                </a:solidFill>
              </a:rPr>
              <a:pPr/>
              <a:t>278</a:t>
            </a:fld>
            <a:endParaRPr lang="en-US" sz="1000" b="1">
              <a:solidFill>
                <a:srgbClr val="000000"/>
              </a:solidFill>
            </a:endParaRPr>
          </a:p>
        </p:txBody>
      </p:sp>
      <p:sp>
        <p:nvSpPr>
          <p:cNvPr id="573" name="Rectangle 572">
            <a:extLst>
              <a:ext uri="{FF2B5EF4-FFF2-40B4-BE49-F238E27FC236}">
                <a16:creationId xmlns:a16="http://schemas.microsoft.com/office/drawing/2014/main" id="{13A6D3E1-9BD5-C089-A6A8-2ABF7F6824E8}"/>
              </a:ext>
            </a:extLst>
          </p:cNvPr>
          <p:cNvSpPr/>
          <p:nvPr>
            <p:custDataLst>
              <p:tags r:id="rId74"/>
            </p:custDataLst>
          </p:nvPr>
        </p:nvSpPr>
        <p:spPr bwMode="gray">
          <a:xfrm>
            <a:off x="8874125" y="3074988"/>
            <a:ext cx="277813" cy="1444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5000"/>
              </a:lnSpc>
              <a:spcBef>
                <a:spcPct val="0"/>
              </a:spcBef>
              <a:spcAft>
                <a:spcPct val="0"/>
              </a:spcAft>
            </a:pPr>
            <a:fld id="{33134B8B-5524-4C9F-9820-263F4BB135A6}" type="datetime'''''''''''''2''''6''''''''''''''''''''''4'''''''''">
              <a:rPr lang="en-US" altLang="en-US" sz="1000" b="1" smtClean="0">
                <a:solidFill>
                  <a:srgbClr val="000000"/>
                </a:solidFill>
              </a:rPr>
              <a:pPr/>
              <a:t>264</a:t>
            </a:fld>
            <a:endParaRPr lang="en-US" sz="1000" b="1">
              <a:solidFill>
                <a:srgbClr val="000000"/>
              </a:solidFill>
            </a:endParaRPr>
          </a:p>
        </p:txBody>
      </p:sp>
      <p:sp>
        <p:nvSpPr>
          <p:cNvPr id="1026" name="Rectangle 1025">
            <a:extLst>
              <a:ext uri="{FF2B5EF4-FFF2-40B4-BE49-F238E27FC236}">
                <a16:creationId xmlns:a16="http://schemas.microsoft.com/office/drawing/2014/main" id="{C7765D59-C64C-4C5D-C7A5-CB2A60BFE4BF}"/>
              </a:ext>
            </a:extLst>
          </p:cNvPr>
          <p:cNvSpPr/>
          <p:nvPr>
            <p:custDataLst>
              <p:tags r:id="rId75"/>
            </p:custDataLst>
          </p:nvPr>
        </p:nvSpPr>
        <p:spPr bwMode="gray">
          <a:xfrm>
            <a:off x="9480550" y="2865438"/>
            <a:ext cx="273050" cy="1444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5000"/>
              </a:lnSpc>
              <a:spcBef>
                <a:spcPct val="0"/>
              </a:spcBef>
              <a:spcAft>
                <a:spcPct val="0"/>
              </a:spcAft>
            </a:pPr>
            <a:fld id="{3478F615-032E-4584-BEBD-8F9A9A6A9145}" type="datetime'''''2''''''''''''8''''''''7'''''''''">
              <a:rPr lang="en-US" altLang="en-US" sz="1000" b="1" smtClean="0">
                <a:solidFill>
                  <a:srgbClr val="000000"/>
                </a:solidFill>
              </a:rPr>
              <a:pPr/>
              <a:t>287</a:t>
            </a:fld>
            <a:endParaRPr lang="en-US" sz="1000" b="1">
              <a:solidFill>
                <a:srgbClr val="000000"/>
              </a:solidFill>
            </a:endParaRPr>
          </a:p>
        </p:txBody>
      </p:sp>
      <p:sp>
        <p:nvSpPr>
          <p:cNvPr id="1029" name="Rectangle 1028">
            <a:extLst>
              <a:ext uri="{FF2B5EF4-FFF2-40B4-BE49-F238E27FC236}">
                <a16:creationId xmlns:a16="http://schemas.microsoft.com/office/drawing/2014/main" id="{E94A7EBF-21FE-7F84-E189-03B845E253CB}"/>
              </a:ext>
            </a:extLst>
          </p:cNvPr>
          <p:cNvSpPr/>
          <p:nvPr>
            <p:custDataLst>
              <p:tags r:id="rId76"/>
            </p:custDataLst>
          </p:nvPr>
        </p:nvSpPr>
        <p:spPr bwMode="gray">
          <a:xfrm>
            <a:off x="10090150" y="2974975"/>
            <a:ext cx="265113" cy="1444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5000"/>
              </a:lnSpc>
              <a:spcBef>
                <a:spcPct val="0"/>
              </a:spcBef>
              <a:spcAft>
                <a:spcPct val="0"/>
              </a:spcAft>
            </a:pPr>
            <a:fld id="{F9F9F4F6-B6AF-4C7E-94C2-75C59139DAEB}" type="datetime'''''''''''''''''''2''''''''7''''''''''''''''''5'''''''''''''">
              <a:rPr lang="en-US" altLang="en-US" sz="1000" b="1" smtClean="0">
                <a:solidFill>
                  <a:srgbClr val="000000"/>
                </a:solidFill>
              </a:rPr>
              <a:pPr/>
              <a:t>275</a:t>
            </a:fld>
            <a:endParaRPr lang="en-US" sz="1000" b="1">
              <a:solidFill>
                <a:srgbClr val="000000"/>
              </a:solidFill>
            </a:endParaRPr>
          </a:p>
        </p:txBody>
      </p:sp>
      <p:sp>
        <p:nvSpPr>
          <p:cNvPr id="979" name="Rectangle 978">
            <a:extLst>
              <a:ext uri="{FF2B5EF4-FFF2-40B4-BE49-F238E27FC236}">
                <a16:creationId xmlns:a16="http://schemas.microsoft.com/office/drawing/2014/main" id="{C3F0BB72-38B8-C02D-C479-D553024D7E67}"/>
              </a:ext>
            </a:extLst>
          </p:cNvPr>
          <p:cNvSpPr/>
          <p:nvPr>
            <p:custDataLst>
              <p:tags r:id="rId77"/>
            </p:custDataLst>
          </p:nvPr>
        </p:nvSpPr>
        <p:spPr bwMode="gray">
          <a:xfrm>
            <a:off x="10698163" y="3446463"/>
            <a:ext cx="258763" cy="1444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5000"/>
              </a:lnSpc>
              <a:spcBef>
                <a:spcPct val="0"/>
              </a:spcBef>
              <a:spcAft>
                <a:spcPct val="0"/>
              </a:spcAft>
            </a:pPr>
            <a:fld id="{8885F380-CBFE-48A6-BEE3-1FFBB957D3FC}" type="datetime'2''''''''''2''''''''''''''''3'''''''''''''''''''''''''''''''">
              <a:rPr lang="en-US" altLang="en-US" sz="1000" b="1" smtClean="0">
                <a:solidFill>
                  <a:srgbClr val="000000"/>
                </a:solidFill>
              </a:rPr>
              <a:pPr/>
              <a:t>223</a:t>
            </a:fld>
            <a:endParaRPr lang="en-US" sz="1000" b="1">
              <a:solidFill>
                <a:srgbClr val="000000"/>
              </a:solidFill>
            </a:endParaRPr>
          </a:p>
        </p:txBody>
      </p:sp>
      <p:sp>
        <p:nvSpPr>
          <p:cNvPr id="39" name="Rectangle 38">
            <a:extLst>
              <a:ext uri="{FF2B5EF4-FFF2-40B4-BE49-F238E27FC236}">
                <a16:creationId xmlns:a16="http://schemas.microsoft.com/office/drawing/2014/main" id="{A820BB7A-D8DA-969A-B664-B547310894FA}"/>
              </a:ext>
            </a:extLst>
          </p:cNvPr>
          <p:cNvSpPr/>
          <p:nvPr>
            <p:custDataLst>
              <p:tags r:id="rId78"/>
            </p:custDataLst>
          </p:nvPr>
        </p:nvSpPr>
        <p:spPr bwMode="auto">
          <a:xfrm>
            <a:off x="6335713" y="1612900"/>
            <a:ext cx="160338" cy="120650"/>
          </a:xfrm>
          <a:prstGeom prst="rect">
            <a:avLst/>
          </a:prstGeom>
          <a:solidFill>
            <a:schemeClr val="accent1"/>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ontserrat"/>
              <a:ea typeface="+mn-ea"/>
              <a:cs typeface="+mn-cs"/>
            </a:endParaRPr>
          </a:p>
        </p:txBody>
      </p:sp>
      <p:sp>
        <p:nvSpPr>
          <p:cNvPr id="40" name="Rectangle 39">
            <a:extLst>
              <a:ext uri="{FF2B5EF4-FFF2-40B4-BE49-F238E27FC236}">
                <a16:creationId xmlns:a16="http://schemas.microsoft.com/office/drawing/2014/main" id="{D23FF6F9-1068-CAF0-A5DF-EC21639731E2}"/>
              </a:ext>
            </a:extLst>
          </p:cNvPr>
          <p:cNvSpPr/>
          <p:nvPr>
            <p:custDataLst>
              <p:tags r:id="rId79"/>
            </p:custDataLst>
          </p:nvPr>
        </p:nvSpPr>
        <p:spPr bwMode="auto">
          <a:xfrm>
            <a:off x="6335713" y="1800225"/>
            <a:ext cx="160338" cy="120650"/>
          </a:xfrm>
          <a:prstGeom prst="rect">
            <a:avLst/>
          </a:prstGeom>
          <a:solidFill>
            <a:srgbClr val="009B7A"/>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ontserrat"/>
              <a:ea typeface="+mn-ea"/>
              <a:cs typeface="+mn-cs"/>
            </a:endParaRPr>
          </a:p>
        </p:txBody>
      </p:sp>
      <p:sp>
        <p:nvSpPr>
          <p:cNvPr id="41" name="Rectangle 40">
            <a:extLst>
              <a:ext uri="{FF2B5EF4-FFF2-40B4-BE49-F238E27FC236}">
                <a16:creationId xmlns:a16="http://schemas.microsoft.com/office/drawing/2014/main" id="{79DF3007-FFD3-F59D-162C-C93E369C3708}"/>
              </a:ext>
            </a:extLst>
          </p:cNvPr>
          <p:cNvSpPr/>
          <p:nvPr>
            <p:custDataLst>
              <p:tags r:id="rId80"/>
            </p:custDataLst>
          </p:nvPr>
        </p:nvSpPr>
        <p:spPr bwMode="auto">
          <a:xfrm>
            <a:off x="6335713" y="1987550"/>
            <a:ext cx="160338" cy="120650"/>
          </a:xfrm>
          <a:prstGeom prst="rect">
            <a:avLst/>
          </a:prstGeom>
          <a:solidFill>
            <a:schemeClr val="accent3"/>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ontserrat"/>
              <a:ea typeface="+mn-ea"/>
              <a:cs typeface="+mn-cs"/>
            </a:endParaRPr>
          </a:p>
        </p:txBody>
      </p:sp>
      <p:sp>
        <p:nvSpPr>
          <p:cNvPr id="42" name="Rectangle 41">
            <a:extLst>
              <a:ext uri="{FF2B5EF4-FFF2-40B4-BE49-F238E27FC236}">
                <a16:creationId xmlns:a16="http://schemas.microsoft.com/office/drawing/2014/main" id="{4F09E17D-E701-487F-936E-23481A4A077B}"/>
              </a:ext>
            </a:extLst>
          </p:cNvPr>
          <p:cNvSpPr/>
          <p:nvPr>
            <p:custDataLst>
              <p:tags r:id="rId81"/>
            </p:custDataLst>
          </p:nvPr>
        </p:nvSpPr>
        <p:spPr bwMode="auto">
          <a:xfrm>
            <a:off x="7926388" y="1612900"/>
            <a:ext cx="160338" cy="120650"/>
          </a:xfrm>
          <a:prstGeom prst="rect">
            <a:avLst/>
          </a:prstGeom>
          <a:solidFill>
            <a:schemeClr val="accent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ontserrat"/>
              <a:ea typeface="+mn-ea"/>
              <a:cs typeface="+mn-cs"/>
            </a:endParaRPr>
          </a:p>
        </p:txBody>
      </p:sp>
      <p:sp>
        <p:nvSpPr>
          <p:cNvPr id="43" name="Rectangle 42">
            <a:extLst>
              <a:ext uri="{FF2B5EF4-FFF2-40B4-BE49-F238E27FC236}">
                <a16:creationId xmlns:a16="http://schemas.microsoft.com/office/drawing/2014/main" id="{718389B8-EEB7-8CDA-94D2-231C77DC58AC}"/>
              </a:ext>
            </a:extLst>
          </p:cNvPr>
          <p:cNvSpPr/>
          <p:nvPr>
            <p:custDataLst>
              <p:tags r:id="rId82"/>
            </p:custDataLst>
          </p:nvPr>
        </p:nvSpPr>
        <p:spPr bwMode="auto">
          <a:xfrm>
            <a:off x="7926388" y="1800225"/>
            <a:ext cx="160338" cy="120650"/>
          </a:xfrm>
          <a:prstGeom prst="rect">
            <a:avLst/>
          </a:prstGeom>
          <a:solidFill>
            <a:srgbClr val="9DB1CF"/>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ontserrat"/>
              <a:ea typeface="+mn-ea"/>
              <a:cs typeface="+mn-cs"/>
            </a:endParaRPr>
          </a:p>
        </p:txBody>
      </p:sp>
      <p:sp>
        <p:nvSpPr>
          <p:cNvPr id="44" name="Rectangle 43">
            <a:extLst>
              <a:ext uri="{FF2B5EF4-FFF2-40B4-BE49-F238E27FC236}">
                <a16:creationId xmlns:a16="http://schemas.microsoft.com/office/drawing/2014/main" id="{E69A6AC0-E585-4B42-F8C3-87E6F576305E}"/>
              </a:ext>
            </a:extLst>
          </p:cNvPr>
          <p:cNvSpPr/>
          <p:nvPr>
            <p:custDataLst>
              <p:tags r:id="rId83"/>
            </p:custDataLst>
          </p:nvPr>
        </p:nvSpPr>
        <p:spPr bwMode="auto">
          <a:xfrm>
            <a:off x="6546850" y="1609725"/>
            <a:ext cx="99536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marL="0" marR="0" lvl="0" indent="0" algn="l" defTabSz="914400" rtl="0" eaLnBrk="1" fontAlgn="auto" latinLnBrk="0" hangingPunct="1">
              <a:lnSpc>
                <a:spcPct val="100000"/>
              </a:lnSpc>
              <a:spcBef>
                <a:spcPct val="0"/>
              </a:spcBef>
              <a:spcAft>
                <a:spcPct val="0"/>
              </a:spcAft>
              <a:buClrTx/>
              <a:buSzTx/>
              <a:buFontTx/>
              <a:buNone/>
              <a:tabLst/>
              <a:defRPr/>
            </a:pPr>
            <a:fld id="{9BDD8173-1A72-4CBF-8420-32394A0CB5E3}" type="datetime'''''O''n''''''''''''''l''''''''ine Sa''le''''s Cal''ls'">
              <a:rPr kumimoji="0" lang="en-US" altLang="en-US" sz="900" b="0" i="0" u="none" strike="noStrike" kern="1200" cap="none" spc="0" normalizeH="0" baseline="0" noProof="0" smtClean="0">
                <a:ln>
                  <a:noFill/>
                </a:ln>
                <a:solidFill>
                  <a:srgbClr val="000000"/>
                </a:solidFill>
                <a:effectLst/>
                <a:uLnTx/>
                <a:uFillTx/>
                <a:latin typeface="Montserrat"/>
                <a:ea typeface="+mn-ea"/>
                <a:cs typeface="+mn-cs"/>
              </a:rPr>
              <a:pPr marL="0" marR="0" lvl="0" indent="0" algn="l" defTabSz="914400" rtl="0" eaLnBrk="1" fontAlgn="auto" latinLnBrk="0" hangingPunct="1">
                <a:lnSpc>
                  <a:spcPct val="100000"/>
                </a:lnSpc>
                <a:spcBef>
                  <a:spcPct val="0"/>
                </a:spcBef>
                <a:spcAft>
                  <a:spcPct val="0"/>
                </a:spcAft>
                <a:buClrTx/>
                <a:buSzTx/>
                <a:buFontTx/>
                <a:buNone/>
                <a:tabLst/>
                <a:defRPr/>
              </a:pPr>
              <a:t>Online Sales Calls</a:t>
            </a:fld>
            <a:endParaRPr kumimoji="0" lang="en-US" sz="900" b="0" i="0" u="none" strike="noStrike" kern="1200" cap="none" spc="0" normalizeH="0" baseline="0" noProof="0">
              <a:ln>
                <a:noFill/>
              </a:ln>
              <a:solidFill>
                <a:srgbClr val="000000"/>
              </a:solidFill>
              <a:effectLst/>
              <a:uLnTx/>
              <a:uFillTx/>
              <a:latin typeface="Montserrat"/>
              <a:ea typeface="+mn-ea"/>
              <a:cs typeface="+mn-cs"/>
            </a:endParaRPr>
          </a:p>
        </p:txBody>
      </p:sp>
      <p:sp>
        <p:nvSpPr>
          <p:cNvPr id="45" name="Rectangle 44">
            <a:extLst>
              <a:ext uri="{FF2B5EF4-FFF2-40B4-BE49-F238E27FC236}">
                <a16:creationId xmlns:a16="http://schemas.microsoft.com/office/drawing/2014/main" id="{09D72CBA-D689-4F39-8294-7371BE63BC72}"/>
              </a:ext>
            </a:extLst>
          </p:cNvPr>
          <p:cNvSpPr/>
          <p:nvPr>
            <p:custDataLst>
              <p:tags r:id="rId84"/>
            </p:custDataLst>
          </p:nvPr>
        </p:nvSpPr>
        <p:spPr bwMode="auto">
          <a:xfrm>
            <a:off x="6546850" y="1797050"/>
            <a:ext cx="1277938"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marL="0" marR="0" lvl="0" indent="0" algn="l" defTabSz="914400" rtl="0" eaLnBrk="1" fontAlgn="auto" latinLnBrk="0" hangingPunct="1">
              <a:lnSpc>
                <a:spcPct val="100000"/>
              </a:lnSpc>
              <a:spcBef>
                <a:spcPct val="0"/>
              </a:spcBef>
              <a:spcAft>
                <a:spcPct val="0"/>
              </a:spcAft>
              <a:buClrTx/>
              <a:buSzTx/>
              <a:buFontTx/>
              <a:buNone/>
              <a:tabLst/>
              <a:defRPr/>
            </a:pPr>
            <a:fld id="{7967FFE8-C1CD-4B7A-B215-E00CFD2638BC}" type="datetime'P''ri''c''ing ''''and'' ''''O''''''th''e''''r I''''''n''f''o'">
              <a:rPr kumimoji="0" lang="en-US" altLang="en-US" sz="900" b="0" i="0" u="none" strike="noStrike" kern="1200" cap="none" spc="0" normalizeH="0" baseline="0" noProof="0" smtClean="0">
                <a:ln>
                  <a:noFill/>
                </a:ln>
                <a:solidFill>
                  <a:srgbClr val="000000"/>
                </a:solidFill>
                <a:effectLst/>
                <a:uLnTx/>
                <a:uFillTx/>
                <a:latin typeface="Montserrat"/>
                <a:ea typeface="+mn-ea"/>
                <a:cs typeface="+mn-cs"/>
              </a:rPr>
              <a:pPr marL="0" marR="0" lvl="0" indent="0" algn="l" defTabSz="914400" rtl="0" eaLnBrk="1" fontAlgn="auto" latinLnBrk="0" hangingPunct="1">
                <a:lnSpc>
                  <a:spcPct val="100000"/>
                </a:lnSpc>
                <a:spcBef>
                  <a:spcPct val="0"/>
                </a:spcBef>
                <a:spcAft>
                  <a:spcPct val="0"/>
                </a:spcAft>
                <a:buClrTx/>
                <a:buSzTx/>
                <a:buFontTx/>
                <a:buNone/>
                <a:tabLst/>
                <a:defRPr/>
              </a:pPr>
              <a:t>Pricing and Other Info</a:t>
            </a:fld>
            <a:endParaRPr kumimoji="0" lang="en-US" sz="900" b="0" i="0" u="none" strike="noStrike" kern="1200" cap="none" spc="0" normalizeH="0" baseline="0" noProof="0">
              <a:ln>
                <a:noFill/>
              </a:ln>
              <a:solidFill>
                <a:srgbClr val="000000"/>
              </a:solidFill>
              <a:effectLst/>
              <a:uLnTx/>
              <a:uFillTx/>
              <a:latin typeface="Montserrat"/>
              <a:ea typeface="+mn-ea"/>
              <a:cs typeface="+mn-cs"/>
            </a:endParaRPr>
          </a:p>
        </p:txBody>
      </p:sp>
      <p:sp>
        <p:nvSpPr>
          <p:cNvPr id="46" name="Rectangle 45">
            <a:extLst>
              <a:ext uri="{FF2B5EF4-FFF2-40B4-BE49-F238E27FC236}">
                <a16:creationId xmlns:a16="http://schemas.microsoft.com/office/drawing/2014/main" id="{6BDC6B81-CF68-4F9E-7BFE-E4E639D5F1F1}"/>
              </a:ext>
            </a:extLst>
          </p:cNvPr>
          <p:cNvSpPr/>
          <p:nvPr>
            <p:custDataLst>
              <p:tags r:id="rId85"/>
            </p:custDataLst>
          </p:nvPr>
        </p:nvSpPr>
        <p:spPr bwMode="auto">
          <a:xfrm>
            <a:off x="6546850" y="1984375"/>
            <a:ext cx="51911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marL="0" marR="0" lvl="0" indent="0" algn="l" defTabSz="914400" rtl="0" eaLnBrk="1" fontAlgn="auto" latinLnBrk="0" hangingPunct="1">
              <a:lnSpc>
                <a:spcPct val="100000"/>
              </a:lnSpc>
              <a:spcBef>
                <a:spcPct val="0"/>
              </a:spcBef>
              <a:spcAft>
                <a:spcPct val="0"/>
              </a:spcAft>
              <a:buClrTx/>
              <a:buSzTx/>
              <a:buFontTx/>
              <a:buNone/>
              <a:tabLst/>
              <a:defRPr/>
            </a:pPr>
            <a:fld id="{3E2F5E38-6B3F-4B77-92EF-6ED550847B86}" type="datetime'''''Boun''''c''''''''''''''e''''''''''''''''X'''''''''''''''''">
              <a:rPr kumimoji="0" lang="en-US" altLang="en-US" sz="900" b="0" i="0" u="none" strike="noStrike" kern="1200" cap="none" spc="0" normalizeH="0" baseline="0" noProof="0" smtClean="0">
                <a:ln>
                  <a:noFill/>
                </a:ln>
                <a:solidFill>
                  <a:srgbClr val="000000"/>
                </a:solidFill>
                <a:effectLst/>
                <a:uLnTx/>
                <a:uFillTx/>
                <a:latin typeface="Montserrat"/>
                <a:ea typeface="+mn-ea"/>
                <a:cs typeface="+mn-cs"/>
              </a:rPr>
              <a:pPr marL="0" marR="0" lvl="0" indent="0" algn="l" defTabSz="914400" rtl="0" eaLnBrk="1" fontAlgn="auto" latinLnBrk="0" hangingPunct="1">
                <a:lnSpc>
                  <a:spcPct val="100000"/>
                </a:lnSpc>
                <a:spcBef>
                  <a:spcPct val="0"/>
                </a:spcBef>
                <a:spcAft>
                  <a:spcPct val="0"/>
                </a:spcAft>
                <a:buClrTx/>
                <a:buSzTx/>
                <a:buFontTx/>
                <a:buNone/>
                <a:tabLst/>
                <a:defRPr/>
              </a:pPr>
              <a:t>BounceX</a:t>
            </a:fld>
            <a:endParaRPr kumimoji="0" lang="en-US" sz="900" b="0" i="0" u="none" strike="noStrike" kern="1200" cap="none" spc="0" normalizeH="0" baseline="0" noProof="0">
              <a:ln>
                <a:noFill/>
              </a:ln>
              <a:solidFill>
                <a:srgbClr val="000000"/>
              </a:solidFill>
              <a:effectLst/>
              <a:uLnTx/>
              <a:uFillTx/>
              <a:latin typeface="Montserrat"/>
              <a:ea typeface="+mn-ea"/>
              <a:cs typeface="+mn-cs"/>
            </a:endParaRPr>
          </a:p>
        </p:txBody>
      </p:sp>
      <p:sp>
        <p:nvSpPr>
          <p:cNvPr id="47" name="Rectangle 46">
            <a:extLst>
              <a:ext uri="{FF2B5EF4-FFF2-40B4-BE49-F238E27FC236}">
                <a16:creationId xmlns:a16="http://schemas.microsoft.com/office/drawing/2014/main" id="{A970B42C-5413-D2A2-CEEE-EDC50847432C}"/>
              </a:ext>
            </a:extLst>
          </p:cNvPr>
          <p:cNvSpPr/>
          <p:nvPr>
            <p:custDataLst>
              <p:tags r:id="rId86"/>
            </p:custDataLst>
          </p:nvPr>
        </p:nvSpPr>
        <p:spPr bwMode="auto">
          <a:xfrm>
            <a:off x="8137525" y="1609725"/>
            <a:ext cx="32861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marL="0" marR="0" lvl="0" indent="0" algn="l" defTabSz="914400" rtl="0" eaLnBrk="1" fontAlgn="auto" latinLnBrk="0" hangingPunct="1">
              <a:lnSpc>
                <a:spcPct val="100000"/>
              </a:lnSpc>
              <a:spcBef>
                <a:spcPct val="0"/>
              </a:spcBef>
              <a:spcAft>
                <a:spcPct val="0"/>
              </a:spcAft>
              <a:buClrTx/>
              <a:buSzTx/>
              <a:buFontTx/>
              <a:buNone/>
              <a:tabLst/>
              <a:defRPr/>
            </a:pPr>
            <a:fld id="{DD904838-588F-4F1B-8BDF-F47D060DCED6}" type="datetime'C''''''h''''''a''''''''''t''s'''''''''''''">
              <a:rPr kumimoji="0" lang="en-US" altLang="en-US" sz="900" b="0" i="0" u="none" strike="noStrike" kern="1200" cap="none" spc="0" normalizeH="0" baseline="0" noProof="0" smtClean="0">
                <a:ln>
                  <a:noFill/>
                </a:ln>
                <a:solidFill>
                  <a:srgbClr val="000000"/>
                </a:solidFill>
                <a:effectLst/>
                <a:uLnTx/>
                <a:uFillTx/>
                <a:latin typeface="Montserrat"/>
                <a:ea typeface="+mn-ea"/>
                <a:cs typeface="+mn-cs"/>
              </a:rPr>
              <a:pPr marL="0" marR="0" lvl="0" indent="0" algn="l" defTabSz="914400" rtl="0" eaLnBrk="1" fontAlgn="auto" latinLnBrk="0" hangingPunct="1">
                <a:lnSpc>
                  <a:spcPct val="100000"/>
                </a:lnSpc>
                <a:spcBef>
                  <a:spcPct val="0"/>
                </a:spcBef>
                <a:spcAft>
                  <a:spcPct val="0"/>
                </a:spcAft>
                <a:buClrTx/>
                <a:buSzTx/>
                <a:buFontTx/>
                <a:buNone/>
                <a:tabLst/>
                <a:defRPr/>
              </a:pPr>
              <a:t>Chats</a:t>
            </a:fld>
            <a:endParaRPr kumimoji="0" lang="en-US" sz="900" b="0" i="0" u="none" strike="noStrike" kern="1200" cap="none" spc="0" normalizeH="0" baseline="0" noProof="0">
              <a:ln>
                <a:noFill/>
              </a:ln>
              <a:solidFill>
                <a:srgbClr val="000000"/>
              </a:solidFill>
              <a:effectLst/>
              <a:uLnTx/>
              <a:uFillTx/>
              <a:latin typeface="Montserrat"/>
              <a:ea typeface="+mn-ea"/>
              <a:cs typeface="+mn-cs"/>
            </a:endParaRPr>
          </a:p>
        </p:txBody>
      </p:sp>
      <p:sp>
        <p:nvSpPr>
          <p:cNvPr id="48" name="Rectangle 47">
            <a:extLst>
              <a:ext uri="{FF2B5EF4-FFF2-40B4-BE49-F238E27FC236}">
                <a16:creationId xmlns:a16="http://schemas.microsoft.com/office/drawing/2014/main" id="{E063A04E-E68F-DC90-FF7A-A5096AE08481}"/>
              </a:ext>
            </a:extLst>
          </p:cNvPr>
          <p:cNvSpPr/>
          <p:nvPr>
            <p:custDataLst>
              <p:tags r:id="rId87"/>
            </p:custDataLst>
          </p:nvPr>
        </p:nvSpPr>
        <p:spPr bwMode="auto">
          <a:xfrm>
            <a:off x="8137525" y="1797050"/>
            <a:ext cx="82391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marL="0" marR="0" lvl="0" indent="0" algn="l" defTabSz="914400" rtl="0" eaLnBrk="1" fontAlgn="auto" latinLnBrk="0" hangingPunct="1">
              <a:lnSpc>
                <a:spcPct val="100000"/>
              </a:lnSpc>
              <a:spcBef>
                <a:spcPct val="0"/>
              </a:spcBef>
              <a:spcAft>
                <a:spcPct val="0"/>
              </a:spcAft>
              <a:buClrTx/>
              <a:buSzTx/>
              <a:buFontTx/>
              <a:buNone/>
              <a:tabLst/>
              <a:defRPr/>
            </a:pPr>
            <a:fld id="{BA3D2A0F-5CE6-4680-9087-CF3208301BA7}" type="datetime'''B''''''''''''u''y''f''''''''lo''''w ''''''''S''t''art''s'''">
              <a:rPr kumimoji="0" lang="en-US" altLang="en-US" sz="900" b="0" i="0" u="none" strike="noStrike" kern="1200" cap="none" spc="0" normalizeH="0" baseline="0" noProof="0" smtClean="0">
                <a:ln>
                  <a:noFill/>
                </a:ln>
                <a:solidFill>
                  <a:srgbClr val="000000"/>
                </a:solidFill>
                <a:effectLst/>
                <a:uLnTx/>
                <a:uFillTx/>
                <a:latin typeface="Montserrat"/>
                <a:ea typeface="+mn-ea"/>
                <a:cs typeface="+mn-cs"/>
              </a:rPr>
              <a:pPr marL="0" marR="0" lvl="0" indent="0" algn="l" defTabSz="914400" rtl="0" eaLnBrk="1" fontAlgn="auto" latinLnBrk="0" hangingPunct="1">
                <a:lnSpc>
                  <a:spcPct val="100000"/>
                </a:lnSpc>
                <a:spcBef>
                  <a:spcPct val="0"/>
                </a:spcBef>
                <a:spcAft>
                  <a:spcPct val="0"/>
                </a:spcAft>
                <a:buClrTx/>
                <a:buSzTx/>
                <a:buFontTx/>
                <a:buNone/>
                <a:tabLst/>
                <a:defRPr/>
              </a:pPr>
              <a:t>Buyflow Starts</a:t>
            </a:fld>
            <a:endParaRPr kumimoji="0" lang="en-US" sz="900" b="0" i="0" u="none" strike="noStrike" kern="1200" cap="none" spc="0" normalizeH="0" baseline="0" noProof="0">
              <a:ln>
                <a:noFill/>
              </a:ln>
              <a:solidFill>
                <a:srgbClr val="000000"/>
              </a:solidFill>
              <a:effectLst/>
              <a:uLnTx/>
              <a:uFillTx/>
              <a:latin typeface="Montserrat"/>
              <a:ea typeface="+mn-ea"/>
              <a:cs typeface="+mn-cs"/>
            </a:endParaRPr>
          </a:p>
        </p:txBody>
      </p:sp>
      <p:cxnSp>
        <p:nvCxnSpPr>
          <p:cNvPr id="2" name="Straight Connector 1">
            <a:extLst>
              <a:ext uri="{FF2B5EF4-FFF2-40B4-BE49-F238E27FC236}">
                <a16:creationId xmlns:a16="http://schemas.microsoft.com/office/drawing/2014/main" id="{36376B48-2F61-C1CC-71DE-24E36A233EDF}"/>
              </a:ext>
            </a:extLst>
          </p:cNvPr>
          <p:cNvCxnSpPr>
            <a:cxnSpLocks/>
          </p:cNvCxnSpPr>
          <p:nvPr/>
        </p:nvCxnSpPr>
        <p:spPr>
          <a:xfrm>
            <a:off x="3074987" y="1954057"/>
            <a:ext cx="0" cy="3967570"/>
          </a:xfrm>
          <a:prstGeom prst="line">
            <a:avLst/>
          </a:prstGeom>
          <a:ln w="381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CD8770F5-9D58-2803-04C6-8901226B1CE0}"/>
              </a:ext>
            </a:extLst>
          </p:cNvPr>
          <p:cNvSpPr txBox="1"/>
          <p:nvPr/>
        </p:nvSpPr>
        <p:spPr>
          <a:xfrm>
            <a:off x="1549787" y="6002181"/>
            <a:ext cx="1023108" cy="143188"/>
          </a:xfrm>
          <a:prstGeom prst="rect">
            <a:avLst/>
          </a:prstGeom>
          <a:noFill/>
        </p:spPr>
        <p:txBody>
          <a:bodyPr wrap="squar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solidFill>
                <a:effectLst/>
                <a:uLnTx/>
                <a:uFillTx/>
                <a:latin typeface="Montserrat"/>
                <a:ea typeface="+mn-ea"/>
                <a:cs typeface="+mn-cs"/>
              </a:rPr>
              <a:t>&lt;&lt;&lt;Monthly</a:t>
            </a:r>
          </a:p>
        </p:txBody>
      </p:sp>
      <p:sp>
        <p:nvSpPr>
          <p:cNvPr id="5" name="TextBox 4">
            <a:extLst>
              <a:ext uri="{FF2B5EF4-FFF2-40B4-BE49-F238E27FC236}">
                <a16:creationId xmlns:a16="http://schemas.microsoft.com/office/drawing/2014/main" id="{B472EF86-A315-BE43-F9C1-2E1884224688}"/>
              </a:ext>
            </a:extLst>
          </p:cNvPr>
          <p:cNvSpPr txBox="1"/>
          <p:nvPr/>
        </p:nvSpPr>
        <p:spPr>
          <a:xfrm>
            <a:off x="2880280" y="6002181"/>
            <a:ext cx="1023108" cy="143188"/>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solidFill>
                <a:effectLst/>
                <a:uLnTx/>
                <a:uFillTx/>
                <a:latin typeface="Montserrat"/>
                <a:ea typeface="+mn-ea"/>
                <a:cs typeface="+mn-cs"/>
              </a:rPr>
              <a:t>Weekly &gt;&gt;&gt;</a:t>
            </a:r>
          </a:p>
        </p:txBody>
      </p:sp>
      <p:cxnSp>
        <p:nvCxnSpPr>
          <p:cNvPr id="8" name="Straight Connector 7">
            <a:extLst>
              <a:ext uri="{FF2B5EF4-FFF2-40B4-BE49-F238E27FC236}">
                <a16:creationId xmlns:a16="http://schemas.microsoft.com/office/drawing/2014/main" id="{75742641-26A3-B35A-A183-4A68DB0A6A80}"/>
              </a:ext>
            </a:extLst>
          </p:cNvPr>
          <p:cNvCxnSpPr>
            <a:cxnSpLocks/>
          </p:cNvCxnSpPr>
          <p:nvPr/>
        </p:nvCxnSpPr>
        <p:spPr>
          <a:xfrm>
            <a:off x="8709819" y="2014382"/>
            <a:ext cx="0" cy="3967570"/>
          </a:xfrm>
          <a:prstGeom prst="line">
            <a:avLst/>
          </a:prstGeom>
          <a:ln w="381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1EEE812C-0857-9E3F-C8FB-1E4E18533F30}"/>
              </a:ext>
            </a:extLst>
          </p:cNvPr>
          <p:cNvSpPr txBox="1"/>
          <p:nvPr/>
        </p:nvSpPr>
        <p:spPr>
          <a:xfrm>
            <a:off x="7545501" y="6002181"/>
            <a:ext cx="1023108" cy="143188"/>
          </a:xfrm>
          <a:prstGeom prst="rect">
            <a:avLst/>
          </a:prstGeom>
          <a:noFill/>
        </p:spPr>
        <p:txBody>
          <a:bodyPr wrap="squar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solidFill>
                <a:effectLst/>
                <a:uLnTx/>
                <a:uFillTx/>
                <a:latin typeface="Montserrat"/>
                <a:ea typeface="+mn-ea"/>
                <a:cs typeface="+mn-cs"/>
              </a:rPr>
              <a:t>&lt;&lt;&lt;Monthly</a:t>
            </a:r>
          </a:p>
        </p:txBody>
      </p:sp>
      <p:sp>
        <p:nvSpPr>
          <p:cNvPr id="13" name="TextBox 12">
            <a:extLst>
              <a:ext uri="{FF2B5EF4-FFF2-40B4-BE49-F238E27FC236}">
                <a16:creationId xmlns:a16="http://schemas.microsoft.com/office/drawing/2014/main" id="{A8C080BB-1C27-AA86-8AD1-58E985888642}"/>
              </a:ext>
            </a:extLst>
          </p:cNvPr>
          <p:cNvSpPr txBox="1"/>
          <p:nvPr/>
        </p:nvSpPr>
        <p:spPr>
          <a:xfrm>
            <a:off x="8875994" y="6002181"/>
            <a:ext cx="1023108" cy="143188"/>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solidFill>
                <a:effectLst/>
                <a:uLnTx/>
                <a:uFillTx/>
                <a:latin typeface="Montserrat"/>
                <a:ea typeface="+mn-ea"/>
                <a:cs typeface="+mn-cs"/>
              </a:rPr>
              <a:t>Weekly &gt;&gt;&gt;</a:t>
            </a:r>
          </a:p>
        </p:txBody>
      </p:sp>
      <p:sp>
        <p:nvSpPr>
          <p:cNvPr id="713" name="TextBox 712">
            <a:extLst>
              <a:ext uri="{FF2B5EF4-FFF2-40B4-BE49-F238E27FC236}">
                <a16:creationId xmlns:a16="http://schemas.microsoft.com/office/drawing/2014/main" id="{1090A74F-7AE0-2576-77F8-B9CC8A4837BB}"/>
              </a:ext>
            </a:extLst>
          </p:cNvPr>
          <p:cNvSpPr txBox="1"/>
          <p:nvPr/>
        </p:nvSpPr>
        <p:spPr>
          <a:xfrm>
            <a:off x="7944284" y="4796757"/>
            <a:ext cx="334584" cy="260350"/>
          </a:xfrm>
          <a:prstGeom prst="rect">
            <a:avLst/>
          </a:prstGeom>
          <a:noFill/>
        </p:spPr>
        <p:txBody>
          <a:bodyPr wrap="square" lIns="0" tIns="0" rIns="0" bIns="0" rtlCol="0" anchor="ctr">
            <a:noAutofit/>
          </a:bodyPr>
          <a:lstStyle/>
          <a:p>
            <a:pPr algn="ctr"/>
            <a:r>
              <a:rPr lang="en-US" sz="800" b="1" dirty="0">
                <a:solidFill>
                  <a:schemeClr val="accent3">
                    <a:lumMod val="50000"/>
                  </a:schemeClr>
                </a:solidFill>
              </a:rPr>
              <a:t>+21%</a:t>
            </a:r>
          </a:p>
        </p:txBody>
      </p:sp>
      <p:sp>
        <p:nvSpPr>
          <p:cNvPr id="7" name="Rectangle 6">
            <a:extLst>
              <a:ext uri="{FF2B5EF4-FFF2-40B4-BE49-F238E27FC236}">
                <a16:creationId xmlns:a16="http://schemas.microsoft.com/office/drawing/2014/main" id="{EA86C16E-774D-E003-AF2B-7D0D3075F77E}"/>
              </a:ext>
            </a:extLst>
          </p:cNvPr>
          <p:cNvSpPr/>
          <p:nvPr/>
        </p:nvSpPr>
        <p:spPr>
          <a:xfrm>
            <a:off x="352425" y="1184275"/>
            <a:ext cx="3619499" cy="50006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u="sng" dirty="0">
                <a:solidFill>
                  <a:schemeClr val="tx1"/>
                </a:solidFill>
              </a:rPr>
              <a:t>Digital Lead to Sale Rate</a:t>
            </a:r>
          </a:p>
        </p:txBody>
      </p:sp>
      <p:sp>
        <p:nvSpPr>
          <p:cNvPr id="14" name="Rectangle 13">
            <a:extLst>
              <a:ext uri="{FF2B5EF4-FFF2-40B4-BE49-F238E27FC236}">
                <a16:creationId xmlns:a16="http://schemas.microsoft.com/office/drawing/2014/main" id="{694B81DB-A117-FD31-E2D5-CE392B1C347D}"/>
              </a:ext>
            </a:extLst>
          </p:cNvPr>
          <p:cNvSpPr/>
          <p:nvPr/>
        </p:nvSpPr>
        <p:spPr>
          <a:xfrm>
            <a:off x="5958869" y="1165224"/>
            <a:ext cx="3187048" cy="50006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u="sng" dirty="0">
                <a:solidFill>
                  <a:schemeClr val="tx1"/>
                </a:solidFill>
              </a:rPr>
              <a:t>Digitally Sourced Sales</a:t>
            </a:r>
          </a:p>
        </p:txBody>
      </p:sp>
      <p:sp>
        <p:nvSpPr>
          <p:cNvPr id="62" name="Text Placeholder 15">
            <a:extLst>
              <a:ext uri="{FF2B5EF4-FFF2-40B4-BE49-F238E27FC236}">
                <a16:creationId xmlns:a16="http://schemas.microsoft.com/office/drawing/2014/main" id="{AE5C7712-0740-4D99-96B6-CB97091D4A66}"/>
              </a:ext>
            </a:extLst>
          </p:cNvPr>
          <p:cNvSpPr txBox="1">
            <a:spLocks/>
          </p:cNvSpPr>
          <p:nvPr/>
        </p:nvSpPr>
        <p:spPr>
          <a:xfrm>
            <a:off x="463549" y="874390"/>
            <a:ext cx="11271250" cy="261466"/>
          </a:xfrm>
          <a:prstGeom prst="rect">
            <a:avLst/>
          </a:prstGeom>
        </p:spPr>
        <p:txBody>
          <a:bodyPr lIns="0" tIns="0" rIns="0" bIns="0" anchor="t"/>
          <a:lstStyle>
            <a:lvl1pPr marL="0" indent="0" algn="l" rtl="0" eaLnBrk="1" fontAlgn="base" hangingPunct="1">
              <a:lnSpc>
                <a:spcPct val="95000"/>
              </a:lnSpc>
              <a:spcBef>
                <a:spcPts val="1000"/>
              </a:spcBef>
              <a:spcAft>
                <a:spcPct val="0"/>
              </a:spcAft>
              <a:buFont typeface="Arial" panose="020B0604020202020204" pitchFamily="34" charset="0"/>
              <a:buNone/>
              <a:defRPr sz="1800" b="0" i="0" kern="1200">
                <a:solidFill>
                  <a:schemeClr val="tx1"/>
                </a:solidFill>
                <a:latin typeface="Montserrat Light" pitchFamily="2" charset="77"/>
                <a:ea typeface="+mn-ea"/>
                <a:cs typeface="Montserrat Light" pitchFamily="2" charset="77"/>
              </a:defRPr>
            </a:lvl1pPr>
            <a:lvl2pPr marL="174625" indent="-174625" algn="l" rtl="0" eaLnBrk="1" fontAlgn="base" hangingPunct="1">
              <a:lnSpc>
                <a:spcPct val="90000"/>
              </a:lnSpc>
              <a:spcBef>
                <a:spcPts val="1200"/>
              </a:spcBef>
              <a:spcAft>
                <a:spcPct val="0"/>
              </a:spcAft>
              <a:buFont typeface="Arial" panose="020B0604020202020204" pitchFamily="34" charset="0"/>
              <a:buChar char="•"/>
              <a:tabLst/>
              <a:defRPr sz="1800" b="0" i="0" kern="1200">
                <a:solidFill>
                  <a:schemeClr val="tx1"/>
                </a:solidFill>
                <a:latin typeface="Montserrat Light" pitchFamily="2" charset="77"/>
                <a:ea typeface="+mn-ea"/>
                <a:cs typeface="Montserrat Light" pitchFamily="2" charset="77"/>
              </a:defRPr>
            </a:lvl2pPr>
            <a:lvl3pPr marL="560070" indent="-285750" algn="l" rtl="0" eaLnBrk="1" fontAlgn="base" hangingPunct="1">
              <a:lnSpc>
                <a:spcPct val="90000"/>
              </a:lnSpc>
              <a:spcBef>
                <a:spcPts val="1200"/>
              </a:spcBef>
              <a:spcAft>
                <a:spcPct val="0"/>
              </a:spcAft>
              <a:buFont typeface="Montserrat" panose="00000500000000000000" pitchFamily="2" charset="0"/>
              <a:buChar char="–"/>
              <a:defRPr sz="1800" b="0" i="0" kern="1200">
                <a:solidFill>
                  <a:schemeClr val="tx1"/>
                </a:solidFill>
                <a:latin typeface="Montserrat Light" pitchFamily="2" charset="77"/>
                <a:ea typeface="+mn-ea"/>
                <a:cs typeface="Montserrat Light" pitchFamily="2" charset="77"/>
              </a:defRPr>
            </a:lvl3pPr>
            <a:lvl4pPr marL="834390" indent="-285750" algn="l" rtl="0" eaLnBrk="1" fontAlgn="base" hangingPunct="1">
              <a:lnSpc>
                <a:spcPct val="90000"/>
              </a:lnSpc>
              <a:spcBef>
                <a:spcPts val="1200"/>
              </a:spcBef>
              <a:spcAft>
                <a:spcPct val="0"/>
              </a:spcAft>
              <a:buFont typeface="Courier New" panose="02070309020205020404" pitchFamily="49" charset="0"/>
              <a:buChar char="o"/>
              <a:defRPr sz="1600" b="0" i="0" kern="1200">
                <a:solidFill>
                  <a:schemeClr val="tx1"/>
                </a:solidFill>
                <a:latin typeface="Montserrat Light" pitchFamily="2" charset="77"/>
                <a:ea typeface="+mn-ea"/>
                <a:cs typeface="Montserrat Light" pitchFamily="2" charset="77"/>
              </a:defRPr>
            </a:lvl4pPr>
            <a:lvl5pPr marL="1108710" indent="-285750" algn="l" rtl="0" eaLnBrk="1" fontAlgn="base" hangingPunct="1">
              <a:lnSpc>
                <a:spcPct val="90000"/>
              </a:lnSpc>
              <a:spcBef>
                <a:spcPts val="500"/>
              </a:spcBef>
              <a:spcAft>
                <a:spcPct val="0"/>
              </a:spcAft>
              <a:buFont typeface="Arial" panose="020B0604020202020204" pitchFamily="34" charset="0"/>
              <a:defRPr lang="en-US" sz="1400" b="0" i="0" u="none" strike="noStrike" kern="1200" cap="none" spc="0" baseline="0" dirty="0">
                <a:solidFill>
                  <a:srgbClr val="000000"/>
                </a:solidFill>
                <a:uFillTx/>
                <a:latin typeface="Montserrat Light" pitchFamily="2" charset="77"/>
                <a:ea typeface="Montserrat" panose="00000500000000000000" pitchFamily="2" charset="0"/>
                <a:cs typeface="Montserrat Light" pitchFamily="2" charset="77"/>
                <a:sym typeface="Montserrat" panose="000005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dirty="0">
                <a:latin typeface="+mn-lt"/>
              </a:rPr>
              <a:t>Lorem ipsum dolor sit </a:t>
            </a:r>
            <a:r>
              <a:rPr lang="en-US" sz="1400" dirty="0" err="1">
                <a:latin typeface="+mn-lt"/>
              </a:rPr>
              <a:t>amet</a:t>
            </a:r>
            <a:r>
              <a:rPr lang="en-US" sz="1400" dirty="0">
                <a:latin typeface="+mn-lt"/>
              </a:rPr>
              <a:t>, </a:t>
            </a:r>
            <a:r>
              <a:rPr lang="en-US" sz="1400" dirty="0" err="1">
                <a:latin typeface="+mn-lt"/>
              </a:rPr>
              <a:t>consectetur</a:t>
            </a:r>
            <a:r>
              <a:rPr lang="en-US" sz="1400" dirty="0">
                <a:latin typeface="+mn-lt"/>
              </a:rPr>
              <a:t> </a:t>
            </a:r>
            <a:r>
              <a:rPr lang="en-US" sz="1400" dirty="0" err="1">
                <a:latin typeface="+mn-lt"/>
              </a:rPr>
              <a:t>adipiscing</a:t>
            </a:r>
            <a:r>
              <a:rPr lang="en-US" sz="1400" dirty="0">
                <a:latin typeface="+mn-lt"/>
              </a:rPr>
              <a:t> </a:t>
            </a:r>
            <a:r>
              <a:rPr lang="en-US" sz="1400" dirty="0" err="1">
                <a:latin typeface="+mn-lt"/>
              </a:rPr>
              <a:t>elit</a:t>
            </a:r>
            <a:r>
              <a:rPr lang="en-US" sz="1400" dirty="0">
                <a:latin typeface="+mn-lt"/>
              </a:rPr>
              <a:t>, sed do </a:t>
            </a:r>
            <a:r>
              <a:rPr lang="en-US" sz="1400" dirty="0" err="1">
                <a:latin typeface="+mn-lt"/>
              </a:rPr>
              <a:t>eiusmod</a:t>
            </a:r>
            <a:r>
              <a:rPr lang="en-US" sz="1400" dirty="0">
                <a:latin typeface="+mn-lt"/>
              </a:rPr>
              <a:t> </a:t>
            </a:r>
            <a:r>
              <a:rPr lang="en-US" sz="1400" dirty="0" err="1">
                <a:latin typeface="+mn-lt"/>
              </a:rPr>
              <a:t>tempor</a:t>
            </a:r>
            <a:r>
              <a:rPr lang="en-US" sz="1400" dirty="0">
                <a:latin typeface="+mn-lt"/>
              </a:rPr>
              <a:t> </a:t>
            </a:r>
            <a:r>
              <a:rPr lang="en-US" sz="1400" dirty="0" err="1">
                <a:latin typeface="+mn-lt"/>
              </a:rPr>
              <a:t>incididunt</a:t>
            </a:r>
            <a:r>
              <a:rPr lang="en-US" sz="1400" dirty="0">
                <a:latin typeface="+mn-lt"/>
              </a:rPr>
              <a:t> </a:t>
            </a:r>
            <a:r>
              <a:rPr lang="en-US" sz="1400" dirty="0" err="1">
                <a:latin typeface="+mn-lt"/>
              </a:rPr>
              <a:t>ut</a:t>
            </a:r>
            <a:r>
              <a:rPr lang="en-US" sz="1400" dirty="0">
                <a:latin typeface="+mn-lt"/>
              </a:rPr>
              <a:t> labore et dolore magna </a:t>
            </a:r>
            <a:r>
              <a:rPr lang="en-US" sz="1400" dirty="0" err="1">
                <a:latin typeface="+mn-lt"/>
              </a:rPr>
              <a:t>aliqua</a:t>
            </a:r>
            <a:r>
              <a:rPr lang="en-US" sz="1400" dirty="0">
                <a:latin typeface="+mn-lt"/>
              </a:rPr>
              <a:t>. Ut </a:t>
            </a:r>
            <a:r>
              <a:rPr lang="en-US" sz="1400" dirty="0" err="1">
                <a:latin typeface="+mn-lt"/>
              </a:rPr>
              <a:t>enim</a:t>
            </a:r>
            <a:r>
              <a:rPr lang="en-US" sz="1400" dirty="0">
                <a:latin typeface="+mn-lt"/>
              </a:rPr>
              <a:t> ad minim </a:t>
            </a:r>
            <a:r>
              <a:rPr lang="en-US" sz="1400" dirty="0" err="1">
                <a:latin typeface="+mn-lt"/>
              </a:rPr>
              <a:t>veniam</a:t>
            </a:r>
            <a:r>
              <a:rPr lang="en-US" sz="1400" dirty="0">
                <a:latin typeface="+mn-lt"/>
              </a:rPr>
              <a:t>, </a:t>
            </a:r>
            <a:r>
              <a:rPr lang="en-US" sz="1400" dirty="0" err="1">
                <a:latin typeface="+mn-lt"/>
              </a:rPr>
              <a:t>quis</a:t>
            </a:r>
            <a:r>
              <a:rPr lang="en-US" sz="1400" dirty="0">
                <a:latin typeface="+mn-lt"/>
              </a:rPr>
              <a:t> </a:t>
            </a:r>
            <a:r>
              <a:rPr lang="en-US" sz="1400" dirty="0" err="1">
                <a:latin typeface="+mn-lt"/>
              </a:rPr>
              <a:t>nostrud</a:t>
            </a:r>
            <a:r>
              <a:rPr lang="en-US" sz="1400" dirty="0">
                <a:latin typeface="+mn-lt"/>
              </a:rPr>
              <a:t> exercitation </a:t>
            </a:r>
            <a:r>
              <a:rPr lang="en-US" sz="1400" dirty="0" err="1">
                <a:latin typeface="+mn-lt"/>
              </a:rPr>
              <a:t>ullamco</a:t>
            </a:r>
            <a:r>
              <a:rPr lang="en-US" sz="1400" dirty="0">
                <a:latin typeface="+mn-lt"/>
              </a:rPr>
              <a:t> </a:t>
            </a:r>
            <a:r>
              <a:rPr lang="en-US" sz="1400" dirty="0" err="1">
                <a:latin typeface="+mn-lt"/>
              </a:rPr>
              <a:t>laboris</a:t>
            </a:r>
            <a:r>
              <a:rPr lang="en-US" sz="1400" dirty="0">
                <a:latin typeface="+mn-lt"/>
              </a:rPr>
              <a:t> nisi </a:t>
            </a:r>
            <a:r>
              <a:rPr lang="en-US" sz="1400" dirty="0" err="1">
                <a:latin typeface="+mn-lt"/>
              </a:rPr>
              <a:t>ut</a:t>
            </a:r>
            <a:r>
              <a:rPr lang="en-US" sz="1400" dirty="0">
                <a:latin typeface="+mn-lt"/>
              </a:rPr>
              <a:t> </a:t>
            </a:r>
            <a:r>
              <a:rPr lang="en-US" sz="1400" dirty="0" err="1">
                <a:latin typeface="+mn-lt"/>
              </a:rPr>
              <a:t>aliquip</a:t>
            </a:r>
            <a:r>
              <a:rPr lang="en-US" sz="1400" dirty="0">
                <a:latin typeface="+mn-lt"/>
              </a:rPr>
              <a:t> ex </a:t>
            </a:r>
            <a:r>
              <a:rPr lang="en-US" sz="1400" dirty="0" err="1">
                <a:latin typeface="+mn-lt"/>
              </a:rPr>
              <a:t>ea</a:t>
            </a:r>
            <a:r>
              <a:rPr lang="en-US" sz="1400" dirty="0">
                <a:latin typeface="+mn-lt"/>
              </a:rPr>
              <a:t> </a:t>
            </a:r>
            <a:r>
              <a:rPr lang="en-US" sz="1400" dirty="0" err="1">
                <a:latin typeface="+mn-lt"/>
              </a:rPr>
              <a:t>commodo</a:t>
            </a:r>
            <a:r>
              <a:rPr lang="en-US" sz="1400" dirty="0">
                <a:latin typeface="+mn-lt"/>
              </a:rPr>
              <a:t> </a:t>
            </a:r>
            <a:r>
              <a:rPr lang="en-US" sz="1400" dirty="0" err="1">
                <a:latin typeface="+mn-lt"/>
              </a:rPr>
              <a:t>consequat</a:t>
            </a:r>
            <a:r>
              <a:rPr lang="en-US" sz="1400" dirty="0">
                <a:latin typeface="+mn-lt"/>
              </a:rPr>
              <a:t>.</a:t>
            </a:r>
          </a:p>
        </p:txBody>
      </p:sp>
    </p:spTree>
    <p:extLst>
      <p:ext uri="{BB962C8B-B14F-4D97-AF65-F5344CB8AC3E}">
        <p14:creationId xmlns:p14="http://schemas.microsoft.com/office/powerpoint/2010/main" val="1385568790"/>
      </p:ext>
    </p:extLst>
  </p:cSld>
  <p:clrMapOvr>
    <a:masterClrMapping/>
  </p:clrMapOvr>
  <p:transition spd="med"/>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DA721A4-B61D-4898-A4FD-DF88FB48C309}"/>
              </a:ext>
            </a:extLst>
          </p:cNvPr>
          <p:cNvGraphicFramePr>
            <a:graphicFrameLocks noChangeAspect="1"/>
          </p:cNvGraphicFramePr>
          <p:nvPr>
            <p:custDataLst>
              <p:tags r:id="rId1"/>
            </p:custDataLst>
            <p:extLst>
              <p:ext uri="{D42A27DB-BD31-4B8C-83A1-F6EECF244321}">
                <p14:modId xmlns:p14="http://schemas.microsoft.com/office/powerpoint/2010/main" val="173368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7" name="think-cell data - do not delete" hidden="1">
                        <a:extLst>
                          <a:ext uri="{FF2B5EF4-FFF2-40B4-BE49-F238E27FC236}">
                            <a16:creationId xmlns:a16="http://schemas.microsoft.com/office/drawing/2014/main" id="{DDA721A4-B61D-4898-A4FD-DF88FB48C30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6E504CF6-F4C5-4AFB-BABD-62C91D5D7DA9}"/>
              </a:ext>
            </a:extLst>
          </p:cNvPr>
          <p:cNvSpPr>
            <a:spLocks noGrp="1"/>
          </p:cNvSpPr>
          <p:nvPr>
            <p:ph type="title"/>
          </p:nvPr>
        </p:nvSpPr>
        <p:spPr/>
        <p:txBody>
          <a:bodyPr vert="horz"/>
          <a:lstStyle/>
          <a:p>
            <a:r>
              <a:rPr lang="en-US"/>
              <a:t>Appendix</a:t>
            </a:r>
          </a:p>
        </p:txBody>
      </p:sp>
    </p:spTree>
    <p:extLst>
      <p:ext uri="{BB962C8B-B14F-4D97-AF65-F5344CB8AC3E}">
        <p14:creationId xmlns:p14="http://schemas.microsoft.com/office/powerpoint/2010/main" val="40987292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945D411-C3A3-944A-33E0-0DA89DE9CE98}"/>
              </a:ext>
            </a:extLst>
          </p:cNvPr>
          <p:cNvGraphicFramePr>
            <a:graphicFrameLocks noChangeAspect="1"/>
          </p:cNvGraphicFramePr>
          <p:nvPr>
            <p:custDataLst>
              <p:tags r:id="rId1"/>
            </p:custDataLst>
            <p:extLst>
              <p:ext uri="{D42A27DB-BD31-4B8C-83A1-F6EECF244321}">
                <p14:modId xmlns:p14="http://schemas.microsoft.com/office/powerpoint/2010/main" val="12818705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6" name="think-cell data - do not delete" hidden="1">
                        <a:extLst>
                          <a:ext uri="{FF2B5EF4-FFF2-40B4-BE49-F238E27FC236}">
                            <a16:creationId xmlns:a16="http://schemas.microsoft.com/office/drawing/2014/main" id="{7945D411-C3A3-944A-33E0-0DA89DE9CE9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DBECCDD0-0F09-1025-57AC-BFBF0AC51B36}"/>
              </a:ext>
            </a:extLst>
          </p:cNvPr>
          <p:cNvSpPr>
            <a:spLocks noGrp="1"/>
          </p:cNvSpPr>
          <p:nvPr>
            <p:ph type="title"/>
          </p:nvPr>
        </p:nvSpPr>
        <p:spPr/>
        <p:txBody>
          <a:bodyPr vert="horz"/>
          <a:lstStyle/>
          <a:p>
            <a:r>
              <a:rPr lang="en-US"/>
              <a:t>CB Ops Review – Digital Definitions</a:t>
            </a:r>
          </a:p>
        </p:txBody>
      </p:sp>
      <p:sp>
        <p:nvSpPr>
          <p:cNvPr id="4" name="Text Placeholder 3">
            <a:extLst>
              <a:ext uri="{FF2B5EF4-FFF2-40B4-BE49-F238E27FC236}">
                <a16:creationId xmlns:a16="http://schemas.microsoft.com/office/drawing/2014/main" id="{F066BB2B-EC56-28CE-848C-6979942E6A84}"/>
              </a:ext>
            </a:extLst>
          </p:cNvPr>
          <p:cNvSpPr>
            <a:spLocks noGrp="1"/>
          </p:cNvSpPr>
          <p:nvPr>
            <p:ph type="body" sz="quarter" idx="25"/>
          </p:nvPr>
        </p:nvSpPr>
        <p:spPr/>
        <p:txBody>
          <a:bodyPr/>
          <a:lstStyle/>
          <a:p>
            <a:r>
              <a:rPr lang="en-US" dirty="0"/>
              <a:t>APPENDIX</a:t>
            </a:r>
          </a:p>
        </p:txBody>
      </p:sp>
      <p:sp>
        <p:nvSpPr>
          <p:cNvPr id="68" name="Rectangle 67">
            <a:extLst>
              <a:ext uri="{FF2B5EF4-FFF2-40B4-BE49-F238E27FC236}">
                <a16:creationId xmlns:a16="http://schemas.microsoft.com/office/drawing/2014/main" id="{29F16180-B7A5-F4B0-72FC-A728A4B621A5}"/>
              </a:ext>
            </a:extLst>
          </p:cNvPr>
          <p:cNvSpPr/>
          <p:nvPr/>
        </p:nvSpPr>
        <p:spPr>
          <a:xfrm>
            <a:off x="746628" y="1265070"/>
            <a:ext cx="2642616" cy="6035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US" sz="1200" b="1">
                <a:solidFill>
                  <a:schemeClr val="accent1"/>
                </a:solidFill>
              </a:rPr>
              <a:t>Gross Traffic</a:t>
            </a:r>
          </a:p>
        </p:txBody>
      </p:sp>
      <p:cxnSp>
        <p:nvCxnSpPr>
          <p:cNvPr id="69" name="Straight Connector 68">
            <a:extLst>
              <a:ext uri="{FF2B5EF4-FFF2-40B4-BE49-F238E27FC236}">
                <a16:creationId xmlns:a16="http://schemas.microsoft.com/office/drawing/2014/main" id="{5B4E6066-CB87-4660-89FE-AC1993E3B1E1}"/>
              </a:ext>
            </a:extLst>
          </p:cNvPr>
          <p:cNvCxnSpPr>
            <a:cxnSpLocks/>
          </p:cNvCxnSpPr>
          <p:nvPr/>
        </p:nvCxnSpPr>
        <p:spPr>
          <a:xfrm>
            <a:off x="3442055" y="1338222"/>
            <a:ext cx="0" cy="457200"/>
          </a:xfrm>
          <a:prstGeom prst="line">
            <a:avLst/>
          </a:prstGeom>
        </p:spPr>
        <p:style>
          <a:lnRef idx="1">
            <a:schemeClr val="accent1"/>
          </a:lnRef>
          <a:fillRef idx="0">
            <a:schemeClr val="accent1"/>
          </a:fillRef>
          <a:effectRef idx="0">
            <a:schemeClr val="accent1"/>
          </a:effectRef>
          <a:fontRef idx="minor">
            <a:schemeClr val="tx1"/>
          </a:fontRef>
        </p:style>
      </p:cxnSp>
      <p:sp>
        <p:nvSpPr>
          <p:cNvPr id="71" name="Rectangle 70">
            <a:extLst>
              <a:ext uri="{FF2B5EF4-FFF2-40B4-BE49-F238E27FC236}">
                <a16:creationId xmlns:a16="http://schemas.microsoft.com/office/drawing/2014/main" id="{DEE9B93B-F79F-CAFD-C50E-C948C775B0D5}"/>
              </a:ext>
            </a:extLst>
          </p:cNvPr>
          <p:cNvSpPr/>
          <p:nvPr/>
        </p:nvSpPr>
        <p:spPr>
          <a:xfrm>
            <a:off x="3787260" y="1290470"/>
            <a:ext cx="7757763" cy="6035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a:solidFill>
                  <a:schemeClr val="tx1"/>
                </a:solidFill>
              </a:rPr>
              <a:t>Number of visits for SB Acquisition (Small Business, including CB Mobile) for visitors to the business.comcast.com domain</a:t>
            </a:r>
          </a:p>
        </p:txBody>
      </p:sp>
      <p:sp>
        <p:nvSpPr>
          <p:cNvPr id="64" name="Rectangle 63">
            <a:extLst>
              <a:ext uri="{FF2B5EF4-FFF2-40B4-BE49-F238E27FC236}">
                <a16:creationId xmlns:a16="http://schemas.microsoft.com/office/drawing/2014/main" id="{B5B2C8D2-235B-D26F-710D-A0C2081A1183}"/>
              </a:ext>
            </a:extLst>
          </p:cNvPr>
          <p:cNvSpPr/>
          <p:nvPr/>
        </p:nvSpPr>
        <p:spPr>
          <a:xfrm>
            <a:off x="746628" y="1882348"/>
            <a:ext cx="2642616" cy="60350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US" sz="1200" b="1">
                <a:solidFill>
                  <a:schemeClr val="accent1"/>
                </a:solidFill>
              </a:rPr>
              <a:t>Engaged Traffic</a:t>
            </a:r>
          </a:p>
        </p:txBody>
      </p:sp>
      <p:cxnSp>
        <p:nvCxnSpPr>
          <p:cNvPr id="65" name="Straight Connector 64">
            <a:extLst>
              <a:ext uri="{FF2B5EF4-FFF2-40B4-BE49-F238E27FC236}">
                <a16:creationId xmlns:a16="http://schemas.microsoft.com/office/drawing/2014/main" id="{E2C3CA43-6B33-75EA-A462-1700091E06E5}"/>
              </a:ext>
            </a:extLst>
          </p:cNvPr>
          <p:cNvCxnSpPr>
            <a:cxnSpLocks/>
          </p:cNvCxnSpPr>
          <p:nvPr/>
        </p:nvCxnSpPr>
        <p:spPr>
          <a:xfrm>
            <a:off x="3442055" y="1955499"/>
            <a:ext cx="0" cy="457200"/>
          </a:xfrm>
          <a:prstGeom prst="line">
            <a:avLst/>
          </a:prstGeom>
        </p:spPr>
        <p:style>
          <a:lnRef idx="1">
            <a:schemeClr val="accent1"/>
          </a:lnRef>
          <a:fillRef idx="0">
            <a:schemeClr val="accent1"/>
          </a:fillRef>
          <a:effectRef idx="0">
            <a:schemeClr val="accent1"/>
          </a:effectRef>
          <a:fontRef idx="minor">
            <a:schemeClr val="tx1"/>
          </a:fontRef>
        </p:style>
      </p:cxnSp>
      <p:sp>
        <p:nvSpPr>
          <p:cNvPr id="67" name="Rectangle 66">
            <a:extLst>
              <a:ext uri="{FF2B5EF4-FFF2-40B4-BE49-F238E27FC236}">
                <a16:creationId xmlns:a16="http://schemas.microsoft.com/office/drawing/2014/main" id="{770046D5-C95E-B933-8975-BEBCA952FF61}"/>
              </a:ext>
            </a:extLst>
          </p:cNvPr>
          <p:cNvSpPr/>
          <p:nvPr/>
        </p:nvSpPr>
        <p:spPr>
          <a:xfrm>
            <a:off x="3787259" y="1907747"/>
            <a:ext cx="7757763" cy="6035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a:solidFill>
                  <a:schemeClr val="tx1"/>
                </a:solidFill>
              </a:rPr>
              <a:t>Visit that lasted 15+ seconds, had 1+ page views OR at least 1 page view &amp; 1 page interaction; excludes visits that enter on </a:t>
            </a:r>
            <a:r>
              <a:rPr lang="en-US" sz="1200" err="1">
                <a:solidFill>
                  <a:schemeClr val="tx1"/>
                </a:solidFill>
              </a:rPr>
              <a:t>myAccount</a:t>
            </a:r>
            <a:r>
              <a:rPr lang="en-US" sz="1200">
                <a:solidFill>
                  <a:schemeClr val="tx1"/>
                </a:solidFill>
              </a:rPr>
              <a:t> or cloud-dc, generally excludes Display traffic unless otherwise noted due to conversion quality</a:t>
            </a:r>
            <a:endParaRPr lang="en-US" sz="1200">
              <a:solidFill>
                <a:srgbClr val="C00000"/>
              </a:solidFill>
            </a:endParaRPr>
          </a:p>
        </p:txBody>
      </p:sp>
      <p:sp>
        <p:nvSpPr>
          <p:cNvPr id="60" name="Rectangle 59">
            <a:extLst>
              <a:ext uri="{FF2B5EF4-FFF2-40B4-BE49-F238E27FC236}">
                <a16:creationId xmlns:a16="http://schemas.microsoft.com/office/drawing/2014/main" id="{47215FFE-291A-6C3A-D07B-4FDFFE7FD326}"/>
              </a:ext>
            </a:extLst>
          </p:cNvPr>
          <p:cNvSpPr/>
          <p:nvPr/>
        </p:nvSpPr>
        <p:spPr>
          <a:xfrm>
            <a:off x="746628" y="3754872"/>
            <a:ext cx="2642616" cy="6035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US" sz="1200" b="1">
                <a:solidFill>
                  <a:schemeClr val="accent1"/>
                </a:solidFill>
              </a:rPr>
              <a:t>Conversion Rate</a:t>
            </a:r>
          </a:p>
        </p:txBody>
      </p:sp>
      <p:cxnSp>
        <p:nvCxnSpPr>
          <p:cNvPr id="61" name="Straight Connector 60">
            <a:extLst>
              <a:ext uri="{FF2B5EF4-FFF2-40B4-BE49-F238E27FC236}">
                <a16:creationId xmlns:a16="http://schemas.microsoft.com/office/drawing/2014/main" id="{DC91BD76-733C-9286-1E6A-B554A7CDCBB6}"/>
              </a:ext>
            </a:extLst>
          </p:cNvPr>
          <p:cNvCxnSpPr>
            <a:cxnSpLocks/>
          </p:cNvCxnSpPr>
          <p:nvPr/>
        </p:nvCxnSpPr>
        <p:spPr>
          <a:xfrm>
            <a:off x="3442055" y="3828024"/>
            <a:ext cx="0" cy="457200"/>
          </a:xfrm>
          <a:prstGeom prst="line">
            <a:avLst/>
          </a:prstGeom>
        </p:spPr>
        <p:style>
          <a:lnRef idx="1">
            <a:schemeClr val="accent1"/>
          </a:lnRef>
          <a:fillRef idx="0">
            <a:schemeClr val="accent1"/>
          </a:fillRef>
          <a:effectRef idx="0">
            <a:schemeClr val="accent1"/>
          </a:effectRef>
          <a:fontRef idx="minor">
            <a:schemeClr val="tx1"/>
          </a:fontRef>
        </p:style>
      </p:cxnSp>
      <p:sp>
        <p:nvSpPr>
          <p:cNvPr id="63" name="Rectangle 62">
            <a:extLst>
              <a:ext uri="{FF2B5EF4-FFF2-40B4-BE49-F238E27FC236}">
                <a16:creationId xmlns:a16="http://schemas.microsoft.com/office/drawing/2014/main" id="{9FE7AA9B-63C0-E5C9-AF25-749BC69C8ACE}"/>
              </a:ext>
            </a:extLst>
          </p:cNvPr>
          <p:cNvSpPr/>
          <p:nvPr/>
        </p:nvSpPr>
        <p:spPr>
          <a:xfrm>
            <a:off x="3787260" y="3780272"/>
            <a:ext cx="7757763" cy="6035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Share of engaged traffic that results in a web lead (excluding Display traffic)</a:t>
            </a:r>
          </a:p>
        </p:txBody>
      </p:sp>
      <p:sp>
        <p:nvSpPr>
          <p:cNvPr id="56" name="Rectangle 55">
            <a:extLst>
              <a:ext uri="{FF2B5EF4-FFF2-40B4-BE49-F238E27FC236}">
                <a16:creationId xmlns:a16="http://schemas.microsoft.com/office/drawing/2014/main" id="{E0C656A4-3866-1C22-A72D-C41C8D16F79C}"/>
              </a:ext>
            </a:extLst>
          </p:cNvPr>
          <p:cNvSpPr/>
          <p:nvPr/>
        </p:nvSpPr>
        <p:spPr>
          <a:xfrm>
            <a:off x="746628" y="2499624"/>
            <a:ext cx="2642616" cy="61212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US" sz="1200" b="1">
                <a:solidFill>
                  <a:schemeClr val="accent1"/>
                </a:solidFill>
              </a:rPr>
              <a:t>Web Leads</a:t>
            </a:r>
          </a:p>
        </p:txBody>
      </p:sp>
      <p:cxnSp>
        <p:nvCxnSpPr>
          <p:cNvPr id="57" name="Straight Connector 56">
            <a:extLst>
              <a:ext uri="{FF2B5EF4-FFF2-40B4-BE49-F238E27FC236}">
                <a16:creationId xmlns:a16="http://schemas.microsoft.com/office/drawing/2014/main" id="{98898E13-D5C0-8329-A918-51BC853F1733}"/>
              </a:ext>
            </a:extLst>
          </p:cNvPr>
          <p:cNvCxnSpPr>
            <a:cxnSpLocks/>
          </p:cNvCxnSpPr>
          <p:nvPr/>
        </p:nvCxnSpPr>
        <p:spPr>
          <a:xfrm>
            <a:off x="3442055" y="2573821"/>
            <a:ext cx="0" cy="457200"/>
          </a:xfrm>
          <a:prstGeom prst="line">
            <a:avLst/>
          </a:prstGeom>
        </p:spPr>
        <p:style>
          <a:lnRef idx="1">
            <a:schemeClr val="accent1"/>
          </a:lnRef>
          <a:fillRef idx="0">
            <a:schemeClr val="accent1"/>
          </a:fillRef>
          <a:effectRef idx="0">
            <a:schemeClr val="accent1"/>
          </a:effectRef>
          <a:fontRef idx="minor">
            <a:schemeClr val="tx1"/>
          </a:fontRef>
        </p:style>
      </p:cxnSp>
      <p:sp>
        <p:nvSpPr>
          <p:cNvPr id="59" name="Rectangle 58">
            <a:extLst>
              <a:ext uri="{FF2B5EF4-FFF2-40B4-BE49-F238E27FC236}">
                <a16:creationId xmlns:a16="http://schemas.microsoft.com/office/drawing/2014/main" id="{651D2793-3B75-E191-E2B8-7F656AC0B043}"/>
              </a:ext>
            </a:extLst>
          </p:cNvPr>
          <p:cNvSpPr/>
          <p:nvPr/>
        </p:nvSpPr>
        <p:spPr>
          <a:xfrm>
            <a:off x="3787260" y="2537724"/>
            <a:ext cx="7757763" cy="61212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a:solidFill>
                  <a:schemeClr val="tx1"/>
                </a:solidFill>
              </a:rPr>
              <a:t>Any prospect that submitted info via a web form (Wunderkind, Pricing and Other Info), chatted with a representative, started the SB </a:t>
            </a:r>
            <a:r>
              <a:rPr lang="en-US" sz="1200" err="1">
                <a:solidFill>
                  <a:schemeClr val="tx1"/>
                </a:solidFill>
              </a:rPr>
              <a:t>buyflow</a:t>
            </a:r>
            <a:r>
              <a:rPr lang="en-US" sz="1200">
                <a:solidFill>
                  <a:schemeClr val="tx1"/>
                </a:solidFill>
              </a:rPr>
              <a:t>, or called a representative with a TFN on the site</a:t>
            </a:r>
            <a:endParaRPr lang="en-US" sz="1200">
              <a:solidFill>
                <a:srgbClr val="C00000"/>
              </a:solidFill>
            </a:endParaRPr>
          </a:p>
        </p:txBody>
      </p:sp>
      <p:sp>
        <p:nvSpPr>
          <p:cNvPr id="50" name="Rectangle 49">
            <a:extLst>
              <a:ext uri="{FF2B5EF4-FFF2-40B4-BE49-F238E27FC236}">
                <a16:creationId xmlns:a16="http://schemas.microsoft.com/office/drawing/2014/main" id="{15905769-FC5E-5B9C-2764-B07766F31FBA}"/>
              </a:ext>
            </a:extLst>
          </p:cNvPr>
          <p:cNvSpPr/>
          <p:nvPr/>
        </p:nvSpPr>
        <p:spPr>
          <a:xfrm>
            <a:off x="746628" y="4372149"/>
            <a:ext cx="2642616" cy="6035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US" sz="1200" b="1">
                <a:solidFill>
                  <a:schemeClr val="accent1"/>
                </a:solidFill>
              </a:rPr>
              <a:t>Digital Sourced Sales</a:t>
            </a:r>
          </a:p>
        </p:txBody>
      </p:sp>
      <p:cxnSp>
        <p:nvCxnSpPr>
          <p:cNvPr id="53" name="Straight Connector 52">
            <a:extLst>
              <a:ext uri="{FF2B5EF4-FFF2-40B4-BE49-F238E27FC236}">
                <a16:creationId xmlns:a16="http://schemas.microsoft.com/office/drawing/2014/main" id="{0DE753F7-38D4-C1DA-237D-BAC564370683}"/>
              </a:ext>
            </a:extLst>
          </p:cNvPr>
          <p:cNvCxnSpPr>
            <a:cxnSpLocks/>
          </p:cNvCxnSpPr>
          <p:nvPr/>
        </p:nvCxnSpPr>
        <p:spPr>
          <a:xfrm>
            <a:off x="3442055" y="4445301"/>
            <a:ext cx="0" cy="457200"/>
          </a:xfrm>
          <a:prstGeom prst="line">
            <a:avLst/>
          </a:prstGeom>
        </p:spPr>
        <p:style>
          <a:lnRef idx="1">
            <a:schemeClr val="accent1"/>
          </a:lnRef>
          <a:fillRef idx="0">
            <a:schemeClr val="accent1"/>
          </a:fillRef>
          <a:effectRef idx="0">
            <a:schemeClr val="accent1"/>
          </a:effectRef>
          <a:fontRef idx="minor">
            <a:schemeClr val="tx1"/>
          </a:fontRef>
        </p:style>
      </p:cxnSp>
      <p:sp>
        <p:nvSpPr>
          <p:cNvPr id="55" name="Rectangle 54">
            <a:extLst>
              <a:ext uri="{FF2B5EF4-FFF2-40B4-BE49-F238E27FC236}">
                <a16:creationId xmlns:a16="http://schemas.microsoft.com/office/drawing/2014/main" id="{C00DC171-9094-9E8F-38F9-16D003A6D02A}"/>
              </a:ext>
            </a:extLst>
          </p:cNvPr>
          <p:cNvSpPr/>
          <p:nvPr/>
        </p:nvSpPr>
        <p:spPr>
          <a:xfrm>
            <a:off x="3787260" y="4410249"/>
            <a:ext cx="7757763" cy="6035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a:solidFill>
                  <a:schemeClr val="tx1"/>
                </a:solidFill>
              </a:rPr>
              <a:t>New SB BI sale sourced from a Web Form, Chat Lead, Buyflow Start, or Online Sales Call</a:t>
            </a:r>
          </a:p>
        </p:txBody>
      </p:sp>
      <p:sp>
        <p:nvSpPr>
          <p:cNvPr id="38" name="Rectangle 37">
            <a:extLst>
              <a:ext uri="{FF2B5EF4-FFF2-40B4-BE49-F238E27FC236}">
                <a16:creationId xmlns:a16="http://schemas.microsoft.com/office/drawing/2014/main" id="{6F134AA9-C11C-89C8-052F-68286F549469}"/>
              </a:ext>
            </a:extLst>
          </p:cNvPr>
          <p:cNvSpPr/>
          <p:nvPr/>
        </p:nvSpPr>
        <p:spPr>
          <a:xfrm>
            <a:off x="746628" y="4989426"/>
            <a:ext cx="2642616" cy="6035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US" sz="1200" b="1">
                <a:solidFill>
                  <a:schemeClr val="accent1"/>
                </a:solidFill>
              </a:rPr>
              <a:t>Digital Share</a:t>
            </a:r>
          </a:p>
        </p:txBody>
      </p:sp>
      <p:cxnSp>
        <p:nvCxnSpPr>
          <p:cNvPr id="42" name="Straight Connector 41">
            <a:extLst>
              <a:ext uri="{FF2B5EF4-FFF2-40B4-BE49-F238E27FC236}">
                <a16:creationId xmlns:a16="http://schemas.microsoft.com/office/drawing/2014/main" id="{4FB6C501-026B-F502-9172-704B1E7016C7}"/>
              </a:ext>
            </a:extLst>
          </p:cNvPr>
          <p:cNvCxnSpPr>
            <a:cxnSpLocks/>
          </p:cNvCxnSpPr>
          <p:nvPr/>
        </p:nvCxnSpPr>
        <p:spPr>
          <a:xfrm>
            <a:off x="3442055" y="5062578"/>
            <a:ext cx="0" cy="457200"/>
          </a:xfrm>
          <a:prstGeom prst="line">
            <a:avLst/>
          </a:prstGeom>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7F95D7A6-53A5-D1DB-6BC2-FAFECF8D2073}"/>
              </a:ext>
            </a:extLst>
          </p:cNvPr>
          <p:cNvSpPr/>
          <p:nvPr/>
        </p:nvSpPr>
        <p:spPr>
          <a:xfrm>
            <a:off x="3787260" y="5002126"/>
            <a:ext cx="7757763" cy="6035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a:solidFill>
                  <a:schemeClr val="tx1"/>
                </a:solidFill>
              </a:rPr>
              <a:t>Contribution of digitally sourced leads/sales to total leads/sales</a:t>
            </a:r>
          </a:p>
        </p:txBody>
      </p:sp>
      <p:sp>
        <p:nvSpPr>
          <p:cNvPr id="34" name="Rectangle 33">
            <a:extLst>
              <a:ext uri="{FF2B5EF4-FFF2-40B4-BE49-F238E27FC236}">
                <a16:creationId xmlns:a16="http://schemas.microsoft.com/office/drawing/2014/main" id="{A85C0463-B877-4258-1A1F-99B1254BE1A3}"/>
              </a:ext>
            </a:extLst>
          </p:cNvPr>
          <p:cNvSpPr/>
          <p:nvPr/>
        </p:nvSpPr>
        <p:spPr>
          <a:xfrm>
            <a:off x="746628" y="3130790"/>
            <a:ext cx="2642616" cy="60350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US" sz="1200" b="1">
                <a:solidFill>
                  <a:schemeClr val="accent1"/>
                </a:solidFill>
              </a:rPr>
              <a:t> Buyflow Starts</a:t>
            </a:r>
          </a:p>
        </p:txBody>
      </p:sp>
      <p:sp>
        <p:nvSpPr>
          <p:cNvPr id="36" name="Rectangle 35">
            <a:extLst>
              <a:ext uri="{FF2B5EF4-FFF2-40B4-BE49-F238E27FC236}">
                <a16:creationId xmlns:a16="http://schemas.microsoft.com/office/drawing/2014/main" id="{717DE06F-DD10-4631-2E56-6C7C20C0E93B}"/>
              </a:ext>
            </a:extLst>
          </p:cNvPr>
          <p:cNvSpPr/>
          <p:nvPr/>
        </p:nvSpPr>
        <p:spPr>
          <a:xfrm>
            <a:off x="3787260" y="3137595"/>
            <a:ext cx="7757763" cy="6035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a:solidFill>
                  <a:schemeClr val="tx1"/>
                </a:solidFill>
              </a:rPr>
              <a:t>Customers who begin </a:t>
            </a:r>
            <a:r>
              <a:rPr lang="en-US" sz="1200" err="1">
                <a:solidFill>
                  <a:schemeClr val="tx1"/>
                </a:solidFill>
              </a:rPr>
              <a:t>buyflow</a:t>
            </a:r>
            <a:r>
              <a:rPr lang="en-US" sz="1200">
                <a:solidFill>
                  <a:schemeClr val="tx1"/>
                </a:solidFill>
              </a:rPr>
              <a:t> (SB: by viewing the Configure page, CBM: clicking continue on the cart page)</a:t>
            </a:r>
          </a:p>
        </p:txBody>
      </p:sp>
      <p:cxnSp>
        <p:nvCxnSpPr>
          <p:cNvPr id="37" name="Straight Connector 36">
            <a:extLst>
              <a:ext uri="{FF2B5EF4-FFF2-40B4-BE49-F238E27FC236}">
                <a16:creationId xmlns:a16="http://schemas.microsoft.com/office/drawing/2014/main" id="{E805FD1F-043A-5C61-1941-950B8BC9EAA2}"/>
              </a:ext>
            </a:extLst>
          </p:cNvPr>
          <p:cNvCxnSpPr>
            <a:cxnSpLocks/>
          </p:cNvCxnSpPr>
          <p:nvPr/>
        </p:nvCxnSpPr>
        <p:spPr>
          <a:xfrm>
            <a:off x="3442055" y="3224359"/>
            <a:ext cx="0" cy="45720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97883950"/>
      </p:ext>
    </p:extLst>
  </p:cSld>
  <p:clrMapOvr>
    <a:masterClrMapping/>
  </p:clrMapOvr>
  <p:transition spd="med"/>
  <p:extLst>
    <p:ext uri="{6950BFC3-D8DA-4A85-94F7-54DA5524770B}">
      <p188:commentRel xmlns:p188="http://schemas.microsoft.com/office/powerpoint/2018/8/main" r:id="rId4"/>
    </p:ext>
  </p:extLs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945D411-C3A3-944A-33E0-0DA89DE9CE9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6" name="think-cell data - do not delete" hidden="1">
                        <a:extLst>
                          <a:ext uri="{FF2B5EF4-FFF2-40B4-BE49-F238E27FC236}">
                            <a16:creationId xmlns:a16="http://schemas.microsoft.com/office/drawing/2014/main" id="{7945D411-C3A3-944A-33E0-0DA89DE9CE9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DBECCDD0-0F09-1025-57AC-BFBF0AC51B36}"/>
              </a:ext>
            </a:extLst>
          </p:cNvPr>
          <p:cNvSpPr>
            <a:spLocks noGrp="1"/>
          </p:cNvSpPr>
          <p:nvPr>
            <p:ph type="title"/>
          </p:nvPr>
        </p:nvSpPr>
        <p:spPr/>
        <p:txBody>
          <a:bodyPr vert="horz"/>
          <a:lstStyle/>
          <a:p>
            <a:r>
              <a:rPr lang="en-US"/>
              <a:t>CB Ops Review – Digital Definitions</a:t>
            </a:r>
          </a:p>
        </p:txBody>
      </p:sp>
      <p:sp>
        <p:nvSpPr>
          <p:cNvPr id="4" name="Text Placeholder 3">
            <a:extLst>
              <a:ext uri="{FF2B5EF4-FFF2-40B4-BE49-F238E27FC236}">
                <a16:creationId xmlns:a16="http://schemas.microsoft.com/office/drawing/2014/main" id="{F066BB2B-EC56-28CE-848C-6979942E6A84}"/>
              </a:ext>
            </a:extLst>
          </p:cNvPr>
          <p:cNvSpPr>
            <a:spLocks noGrp="1"/>
          </p:cNvSpPr>
          <p:nvPr>
            <p:ph type="body" sz="quarter" idx="25"/>
          </p:nvPr>
        </p:nvSpPr>
        <p:spPr/>
        <p:txBody>
          <a:bodyPr/>
          <a:lstStyle/>
          <a:p>
            <a:r>
              <a:rPr lang="en-US" dirty="0"/>
              <a:t>Executive summary</a:t>
            </a:r>
          </a:p>
        </p:txBody>
      </p:sp>
      <p:sp>
        <p:nvSpPr>
          <p:cNvPr id="68" name="Rectangle 67">
            <a:extLst>
              <a:ext uri="{FF2B5EF4-FFF2-40B4-BE49-F238E27FC236}">
                <a16:creationId xmlns:a16="http://schemas.microsoft.com/office/drawing/2014/main" id="{29F16180-B7A5-F4B0-72FC-A728A4B621A5}"/>
              </a:ext>
            </a:extLst>
          </p:cNvPr>
          <p:cNvSpPr/>
          <p:nvPr/>
        </p:nvSpPr>
        <p:spPr>
          <a:xfrm>
            <a:off x="746628" y="1265070"/>
            <a:ext cx="2642616" cy="6035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US" sz="1200" b="1">
                <a:solidFill>
                  <a:schemeClr val="accent1"/>
                </a:solidFill>
              </a:rPr>
              <a:t>Gross Traffic</a:t>
            </a:r>
          </a:p>
        </p:txBody>
      </p:sp>
      <p:cxnSp>
        <p:nvCxnSpPr>
          <p:cNvPr id="69" name="Straight Connector 68">
            <a:extLst>
              <a:ext uri="{FF2B5EF4-FFF2-40B4-BE49-F238E27FC236}">
                <a16:creationId xmlns:a16="http://schemas.microsoft.com/office/drawing/2014/main" id="{5B4E6066-CB87-4660-89FE-AC1993E3B1E1}"/>
              </a:ext>
            </a:extLst>
          </p:cNvPr>
          <p:cNvCxnSpPr>
            <a:cxnSpLocks/>
          </p:cNvCxnSpPr>
          <p:nvPr/>
        </p:nvCxnSpPr>
        <p:spPr>
          <a:xfrm>
            <a:off x="3442055" y="1338222"/>
            <a:ext cx="0" cy="457200"/>
          </a:xfrm>
          <a:prstGeom prst="line">
            <a:avLst/>
          </a:prstGeom>
        </p:spPr>
        <p:style>
          <a:lnRef idx="1">
            <a:schemeClr val="accent1"/>
          </a:lnRef>
          <a:fillRef idx="0">
            <a:schemeClr val="accent1"/>
          </a:fillRef>
          <a:effectRef idx="0">
            <a:schemeClr val="accent1"/>
          </a:effectRef>
          <a:fontRef idx="minor">
            <a:schemeClr val="tx1"/>
          </a:fontRef>
        </p:style>
      </p:cxnSp>
      <p:sp>
        <p:nvSpPr>
          <p:cNvPr id="71" name="Rectangle 70">
            <a:extLst>
              <a:ext uri="{FF2B5EF4-FFF2-40B4-BE49-F238E27FC236}">
                <a16:creationId xmlns:a16="http://schemas.microsoft.com/office/drawing/2014/main" id="{DEE9B93B-F79F-CAFD-C50E-C948C775B0D5}"/>
              </a:ext>
            </a:extLst>
          </p:cNvPr>
          <p:cNvSpPr/>
          <p:nvPr/>
        </p:nvSpPr>
        <p:spPr>
          <a:xfrm>
            <a:off x="3787260" y="1290470"/>
            <a:ext cx="7757763" cy="6035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a:solidFill>
                  <a:schemeClr val="tx1"/>
                </a:solidFill>
              </a:rPr>
              <a:t>Number of visits for SB Acquisition (Small Business, including CB Mobile) for visitors to the business.comcast.com domain</a:t>
            </a:r>
          </a:p>
        </p:txBody>
      </p:sp>
      <p:sp>
        <p:nvSpPr>
          <p:cNvPr id="64" name="Rectangle 63">
            <a:extLst>
              <a:ext uri="{FF2B5EF4-FFF2-40B4-BE49-F238E27FC236}">
                <a16:creationId xmlns:a16="http://schemas.microsoft.com/office/drawing/2014/main" id="{B5B2C8D2-235B-D26F-710D-A0C2081A1183}"/>
              </a:ext>
            </a:extLst>
          </p:cNvPr>
          <p:cNvSpPr/>
          <p:nvPr/>
        </p:nvSpPr>
        <p:spPr>
          <a:xfrm>
            <a:off x="746628" y="1882348"/>
            <a:ext cx="2642616" cy="60350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US" sz="1200" b="1">
                <a:solidFill>
                  <a:schemeClr val="accent1"/>
                </a:solidFill>
              </a:rPr>
              <a:t>Engaged Traffic</a:t>
            </a:r>
          </a:p>
        </p:txBody>
      </p:sp>
      <p:cxnSp>
        <p:nvCxnSpPr>
          <p:cNvPr id="65" name="Straight Connector 64">
            <a:extLst>
              <a:ext uri="{FF2B5EF4-FFF2-40B4-BE49-F238E27FC236}">
                <a16:creationId xmlns:a16="http://schemas.microsoft.com/office/drawing/2014/main" id="{E2C3CA43-6B33-75EA-A462-1700091E06E5}"/>
              </a:ext>
            </a:extLst>
          </p:cNvPr>
          <p:cNvCxnSpPr>
            <a:cxnSpLocks/>
          </p:cNvCxnSpPr>
          <p:nvPr/>
        </p:nvCxnSpPr>
        <p:spPr>
          <a:xfrm>
            <a:off x="3442055" y="1955499"/>
            <a:ext cx="0" cy="457200"/>
          </a:xfrm>
          <a:prstGeom prst="line">
            <a:avLst/>
          </a:prstGeom>
        </p:spPr>
        <p:style>
          <a:lnRef idx="1">
            <a:schemeClr val="accent1"/>
          </a:lnRef>
          <a:fillRef idx="0">
            <a:schemeClr val="accent1"/>
          </a:fillRef>
          <a:effectRef idx="0">
            <a:schemeClr val="accent1"/>
          </a:effectRef>
          <a:fontRef idx="minor">
            <a:schemeClr val="tx1"/>
          </a:fontRef>
        </p:style>
      </p:cxnSp>
      <p:sp>
        <p:nvSpPr>
          <p:cNvPr id="67" name="Rectangle 66">
            <a:extLst>
              <a:ext uri="{FF2B5EF4-FFF2-40B4-BE49-F238E27FC236}">
                <a16:creationId xmlns:a16="http://schemas.microsoft.com/office/drawing/2014/main" id="{770046D5-C95E-B933-8975-BEBCA952FF61}"/>
              </a:ext>
            </a:extLst>
          </p:cNvPr>
          <p:cNvSpPr/>
          <p:nvPr/>
        </p:nvSpPr>
        <p:spPr>
          <a:xfrm>
            <a:off x="3787259" y="1907747"/>
            <a:ext cx="7757763" cy="6035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a:solidFill>
                  <a:schemeClr val="tx1"/>
                </a:solidFill>
              </a:rPr>
              <a:t>Visit that lasted 15+ seconds, had 1+ page views OR at least 1 page view &amp; 1 page interaction; excludes visits that enter on </a:t>
            </a:r>
            <a:r>
              <a:rPr lang="en-US" sz="1200" dirty="0">
                <a:solidFill>
                  <a:schemeClr val="tx1"/>
                </a:solidFill>
              </a:rPr>
              <a:t>myAccount</a:t>
            </a:r>
            <a:r>
              <a:rPr lang="en-US" sz="1200">
                <a:solidFill>
                  <a:schemeClr val="tx1"/>
                </a:solidFill>
              </a:rPr>
              <a:t> or cloud-dc, generally excludes Display traffic unless otherwise noted due to conversion quality</a:t>
            </a:r>
            <a:endParaRPr lang="en-US" sz="1200">
              <a:solidFill>
                <a:srgbClr val="C00000"/>
              </a:solidFill>
            </a:endParaRPr>
          </a:p>
        </p:txBody>
      </p:sp>
      <p:sp>
        <p:nvSpPr>
          <p:cNvPr id="60" name="Rectangle 59">
            <a:extLst>
              <a:ext uri="{FF2B5EF4-FFF2-40B4-BE49-F238E27FC236}">
                <a16:creationId xmlns:a16="http://schemas.microsoft.com/office/drawing/2014/main" id="{47215FFE-291A-6C3A-D07B-4FDFFE7FD326}"/>
              </a:ext>
            </a:extLst>
          </p:cNvPr>
          <p:cNvSpPr/>
          <p:nvPr/>
        </p:nvSpPr>
        <p:spPr>
          <a:xfrm>
            <a:off x="746628" y="3754872"/>
            <a:ext cx="2642616" cy="6035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US" sz="1200" b="1">
                <a:solidFill>
                  <a:schemeClr val="accent1"/>
                </a:solidFill>
              </a:rPr>
              <a:t>Conversion Rate</a:t>
            </a:r>
          </a:p>
        </p:txBody>
      </p:sp>
      <p:cxnSp>
        <p:nvCxnSpPr>
          <p:cNvPr id="61" name="Straight Connector 60">
            <a:extLst>
              <a:ext uri="{FF2B5EF4-FFF2-40B4-BE49-F238E27FC236}">
                <a16:creationId xmlns:a16="http://schemas.microsoft.com/office/drawing/2014/main" id="{DC91BD76-733C-9286-1E6A-B554A7CDCBB6}"/>
              </a:ext>
            </a:extLst>
          </p:cNvPr>
          <p:cNvCxnSpPr>
            <a:cxnSpLocks/>
          </p:cNvCxnSpPr>
          <p:nvPr/>
        </p:nvCxnSpPr>
        <p:spPr>
          <a:xfrm>
            <a:off x="3442055" y="3828024"/>
            <a:ext cx="0" cy="457200"/>
          </a:xfrm>
          <a:prstGeom prst="line">
            <a:avLst/>
          </a:prstGeom>
        </p:spPr>
        <p:style>
          <a:lnRef idx="1">
            <a:schemeClr val="accent1"/>
          </a:lnRef>
          <a:fillRef idx="0">
            <a:schemeClr val="accent1"/>
          </a:fillRef>
          <a:effectRef idx="0">
            <a:schemeClr val="accent1"/>
          </a:effectRef>
          <a:fontRef idx="minor">
            <a:schemeClr val="tx1"/>
          </a:fontRef>
        </p:style>
      </p:cxnSp>
      <p:sp>
        <p:nvSpPr>
          <p:cNvPr id="63" name="Rectangle 62">
            <a:extLst>
              <a:ext uri="{FF2B5EF4-FFF2-40B4-BE49-F238E27FC236}">
                <a16:creationId xmlns:a16="http://schemas.microsoft.com/office/drawing/2014/main" id="{9FE7AA9B-63C0-E5C9-AF25-749BC69C8ACE}"/>
              </a:ext>
            </a:extLst>
          </p:cNvPr>
          <p:cNvSpPr/>
          <p:nvPr/>
        </p:nvSpPr>
        <p:spPr>
          <a:xfrm>
            <a:off x="3787260" y="3780272"/>
            <a:ext cx="7757763" cy="6035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Share of engaged traffic that results in a web lead (excluding Display traffic)</a:t>
            </a:r>
          </a:p>
        </p:txBody>
      </p:sp>
      <p:sp>
        <p:nvSpPr>
          <p:cNvPr id="56" name="Rectangle 55">
            <a:extLst>
              <a:ext uri="{FF2B5EF4-FFF2-40B4-BE49-F238E27FC236}">
                <a16:creationId xmlns:a16="http://schemas.microsoft.com/office/drawing/2014/main" id="{E0C656A4-3866-1C22-A72D-C41C8D16F79C}"/>
              </a:ext>
            </a:extLst>
          </p:cNvPr>
          <p:cNvSpPr/>
          <p:nvPr/>
        </p:nvSpPr>
        <p:spPr>
          <a:xfrm>
            <a:off x="746628" y="2499624"/>
            <a:ext cx="2642616" cy="61212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US" sz="1200" b="1">
                <a:solidFill>
                  <a:schemeClr val="accent1"/>
                </a:solidFill>
              </a:rPr>
              <a:t>Web Leads</a:t>
            </a:r>
          </a:p>
        </p:txBody>
      </p:sp>
      <p:cxnSp>
        <p:nvCxnSpPr>
          <p:cNvPr id="57" name="Straight Connector 56">
            <a:extLst>
              <a:ext uri="{FF2B5EF4-FFF2-40B4-BE49-F238E27FC236}">
                <a16:creationId xmlns:a16="http://schemas.microsoft.com/office/drawing/2014/main" id="{98898E13-D5C0-8329-A918-51BC853F1733}"/>
              </a:ext>
            </a:extLst>
          </p:cNvPr>
          <p:cNvCxnSpPr>
            <a:cxnSpLocks/>
          </p:cNvCxnSpPr>
          <p:nvPr/>
        </p:nvCxnSpPr>
        <p:spPr>
          <a:xfrm>
            <a:off x="3442055" y="2573821"/>
            <a:ext cx="0" cy="457200"/>
          </a:xfrm>
          <a:prstGeom prst="line">
            <a:avLst/>
          </a:prstGeom>
        </p:spPr>
        <p:style>
          <a:lnRef idx="1">
            <a:schemeClr val="accent1"/>
          </a:lnRef>
          <a:fillRef idx="0">
            <a:schemeClr val="accent1"/>
          </a:fillRef>
          <a:effectRef idx="0">
            <a:schemeClr val="accent1"/>
          </a:effectRef>
          <a:fontRef idx="minor">
            <a:schemeClr val="tx1"/>
          </a:fontRef>
        </p:style>
      </p:cxnSp>
      <p:sp>
        <p:nvSpPr>
          <p:cNvPr id="59" name="Rectangle 58">
            <a:extLst>
              <a:ext uri="{FF2B5EF4-FFF2-40B4-BE49-F238E27FC236}">
                <a16:creationId xmlns:a16="http://schemas.microsoft.com/office/drawing/2014/main" id="{651D2793-3B75-E191-E2B8-7F656AC0B043}"/>
              </a:ext>
            </a:extLst>
          </p:cNvPr>
          <p:cNvSpPr/>
          <p:nvPr/>
        </p:nvSpPr>
        <p:spPr>
          <a:xfrm>
            <a:off x="3787260" y="2537724"/>
            <a:ext cx="7757763" cy="61212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Any prospect that submitted info via a web form (Wunderkind, Pricing and Other Info), chatted with a representative, started the SB buyflow, or called a representative with a TFN on the site</a:t>
            </a:r>
            <a:endParaRPr lang="en-US" sz="1200" dirty="0">
              <a:solidFill>
                <a:srgbClr val="C00000"/>
              </a:solidFill>
            </a:endParaRPr>
          </a:p>
        </p:txBody>
      </p:sp>
      <p:sp>
        <p:nvSpPr>
          <p:cNvPr id="50" name="Rectangle 49">
            <a:extLst>
              <a:ext uri="{FF2B5EF4-FFF2-40B4-BE49-F238E27FC236}">
                <a16:creationId xmlns:a16="http://schemas.microsoft.com/office/drawing/2014/main" id="{15905769-FC5E-5B9C-2764-B07766F31FBA}"/>
              </a:ext>
            </a:extLst>
          </p:cNvPr>
          <p:cNvSpPr/>
          <p:nvPr/>
        </p:nvSpPr>
        <p:spPr>
          <a:xfrm>
            <a:off x="746628" y="4372149"/>
            <a:ext cx="2642616" cy="6035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US" sz="1200" b="1">
                <a:solidFill>
                  <a:schemeClr val="accent1"/>
                </a:solidFill>
              </a:rPr>
              <a:t>Digital Sourced Sales</a:t>
            </a:r>
          </a:p>
        </p:txBody>
      </p:sp>
      <p:cxnSp>
        <p:nvCxnSpPr>
          <p:cNvPr id="53" name="Straight Connector 52">
            <a:extLst>
              <a:ext uri="{FF2B5EF4-FFF2-40B4-BE49-F238E27FC236}">
                <a16:creationId xmlns:a16="http://schemas.microsoft.com/office/drawing/2014/main" id="{0DE753F7-38D4-C1DA-237D-BAC564370683}"/>
              </a:ext>
            </a:extLst>
          </p:cNvPr>
          <p:cNvCxnSpPr>
            <a:cxnSpLocks/>
          </p:cNvCxnSpPr>
          <p:nvPr/>
        </p:nvCxnSpPr>
        <p:spPr>
          <a:xfrm>
            <a:off x="3442055" y="4445301"/>
            <a:ext cx="0" cy="457200"/>
          </a:xfrm>
          <a:prstGeom prst="line">
            <a:avLst/>
          </a:prstGeom>
        </p:spPr>
        <p:style>
          <a:lnRef idx="1">
            <a:schemeClr val="accent1"/>
          </a:lnRef>
          <a:fillRef idx="0">
            <a:schemeClr val="accent1"/>
          </a:fillRef>
          <a:effectRef idx="0">
            <a:schemeClr val="accent1"/>
          </a:effectRef>
          <a:fontRef idx="minor">
            <a:schemeClr val="tx1"/>
          </a:fontRef>
        </p:style>
      </p:cxnSp>
      <p:sp>
        <p:nvSpPr>
          <p:cNvPr id="55" name="Rectangle 54">
            <a:extLst>
              <a:ext uri="{FF2B5EF4-FFF2-40B4-BE49-F238E27FC236}">
                <a16:creationId xmlns:a16="http://schemas.microsoft.com/office/drawing/2014/main" id="{C00DC171-9094-9E8F-38F9-16D003A6D02A}"/>
              </a:ext>
            </a:extLst>
          </p:cNvPr>
          <p:cNvSpPr/>
          <p:nvPr/>
        </p:nvSpPr>
        <p:spPr>
          <a:xfrm>
            <a:off x="3787260" y="4410249"/>
            <a:ext cx="7757763" cy="6035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New SB BI sale sourced from a Web Form, Chat Lead, Buyflow Start, or Online Sales Call</a:t>
            </a:r>
          </a:p>
        </p:txBody>
      </p:sp>
      <p:sp>
        <p:nvSpPr>
          <p:cNvPr id="38" name="Rectangle 37">
            <a:extLst>
              <a:ext uri="{FF2B5EF4-FFF2-40B4-BE49-F238E27FC236}">
                <a16:creationId xmlns:a16="http://schemas.microsoft.com/office/drawing/2014/main" id="{6F134AA9-C11C-89C8-052F-68286F549469}"/>
              </a:ext>
            </a:extLst>
          </p:cNvPr>
          <p:cNvSpPr/>
          <p:nvPr/>
        </p:nvSpPr>
        <p:spPr>
          <a:xfrm>
            <a:off x="746628" y="4989426"/>
            <a:ext cx="2642616" cy="6035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US" sz="1200" b="1" dirty="0">
                <a:solidFill>
                  <a:schemeClr val="accent1"/>
                </a:solidFill>
              </a:rPr>
              <a:t>Digital Share</a:t>
            </a:r>
          </a:p>
        </p:txBody>
      </p:sp>
      <p:cxnSp>
        <p:nvCxnSpPr>
          <p:cNvPr id="42" name="Straight Connector 41">
            <a:extLst>
              <a:ext uri="{FF2B5EF4-FFF2-40B4-BE49-F238E27FC236}">
                <a16:creationId xmlns:a16="http://schemas.microsoft.com/office/drawing/2014/main" id="{4FB6C501-026B-F502-9172-704B1E7016C7}"/>
              </a:ext>
            </a:extLst>
          </p:cNvPr>
          <p:cNvCxnSpPr>
            <a:cxnSpLocks/>
          </p:cNvCxnSpPr>
          <p:nvPr/>
        </p:nvCxnSpPr>
        <p:spPr>
          <a:xfrm>
            <a:off x="3442055" y="5062578"/>
            <a:ext cx="0" cy="457200"/>
          </a:xfrm>
          <a:prstGeom prst="line">
            <a:avLst/>
          </a:prstGeom>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7F95D7A6-53A5-D1DB-6BC2-FAFECF8D2073}"/>
              </a:ext>
            </a:extLst>
          </p:cNvPr>
          <p:cNvSpPr/>
          <p:nvPr/>
        </p:nvSpPr>
        <p:spPr>
          <a:xfrm>
            <a:off x="3787260" y="5002126"/>
            <a:ext cx="7757763" cy="6035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a:solidFill>
                  <a:schemeClr val="tx1"/>
                </a:solidFill>
              </a:rPr>
              <a:t>Contribution of digitally sourced leads/sales to total leads/sales</a:t>
            </a:r>
          </a:p>
        </p:txBody>
      </p:sp>
      <p:sp>
        <p:nvSpPr>
          <p:cNvPr id="34" name="Rectangle 33">
            <a:extLst>
              <a:ext uri="{FF2B5EF4-FFF2-40B4-BE49-F238E27FC236}">
                <a16:creationId xmlns:a16="http://schemas.microsoft.com/office/drawing/2014/main" id="{A85C0463-B877-4258-1A1F-99B1254BE1A3}"/>
              </a:ext>
            </a:extLst>
          </p:cNvPr>
          <p:cNvSpPr/>
          <p:nvPr/>
        </p:nvSpPr>
        <p:spPr>
          <a:xfrm>
            <a:off x="746628" y="3130790"/>
            <a:ext cx="2642616" cy="60350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US" sz="1200" b="1" dirty="0">
                <a:solidFill>
                  <a:schemeClr val="accent1"/>
                </a:solidFill>
              </a:rPr>
              <a:t> Buyflow Starts</a:t>
            </a:r>
          </a:p>
        </p:txBody>
      </p:sp>
      <p:sp>
        <p:nvSpPr>
          <p:cNvPr id="36" name="Rectangle 35">
            <a:extLst>
              <a:ext uri="{FF2B5EF4-FFF2-40B4-BE49-F238E27FC236}">
                <a16:creationId xmlns:a16="http://schemas.microsoft.com/office/drawing/2014/main" id="{717DE06F-DD10-4631-2E56-6C7C20C0E93B}"/>
              </a:ext>
            </a:extLst>
          </p:cNvPr>
          <p:cNvSpPr/>
          <p:nvPr/>
        </p:nvSpPr>
        <p:spPr>
          <a:xfrm>
            <a:off x="3787260" y="3137595"/>
            <a:ext cx="7757763" cy="6035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Customers who begin buyflow (SB: by viewing the Configure page, CBM: clicking continue on the cart page)</a:t>
            </a:r>
          </a:p>
        </p:txBody>
      </p:sp>
      <p:cxnSp>
        <p:nvCxnSpPr>
          <p:cNvPr id="37" name="Straight Connector 36">
            <a:extLst>
              <a:ext uri="{FF2B5EF4-FFF2-40B4-BE49-F238E27FC236}">
                <a16:creationId xmlns:a16="http://schemas.microsoft.com/office/drawing/2014/main" id="{E805FD1F-043A-5C61-1941-950B8BC9EAA2}"/>
              </a:ext>
            </a:extLst>
          </p:cNvPr>
          <p:cNvCxnSpPr>
            <a:cxnSpLocks/>
          </p:cNvCxnSpPr>
          <p:nvPr/>
        </p:nvCxnSpPr>
        <p:spPr>
          <a:xfrm>
            <a:off x="3442055" y="3224359"/>
            <a:ext cx="0" cy="457200"/>
          </a:xfrm>
          <a:prstGeom prst="line">
            <a:avLst/>
          </a:prstGeom>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2266FF13-3F4A-ABE1-1BEF-F8A3D7985BC0}"/>
              </a:ext>
            </a:extLst>
          </p:cNvPr>
          <p:cNvSpPr/>
          <p:nvPr/>
        </p:nvSpPr>
        <p:spPr>
          <a:xfrm>
            <a:off x="746627" y="5580230"/>
            <a:ext cx="2642616" cy="6035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US" sz="1200" b="1" dirty="0">
                <a:solidFill>
                  <a:schemeClr val="accent1"/>
                </a:solidFill>
              </a:rPr>
              <a:t>Digital Influenced Revenue</a:t>
            </a:r>
          </a:p>
        </p:txBody>
      </p:sp>
      <p:cxnSp>
        <p:nvCxnSpPr>
          <p:cNvPr id="11" name="Straight Connector 10">
            <a:extLst>
              <a:ext uri="{FF2B5EF4-FFF2-40B4-BE49-F238E27FC236}">
                <a16:creationId xmlns:a16="http://schemas.microsoft.com/office/drawing/2014/main" id="{F54229D3-87C4-BD8A-88D1-3B95CB935ACA}"/>
              </a:ext>
            </a:extLst>
          </p:cNvPr>
          <p:cNvCxnSpPr>
            <a:cxnSpLocks/>
          </p:cNvCxnSpPr>
          <p:nvPr/>
        </p:nvCxnSpPr>
        <p:spPr>
          <a:xfrm>
            <a:off x="3442054" y="5653382"/>
            <a:ext cx="0" cy="457200"/>
          </a:xfrm>
          <a:prstGeom prst="line">
            <a:avLst/>
          </a:prstGeom>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2A893A0F-AEA2-8D76-5820-BCE0A1B4F72C}"/>
              </a:ext>
            </a:extLst>
          </p:cNvPr>
          <p:cNvSpPr/>
          <p:nvPr/>
        </p:nvSpPr>
        <p:spPr>
          <a:xfrm>
            <a:off x="3787259" y="5592930"/>
            <a:ext cx="7757763" cy="6035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l" rtl="0" fontAlgn="base"/>
            <a:r>
              <a:rPr lang="en-US" sz="1200" b="0" u="none" strike="noStrike" dirty="0">
                <a:solidFill>
                  <a:srgbClr val="404040"/>
                </a:solidFill>
                <a:effectLst/>
                <a:latin typeface="Montserrat" panose="00000500000000000000" pitchFamily="2" charset="0"/>
              </a:rPr>
              <a:t>Revenue derived from sales from Online Sales Calls, POI lead forms, BX lead forms, Chats, or Buyflow Start leads</a:t>
            </a:r>
            <a:r>
              <a:rPr lang="en-US" sz="1200" b="0" dirty="0">
                <a:solidFill>
                  <a:srgbClr val="000000"/>
                </a:solidFill>
                <a:effectLst/>
                <a:latin typeface="Montserrat" panose="00000500000000000000" pitchFamily="2" charset="0"/>
              </a:rPr>
              <a:t>​</a:t>
            </a:r>
            <a:endParaRPr lang="en-US" sz="1200" b="0" dirty="0">
              <a:solidFill>
                <a:srgbClr val="000000"/>
              </a:solidFill>
              <a:effectLst/>
              <a:latin typeface="Arial" panose="020B0604020202020204" pitchFamily="34" charset="0"/>
            </a:endParaRPr>
          </a:p>
        </p:txBody>
      </p:sp>
    </p:spTree>
    <p:extLst>
      <p:ext uri="{BB962C8B-B14F-4D97-AF65-F5344CB8AC3E}">
        <p14:creationId xmlns:p14="http://schemas.microsoft.com/office/powerpoint/2010/main" val="4242012436"/>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945D411-C3A3-944A-33E0-0DA89DE9CE9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6" name="think-cell data - do not delete" hidden="1">
                        <a:extLst>
                          <a:ext uri="{FF2B5EF4-FFF2-40B4-BE49-F238E27FC236}">
                            <a16:creationId xmlns:a16="http://schemas.microsoft.com/office/drawing/2014/main" id="{7945D411-C3A3-944A-33E0-0DA89DE9CE9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3" name="Text Placeholder 3">
            <a:extLst>
              <a:ext uri="{FF2B5EF4-FFF2-40B4-BE49-F238E27FC236}">
                <a16:creationId xmlns:a16="http://schemas.microsoft.com/office/drawing/2014/main" id="{35DBC1E0-BC84-7EBA-61DF-615797FF890D}"/>
              </a:ext>
            </a:extLst>
          </p:cNvPr>
          <p:cNvSpPr txBox="1">
            <a:spLocks/>
          </p:cNvSpPr>
          <p:nvPr/>
        </p:nvSpPr>
        <p:spPr>
          <a:xfrm>
            <a:off x="460375" y="219050"/>
            <a:ext cx="11271250" cy="201612"/>
          </a:xfrm>
          <a:prstGeom prst="rect">
            <a:avLst/>
          </a:prstGeom>
        </p:spPr>
        <p:txBody>
          <a:bodyPr lIns="0" tIns="0" rIns="0" bIns="0" anchor="ctr"/>
          <a:lstStyle>
            <a:lvl1pPr marL="0" indent="0" algn="l" rtl="0" eaLnBrk="1" fontAlgn="base" hangingPunct="1">
              <a:lnSpc>
                <a:spcPct val="95000"/>
              </a:lnSpc>
              <a:spcBef>
                <a:spcPts val="1000"/>
              </a:spcBef>
              <a:spcAft>
                <a:spcPct val="0"/>
              </a:spcAft>
              <a:buFont typeface="Arial" panose="020B0604020202020204" pitchFamily="34" charset="0"/>
              <a:buNone/>
              <a:defRPr lang="en-US" sz="1000" b="0" i="0" kern="1200" cap="all" spc="200" baseline="0" dirty="0">
                <a:solidFill>
                  <a:schemeClr val="accent1"/>
                </a:solidFill>
                <a:latin typeface="Montserrat" panose="00000500000000000000" pitchFamily="2" charset="0"/>
                <a:ea typeface="Montserrat" panose="00000500000000000000" pitchFamily="2" charset="0"/>
                <a:cs typeface="Montserrat" panose="00000500000000000000" pitchFamily="2" charset="0"/>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Executive summary</a:t>
            </a:r>
          </a:p>
        </p:txBody>
      </p:sp>
      <p:sp>
        <p:nvSpPr>
          <p:cNvPr id="42" name="Title 41">
            <a:extLst>
              <a:ext uri="{FF2B5EF4-FFF2-40B4-BE49-F238E27FC236}">
                <a16:creationId xmlns:a16="http://schemas.microsoft.com/office/drawing/2014/main" id="{64172103-73D5-CFF2-10F3-0581A20E19EC}"/>
              </a:ext>
            </a:extLst>
          </p:cNvPr>
          <p:cNvSpPr>
            <a:spLocks noGrp="1"/>
          </p:cNvSpPr>
          <p:nvPr>
            <p:ph type="title"/>
          </p:nvPr>
        </p:nvSpPr>
        <p:spPr>
          <a:xfrm>
            <a:off x="463548" y="514928"/>
            <a:ext cx="11271251" cy="365760"/>
          </a:xfrm>
        </p:spPr>
        <p:txBody>
          <a:bodyPr vert="horz"/>
          <a:lstStyle/>
          <a:p>
            <a:r>
              <a:rPr lang="en-US"/>
              <a:t>CB Ops Review – Enterprise</a:t>
            </a:r>
          </a:p>
        </p:txBody>
      </p:sp>
      <p:grpSp>
        <p:nvGrpSpPr>
          <p:cNvPr id="16" name="Group 15">
            <a:extLst>
              <a:ext uri="{FF2B5EF4-FFF2-40B4-BE49-F238E27FC236}">
                <a16:creationId xmlns:a16="http://schemas.microsoft.com/office/drawing/2014/main" id="{23AB1B3C-6370-959A-E3A8-70CAE6863976}"/>
              </a:ext>
            </a:extLst>
          </p:cNvPr>
          <p:cNvGrpSpPr/>
          <p:nvPr/>
        </p:nvGrpSpPr>
        <p:grpSpPr>
          <a:xfrm>
            <a:off x="746628" y="1242676"/>
            <a:ext cx="10642948" cy="625898"/>
            <a:chOff x="317897" y="924176"/>
            <a:chExt cx="10642948" cy="603504"/>
          </a:xfrm>
        </p:grpSpPr>
        <p:sp>
          <p:nvSpPr>
            <p:cNvPr id="25" name="Rectangle 24">
              <a:extLst>
                <a:ext uri="{FF2B5EF4-FFF2-40B4-BE49-F238E27FC236}">
                  <a16:creationId xmlns:a16="http://schemas.microsoft.com/office/drawing/2014/main" id="{76DB6C3B-56E0-C165-F83C-4F805F41A887}"/>
                </a:ext>
              </a:extLst>
            </p:cNvPr>
            <p:cNvSpPr/>
            <p:nvPr/>
          </p:nvSpPr>
          <p:spPr>
            <a:xfrm>
              <a:off x="317897" y="924176"/>
              <a:ext cx="2642616" cy="6035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US" sz="1200" b="1">
                  <a:solidFill>
                    <a:schemeClr val="accent1"/>
                  </a:solidFill>
                </a:rPr>
                <a:t>Gross Traffic</a:t>
              </a:r>
            </a:p>
          </p:txBody>
        </p:sp>
        <p:cxnSp>
          <p:nvCxnSpPr>
            <p:cNvPr id="72" name="Straight Connector 71">
              <a:extLst>
                <a:ext uri="{FF2B5EF4-FFF2-40B4-BE49-F238E27FC236}">
                  <a16:creationId xmlns:a16="http://schemas.microsoft.com/office/drawing/2014/main" id="{4D0565BC-D0D7-A81E-ED51-8079D2E40D3D}"/>
                </a:ext>
              </a:extLst>
            </p:cNvPr>
            <p:cNvCxnSpPr>
              <a:cxnSpLocks/>
            </p:cNvCxnSpPr>
            <p:nvPr/>
          </p:nvCxnSpPr>
          <p:spPr>
            <a:xfrm>
              <a:off x="3013324" y="997328"/>
              <a:ext cx="0" cy="457200"/>
            </a:xfrm>
            <a:prstGeom prst="line">
              <a:avLst/>
            </a:prstGeom>
          </p:spPr>
          <p:style>
            <a:lnRef idx="1">
              <a:schemeClr val="accent1"/>
            </a:lnRef>
            <a:fillRef idx="0">
              <a:schemeClr val="accent1"/>
            </a:fillRef>
            <a:effectRef idx="0">
              <a:schemeClr val="accent1"/>
            </a:effectRef>
            <a:fontRef idx="minor">
              <a:schemeClr val="tx1"/>
            </a:fontRef>
          </p:style>
        </p:cxnSp>
        <p:sp>
          <p:nvSpPr>
            <p:cNvPr id="73" name="Rectangle 72">
              <a:extLst>
                <a:ext uri="{FF2B5EF4-FFF2-40B4-BE49-F238E27FC236}">
                  <a16:creationId xmlns:a16="http://schemas.microsoft.com/office/drawing/2014/main" id="{2737CEAA-17A4-DF20-9CF0-1AC79C0941C8}"/>
                </a:ext>
              </a:extLst>
            </p:cNvPr>
            <p:cNvSpPr/>
            <p:nvPr/>
          </p:nvSpPr>
          <p:spPr>
            <a:xfrm>
              <a:off x="3179309" y="924176"/>
              <a:ext cx="1294531" cy="603504"/>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600" b="1" dirty="0">
                  <a:solidFill>
                    <a:schemeClr val="tx1"/>
                  </a:solidFill>
                </a:rPr>
                <a:t>5,183</a:t>
              </a:r>
            </a:p>
            <a:p>
              <a:pPr algn="ctr"/>
              <a:r>
                <a:rPr lang="en-US" sz="900" dirty="0">
                  <a:solidFill>
                    <a:schemeClr val="tx1"/>
                  </a:solidFill>
                </a:rPr>
                <a:t>Per Day</a:t>
              </a:r>
            </a:p>
          </p:txBody>
        </p:sp>
        <p:sp>
          <p:nvSpPr>
            <p:cNvPr id="75" name="Rectangle 74">
              <a:extLst>
                <a:ext uri="{FF2B5EF4-FFF2-40B4-BE49-F238E27FC236}">
                  <a16:creationId xmlns:a16="http://schemas.microsoft.com/office/drawing/2014/main" id="{372617B6-404F-3F29-C763-9559A9D40030}"/>
                </a:ext>
              </a:extLst>
            </p:cNvPr>
            <p:cNvSpPr/>
            <p:nvPr/>
          </p:nvSpPr>
          <p:spPr>
            <a:xfrm>
              <a:off x="4638690" y="924176"/>
              <a:ext cx="6322155" cy="6035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Visits 91% MoM; contributing factors include a decrease in spend (post PGA Tour)</a:t>
              </a:r>
            </a:p>
          </p:txBody>
        </p:sp>
      </p:grpSp>
      <p:grpSp>
        <p:nvGrpSpPr>
          <p:cNvPr id="76" name="Group 75">
            <a:extLst>
              <a:ext uri="{FF2B5EF4-FFF2-40B4-BE49-F238E27FC236}">
                <a16:creationId xmlns:a16="http://schemas.microsoft.com/office/drawing/2014/main" id="{FECFFBD2-C179-6364-D72C-4DDE60E24D65}"/>
              </a:ext>
            </a:extLst>
          </p:cNvPr>
          <p:cNvGrpSpPr/>
          <p:nvPr/>
        </p:nvGrpSpPr>
        <p:grpSpPr>
          <a:xfrm>
            <a:off x="746628" y="1882347"/>
            <a:ext cx="10642948" cy="603504"/>
            <a:chOff x="317897" y="1488035"/>
            <a:chExt cx="10642948" cy="603504"/>
          </a:xfrm>
        </p:grpSpPr>
        <p:sp>
          <p:nvSpPr>
            <p:cNvPr id="77" name="Rectangle 76">
              <a:extLst>
                <a:ext uri="{FF2B5EF4-FFF2-40B4-BE49-F238E27FC236}">
                  <a16:creationId xmlns:a16="http://schemas.microsoft.com/office/drawing/2014/main" id="{8829950E-79D4-9780-F28A-90FF4C15A194}"/>
                </a:ext>
              </a:extLst>
            </p:cNvPr>
            <p:cNvSpPr/>
            <p:nvPr/>
          </p:nvSpPr>
          <p:spPr>
            <a:xfrm>
              <a:off x="317897" y="1488036"/>
              <a:ext cx="2642616" cy="60350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US" sz="1200" b="1" dirty="0">
                  <a:solidFill>
                    <a:schemeClr val="accent1"/>
                  </a:solidFill>
                </a:rPr>
                <a:t>Engaged Traffic</a:t>
              </a:r>
            </a:p>
            <a:p>
              <a:pPr algn="r"/>
              <a:r>
                <a:rPr lang="en-US" sz="700" i="1">
                  <a:solidFill>
                    <a:schemeClr val="accent1"/>
                  </a:solidFill>
                </a:rPr>
                <a:t>Including </a:t>
              </a:r>
              <a:r>
                <a:rPr lang="en-US" sz="700" i="1" dirty="0">
                  <a:solidFill>
                    <a:schemeClr val="accent1"/>
                  </a:solidFill>
                </a:rPr>
                <a:t>Display</a:t>
              </a:r>
              <a:endParaRPr lang="en-US" sz="1200" i="1" dirty="0">
                <a:solidFill>
                  <a:schemeClr val="accent1"/>
                </a:solidFill>
              </a:endParaRPr>
            </a:p>
          </p:txBody>
        </p:sp>
        <p:cxnSp>
          <p:nvCxnSpPr>
            <p:cNvPr id="78" name="Straight Connector 77">
              <a:extLst>
                <a:ext uri="{FF2B5EF4-FFF2-40B4-BE49-F238E27FC236}">
                  <a16:creationId xmlns:a16="http://schemas.microsoft.com/office/drawing/2014/main" id="{83829200-D509-FA2E-1505-AA85E0F50704}"/>
                </a:ext>
              </a:extLst>
            </p:cNvPr>
            <p:cNvCxnSpPr>
              <a:cxnSpLocks/>
            </p:cNvCxnSpPr>
            <p:nvPr/>
          </p:nvCxnSpPr>
          <p:spPr>
            <a:xfrm>
              <a:off x="3013324" y="1561187"/>
              <a:ext cx="0" cy="457200"/>
            </a:xfrm>
            <a:prstGeom prst="line">
              <a:avLst/>
            </a:prstGeom>
          </p:spPr>
          <p:style>
            <a:lnRef idx="1">
              <a:schemeClr val="accent1"/>
            </a:lnRef>
            <a:fillRef idx="0">
              <a:schemeClr val="accent1"/>
            </a:fillRef>
            <a:effectRef idx="0">
              <a:schemeClr val="accent1"/>
            </a:effectRef>
            <a:fontRef idx="minor">
              <a:schemeClr val="tx1"/>
            </a:fontRef>
          </p:style>
        </p:cxnSp>
        <p:sp>
          <p:nvSpPr>
            <p:cNvPr id="79" name="Rectangle 78">
              <a:extLst>
                <a:ext uri="{FF2B5EF4-FFF2-40B4-BE49-F238E27FC236}">
                  <a16:creationId xmlns:a16="http://schemas.microsoft.com/office/drawing/2014/main" id="{9D696A74-8D39-6DCA-1551-935C9CD126E7}"/>
                </a:ext>
              </a:extLst>
            </p:cNvPr>
            <p:cNvSpPr/>
            <p:nvPr/>
          </p:nvSpPr>
          <p:spPr>
            <a:xfrm>
              <a:off x="3179309" y="1488035"/>
              <a:ext cx="1406568" cy="603504"/>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600" b="1" dirty="0">
                  <a:solidFill>
                    <a:schemeClr val="tx1"/>
                  </a:solidFill>
                </a:rPr>
                <a:t>1,104 | 21%</a:t>
              </a:r>
            </a:p>
            <a:p>
              <a:pPr algn="ctr"/>
              <a:r>
                <a:rPr lang="en-US" sz="900" dirty="0">
                  <a:solidFill>
                    <a:schemeClr val="tx1"/>
                  </a:solidFill>
                </a:rPr>
                <a:t>Per Day</a:t>
              </a:r>
              <a:endParaRPr lang="en-US" sz="1400" dirty="0">
                <a:solidFill>
                  <a:schemeClr val="tx1"/>
                </a:solidFill>
              </a:endParaRPr>
            </a:p>
          </p:txBody>
        </p:sp>
        <p:sp>
          <p:nvSpPr>
            <p:cNvPr id="80" name="Rectangle 79">
              <a:extLst>
                <a:ext uri="{FF2B5EF4-FFF2-40B4-BE49-F238E27FC236}">
                  <a16:creationId xmlns:a16="http://schemas.microsoft.com/office/drawing/2014/main" id="{044B6B2F-BD1D-3517-9535-1FCE778EFFFF}"/>
                </a:ext>
              </a:extLst>
            </p:cNvPr>
            <p:cNvSpPr/>
            <p:nvPr/>
          </p:nvSpPr>
          <p:spPr>
            <a:xfrm>
              <a:off x="4638690" y="1488035"/>
              <a:ext cx="6322155" cy="6035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Engaged visits 85% MoM (100% to BUD); engagement rate declines due to significant decrease in Referring Domains (35%), Direct (57%), and Paid Search (81%).  Contributing factors include a decrease in spend (post PGA Tour)</a:t>
              </a:r>
            </a:p>
          </p:txBody>
        </p:sp>
      </p:grpSp>
      <p:grpSp>
        <p:nvGrpSpPr>
          <p:cNvPr id="81" name="Group 80">
            <a:extLst>
              <a:ext uri="{FF2B5EF4-FFF2-40B4-BE49-F238E27FC236}">
                <a16:creationId xmlns:a16="http://schemas.microsoft.com/office/drawing/2014/main" id="{CE150199-2DDC-9C4C-DD8E-0FD38193B7C4}"/>
              </a:ext>
            </a:extLst>
          </p:cNvPr>
          <p:cNvGrpSpPr/>
          <p:nvPr/>
        </p:nvGrpSpPr>
        <p:grpSpPr>
          <a:xfrm>
            <a:off x="746628" y="3754872"/>
            <a:ext cx="10642948" cy="603504"/>
            <a:chOff x="317897" y="3305772"/>
            <a:chExt cx="10642948" cy="603504"/>
          </a:xfrm>
        </p:grpSpPr>
        <p:sp>
          <p:nvSpPr>
            <p:cNvPr id="82" name="Rectangle 81">
              <a:extLst>
                <a:ext uri="{FF2B5EF4-FFF2-40B4-BE49-F238E27FC236}">
                  <a16:creationId xmlns:a16="http://schemas.microsoft.com/office/drawing/2014/main" id="{24E206E3-4A6F-6AED-9AB8-9513BADB36F0}"/>
                </a:ext>
              </a:extLst>
            </p:cNvPr>
            <p:cNvSpPr/>
            <p:nvPr/>
          </p:nvSpPr>
          <p:spPr>
            <a:xfrm>
              <a:off x="317897" y="3305772"/>
              <a:ext cx="2642616" cy="6035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US" sz="1200" b="1" dirty="0">
                  <a:solidFill>
                    <a:schemeClr val="accent1"/>
                  </a:solidFill>
                </a:rPr>
                <a:t>Web Sales</a:t>
              </a:r>
              <a:endParaRPr lang="en-US" sz="1200" b="1" baseline="30000" dirty="0">
                <a:solidFill>
                  <a:schemeClr val="accent1"/>
                </a:solidFill>
              </a:endParaRPr>
            </a:p>
          </p:txBody>
        </p:sp>
        <p:cxnSp>
          <p:nvCxnSpPr>
            <p:cNvPr id="83" name="Straight Connector 82">
              <a:extLst>
                <a:ext uri="{FF2B5EF4-FFF2-40B4-BE49-F238E27FC236}">
                  <a16:creationId xmlns:a16="http://schemas.microsoft.com/office/drawing/2014/main" id="{BF1BA423-9433-0AA3-C263-9736F5A70BE8}"/>
                </a:ext>
              </a:extLst>
            </p:cNvPr>
            <p:cNvCxnSpPr>
              <a:cxnSpLocks/>
            </p:cNvCxnSpPr>
            <p:nvPr/>
          </p:nvCxnSpPr>
          <p:spPr>
            <a:xfrm>
              <a:off x="3013324" y="3378924"/>
              <a:ext cx="0" cy="457200"/>
            </a:xfrm>
            <a:prstGeom prst="line">
              <a:avLst/>
            </a:prstGeom>
          </p:spPr>
          <p:style>
            <a:lnRef idx="1">
              <a:schemeClr val="accent1"/>
            </a:lnRef>
            <a:fillRef idx="0">
              <a:schemeClr val="accent1"/>
            </a:fillRef>
            <a:effectRef idx="0">
              <a:schemeClr val="accent1"/>
            </a:effectRef>
            <a:fontRef idx="minor">
              <a:schemeClr val="tx1"/>
            </a:fontRef>
          </p:style>
        </p:cxnSp>
        <p:sp>
          <p:nvSpPr>
            <p:cNvPr id="84" name="Rectangle 83">
              <a:extLst>
                <a:ext uri="{FF2B5EF4-FFF2-40B4-BE49-F238E27FC236}">
                  <a16:creationId xmlns:a16="http://schemas.microsoft.com/office/drawing/2014/main" id="{4F32E5CA-5CE8-B546-1D2E-589970FE56B1}"/>
                </a:ext>
              </a:extLst>
            </p:cNvPr>
            <p:cNvSpPr/>
            <p:nvPr/>
          </p:nvSpPr>
          <p:spPr>
            <a:xfrm>
              <a:off x="3179309" y="3305772"/>
              <a:ext cx="1294531" cy="603504"/>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600" b="1" dirty="0">
                  <a:solidFill>
                    <a:schemeClr val="tx1"/>
                  </a:solidFill>
                </a:rPr>
                <a:t>1 | 10.5%</a:t>
              </a:r>
            </a:p>
            <a:p>
              <a:pPr algn="ctr"/>
              <a:r>
                <a:rPr lang="en-US" sz="900" dirty="0">
                  <a:solidFill>
                    <a:schemeClr val="tx1"/>
                  </a:solidFill>
                </a:rPr>
                <a:t>Per Day</a:t>
              </a:r>
              <a:endParaRPr lang="en-US" sz="1600" b="1" dirty="0">
                <a:solidFill>
                  <a:schemeClr val="tx1"/>
                </a:solidFill>
              </a:endParaRPr>
            </a:p>
          </p:txBody>
        </p:sp>
        <p:sp>
          <p:nvSpPr>
            <p:cNvPr id="85" name="Rectangle 84">
              <a:extLst>
                <a:ext uri="{FF2B5EF4-FFF2-40B4-BE49-F238E27FC236}">
                  <a16:creationId xmlns:a16="http://schemas.microsoft.com/office/drawing/2014/main" id="{DB244525-E17F-A345-D1DD-2E763C8C98F7}"/>
                </a:ext>
              </a:extLst>
            </p:cNvPr>
            <p:cNvSpPr/>
            <p:nvPr/>
          </p:nvSpPr>
          <p:spPr>
            <a:xfrm>
              <a:off x="4638690" y="3305772"/>
              <a:ext cx="6322155" cy="6035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74% Web Sales MoM;  contributing factors are decline in web &amp; call center opportunities</a:t>
              </a:r>
            </a:p>
          </p:txBody>
        </p:sp>
      </p:grpSp>
      <p:grpSp>
        <p:nvGrpSpPr>
          <p:cNvPr id="86" name="Group 85">
            <a:extLst>
              <a:ext uri="{FF2B5EF4-FFF2-40B4-BE49-F238E27FC236}">
                <a16:creationId xmlns:a16="http://schemas.microsoft.com/office/drawing/2014/main" id="{C2042DB4-97BB-0ECD-20D6-C0682AA9302C}"/>
              </a:ext>
            </a:extLst>
          </p:cNvPr>
          <p:cNvGrpSpPr/>
          <p:nvPr/>
        </p:nvGrpSpPr>
        <p:grpSpPr>
          <a:xfrm>
            <a:off x="746628" y="2499624"/>
            <a:ext cx="10642948" cy="612125"/>
            <a:chOff x="317897" y="2126861"/>
            <a:chExt cx="10642948" cy="612125"/>
          </a:xfrm>
        </p:grpSpPr>
        <p:sp>
          <p:nvSpPr>
            <p:cNvPr id="87" name="Rectangle 86">
              <a:extLst>
                <a:ext uri="{FF2B5EF4-FFF2-40B4-BE49-F238E27FC236}">
                  <a16:creationId xmlns:a16="http://schemas.microsoft.com/office/drawing/2014/main" id="{8A8CA0E8-7915-4C22-B284-F7577F0A7368}"/>
                </a:ext>
              </a:extLst>
            </p:cNvPr>
            <p:cNvSpPr/>
            <p:nvPr/>
          </p:nvSpPr>
          <p:spPr>
            <a:xfrm>
              <a:off x="317897" y="2126861"/>
              <a:ext cx="2642616" cy="61212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US" sz="1200" b="1" dirty="0">
                  <a:solidFill>
                    <a:schemeClr val="accent1"/>
                  </a:solidFill>
                </a:rPr>
                <a:t>Web &amp; Call Leads</a:t>
              </a:r>
            </a:p>
          </p:txBody>
        </p:sp>
        <p:cxnSp>
          <p:nvCxnSpPr>
            <p:cNvPr id="88" name="Straight Connector 87">
              <a:extLst>
                <a:ext uri="{FF2B5EF4-FFF2-40B4-BE49-F238E27FC236}">
                  <a16:creationId xmlns:a16="http://schemas.microsoft.com/office/drawing/2014/main" id="{D123837C-9A0C-9946-CF51-6A67F1184FDF}"/>
                </a:ext>
              </a:extLst>
            </p:cNvPr>
            <p:cNvCxnSpPr>
              <a:cxnSpLocks/>
            </p:cNvCxnSpPr>
            <p:nvPr/>
          </p:nvCxnSpPr>
          <p:spPr>
            <a:xfrm>
              <a:off x="3013324" y="2201058"/>
              <a:ext cx="0" cy="457200"/>
            </a:xfrm>
            <a:prstGeom prst="line">
              <a:avLst/>
            </a:prstGeom>
          </p:spPr>
          <p:style>
            <a:lnRef idx="1">
              <a:schemeClr val="accent1"/>
            </a:lnRef>
            <a:fillRef idx="0">
              <a:schemeClr val="accent1"/>
            </a:fillRef>
            <a:effectRef idx="0">
              <a:schemeClr val="accent1"/>
            </a:effectRef>
            <a:fontRef idx="minor">
              <a:schemeClr val="tx1"/>
            </a:fontRef>
          </p:style>
        </p:cxnSp>
        <p:sp>
          <p:nvSpPr>
            <p:cNvPr id="89" name="Rectangle 88">
              <a:extLst>
                <a:ext uri="{FF2B5EF4-FFF2-40B4-BE49-F238E27FC236}">
                  <a16:creationId xmlns:a16="http://schemas.microsoft.com/office/drawing/2014/main" id="{656B2773-EB0B-DB34-E821-55BDE7C5925A}"/>
                </a:ext>
              </a:extLst>
            </p:cNvPr>
            <p:cNvSpPr/>
            <p:nvPr/>
          </p:nvSpPr>
          <p:spPr>
            <a:xfrm>
              <a:off x="3179309" y="2126861"/>
              <a:ext cx="1294531" cy="612125"/>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600" b="1" dirty="0">
                  <a:solidFill>
                    <a:schemeClr val="tx1"/>
                  </a:solidFill>
                </a:rPr>
                <a:t>51 | 4.7%</a:t>
              </a:r>
            </a:p>
            <a:p>
              <a:pPr algn="ctr"/>
              <a:r>
                <a:rPr lang="en-US" sz="900" dirty="0">
                  <a:solidFill>
                    <a:schemeClr val="tx1"/>
                  </a:solidFill>
                </a:rPr>
                <a:t>Per Day</a:t>
              </a:r>
            </a:p>
          </p:txBody>
        </p:sp>
        <p:sp>
          <p:nvSpPr>
            <p:cNvPr id="91" name="Rectangle 90">
              <a:extLst>
                <a:ext uri="{FF2B5EF4-FFF2-40B4-BE49-F238E27FC236}">
                  <a16:creationId xmlns:a16="http://schemas.microsoft.com/office/drawing/2014/main" id="{B44FDC77-5CB9-DF5F-7B1D-596E22551D10}"/>
                </a:ext>
              </a:extLst>
            </p:cNvPr>
            <p:cNvSpPr/>
            <p:nvPr/>
          </p:nvSpPr>
          <p:spPr>
            <a:xfrm>
              <a:off x="4638690" y="2126861"/>
              <a:ext cx="6322155" cy="61212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78% Web &amp; Call MQLs MoM (103% to BUD); Paid Search drove majority of leads; email and managed services pages drove highest lead CVR</a:t>
              </a:r>
            </a:p>
          </p:txBody>
        </p:sp>
      </p:grpSp>
      <p:grpSp>
        <p:nvGrpSpPr>
          <p:cNvPr id="97" name="Group 96">
            <a:extLst>
              <a:ext uri="{FF2B5EF4-FFF2-40B4-BE49-F238E27FC236}">
                <a16:creationId xmlns:a16="http://schemas.microsoft.com/office/drawing/2014/main" id="{0B228D5C-C9EB-0F20-012E-CD90BB2A3905}"/>
              </a:ext>
            </a:extLst>
          </p:cNvPr>
          <p:cNvGrpSpPr/>
          <p:nvPr/>
        </p:nvGrpSpPr>
        <p:grpSpPr>
          <a:xfrm>
            <a:off x="746628" y="3125522"/>
            <a:ext cx="10698744" cy="615577"/>
            <a:chOff x="317897" y="2690720"/>
            <a:chExt cx="10698744" cy="615577"/>
          </a:xfrm>
        </p:grpSpPr>
        <p:sp>
          <p:nvSpPr>
            <p:cNvPr id="98" name="Rectangle 97">
              <a:extLst>
                <a:ext uri="{FF2B5EF4-FFF2-40B4-BE49-F238E27FC236}">
                  <a16:creationId xmlns:a16="http://schemas.microsoft.com/office/drawing/2014/main" id="{3B00879B-BF4C-35B7-2B66-7D8E90F05CC7}"/>
                </a:ext>
              </a:extLst>
            </p:cNvPr>
            <p:cNvSpPr/>
            <p:nvPr/>
          </p:nvSpPr>
          <p:spPr>
            <a:xfrm>
              <a:off x="317897" y="2695988"/>
              <a:ext cx="2642616" cy="60350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US" sz="1200" b="1" dirty="0">
                  <a:solidFill>
                    <a:schemeClr val="accent1"/>
                  </a:solidFill>
                </a:rPr>
                <a:t>Web &amp; Call Opportunities</a:t>
              </a:r>
            </a:p>
          </p:txBody>
        </p:sp>
        <p:sp>
          <p:nvSpPr>
            <p:cNvPr id="99" name="Rectangle 98">
              <a:extLst>
                <a:ext uri="{FF2B5EF4-FFF2-40B4-BE49-F238E27FC236}">
                  <a16:creationId xmlns:a16="http://schemas.microsoft.com/office/drawing/2014/main" id="{C28AD3BE-0A59-2ACA-3ACC-19B2A6C70442}"/>
                </a:ext>
              </a:extLst>
            </p:cNvPr>
            <p:cNvSpPr/>
            <p:nvPr/>
          </p:nvSpPr>
          <p:spPr>
            <a:xfrm>
              <a:off x="3177350" y="2690720"/>
              <a:ext cx="1298448" cy="612648"/>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600" b="1" dirty="0">
                  <a:solidFill>
                    <a:schemeClr val="tx1"/>
                  </a:solidFill>
                </a:rPr>
                <a:t>13 | 24.7%</a:t>
              </a:r>
            </a:p>
            <a:p>
              <a:pPr algn="ctr"/>
              <a:r>
                <a:rPr lang="en-US" sz="900" dirty="0">
                  <a:solidFill>
                    <a:schemeClr val="tx1"/>
                  </a:solidFill>
                </a:rPr>
                <a:t>Per Day</a:t>
              </a:r>
            </a:p>
          </p:txBody>
        </p:sp>
        <p:sp>
          <p:nvSpPr>
            <p:cNvPr id="100" name="Rectangle 99">
              <a:extLst>
                <a:ext uri="{FF2B5EF4-FFF2-40B4-BE49-F238E27FC236}">
                  <a16:creationId xmlns:a16="http://schemas.microsoft.com/office/drawing/2014/main" id="{4C4656D9-D383-F65E-5DC6-B4337695DF4C}"/>
                </a:ext>
              </a:extLst>
            </p:cNvPr>
            <p:cNvSpPr/>
            <p:nvPr/>
          </p:nvSpPr>
          <p:spPr>
            <a:xfrm>
              <a:off x="4638690" y="2702793"/>
              <a:ext cx="6377951" cy="6035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78% Web Opportunities MoM; contributing factors are decline in web &amp; call center leads</a:t>
              </a:r>
            </a:p>
          </p:txBody>
        </p:sp>
        <p:cxnSp>
          <p:nvCxnSpPr>
            <p:cNvPr id="101" name="Straight Connector 100">
              <a:extLst>
                <a:ext uri="{FF2B5EF4-FFF2-40B4-BE49-F238E27FC236}">
                  <a16:creationId xmlns:a16="http://schemas.microsoft.com/office/drawing/2014/main" id="{5379F9C5-C242-5D03-E62B-E4E4BF9AB25C}"/>
                </a:ext>
              </a:extLst>
            </p:cNvPr>
            <p:cNvCxnSpPr>
              <a:cxnSpLocks/>
            </p:cNvCxnSpPr>
            <p:nvPr/>
          </p:nvCxnSpPr>
          <p:spPr>
            <a:xfrm>
              <a:off x="3013324" y="2789557"/>
              <a:ext cx="0" cy="457200"/>
            </a:xfrm>
            <a:prstGeom prst="line">
              <a:avLst/>
            </a:prstGeom>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4C54F63A-F6FE-7D33-BE1C-E642F720C557}"/>
              </a:ext>
            </a:extLst>
          </p:cNvPr>
          <p:cNvSpPr txBox="1"/>
          <p:nvPr/>
        </p:nvSpPr>
        <p:spPr>
          <a:xfrm>
            <a:off x="463547" y="6235727"/>
            <a:ext cx="2734269" cy="201611"/>
          </a:xfrm>
          <a:prstGeom prst="rect">
            <a:avLst/>
          </a:prstGeom>
          <a:noFill/>
        </p:spPr>
        <p:txBody>
          <a:bodyPr wrap="square" lIns="0" tIns="0" rIns="0" bIns="0" rtlCol="0">
            <a:noAutofit/>
          </a:bodyPr>
          <a:lstStyle/>
          <a:p>
            <a:r>
              <a:rPr lang="en-US" sz="800">
                <a:solidFill>
                  <a:sysClr val="windowText" lastClr="000000"/>
                </a:solidFill>
              </a:rPr>
              <a:t>Data Source: CBMA Enterprise Tableau Dashboard.</a:t>
            </a:r>
          </a:p>
          <a:p>
            <a:pPr algn="l"/>
            <a:endParaRPr lang="en-US" sz="800"/>
          </a:p>
        </p:txBody>
      </p:sp>
      <p:grpSp>
        <p:nvGrpSpPr>
          <p:cNvPr id="3" name="Group 2">
            <a:extLst>
              <a:ext uri="{FF2B5EF4-FFF2-40B4-BE49-F238E27FC236}">
                <a16:creationId xmlns:a16="http://schemas.microsoft.com/office/drawing/2014/main" id="{FB4B98C9-3321-4AA2-A997-3698FEE17B82}"/>
              </a:ext>
            </a:extLst>
          </p:cNvPr>
          <p:cNvGrpSpPr/>
          <p:nvPr/>
        </p:nvGrpSpPr>
        <p:grpSpPr>
          <a:xfrm>
            <a:off x="746628" y="4431689"/>
            <a:ext cx="10642948" cy="603504"/>
            <a:chOff x="317897" y="3305772"/>
            <a:chExt cx="10642948" cy="603504"/>
          </a:xfrm>
        </p:grpSpPr>
        <p:sp>
          <p:nvSpPr>
            <p:cNvPr id="4" name="Rectangle 3">
              <a:extLst>
                <a:ext uri="{FF2B5EF4-FFF2-40B4-BE49-F238E27FC236}">
                  <a16:creationId xmlns:a16="http://schemas.microsoft.com/office/drawing/2014/main" id="{58E3682F-DB87-41B8-EBE8-D18960BC7C66}"/>
                </a:ext>
              </a:extLst>
            </p:cNvPr>
            <p:cNvSpPr/>
            <p:nvPr/>
          </p:nvSpPr>
          <p:spPr>
            <a:xfrm>
              <a:off x="317897" y="3305772"/>
              <a:ext cx="2642616" cy="6035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US" sz="1200" b="1" dirty="0">
                  <a:solidFill>
                    <a:schemeClr val="accent1"/>
                  </a:solidFill>
                </a:rPr>
                <a:t>Digital Influenced Revenue</a:t>
              </a:r>
              <a:endParaRPr lang="en-US" sz="1200" b="1" baseline="30000" dirty="0">
                <a:solidFill>
                  <a:schemeClr val="accent1"/>
                </a:solidFill>
              </a:endParaRPr>
            </a:p>
          </p:txBody>
        </p:sp>
        <p:cxnSp>
          <p:nvCxnSpPr>
            <p:cNvPr id="5" name="Straight Connector 4">
              <a:extLst>
                <a:ext uri="{FF2B5EF4-FFF2-40B4-BE49-F238E27FC236}">
                  <a16:creationId xmlns:a16="http://schemas.microsoft.com/office/drawing/2014/main" id="{84A4A631-277E-D4DD-2B7F-B80B2FAD83EC}"/>
                </a:ext>
              </a:extLst>
            </p:cNvPr>
            <p:cNvCxnSpPr>
              <a:cxnSpLocks/>
            </p:cNvCxnSpPr>
            <p:nvPr/>
          </p:nvCxnSpPr>
          <p:spPr>
            <a:xfrm>
              <a:off x="3013324" y="3378924"/>
              <a:ext cx="0" cy="457200"/>
            </a:xfrm>
            <a:prstGeom prst="line">
              <a:avLst/>
            </a:prstGeom>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131C2E5E-F029-1BE5-6C8D-54E882580D30}"/>
                </a:ext>
              </a:extLst>
            </p:cNvPr>
            <p:cNvSpPr/>
            <p:nvPr/>
          </p:nvSpPr>
          <p:spPr>
            <a:xfrm>
              <a:off x="3179309" y="3305772"/>
              <a:ext cx="1294531" cy="603504"/>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600" b="1" dirty="0" err="1">
                  <a:solidFill>
                    <a:schemeClr val="tx1"/>
                  </a:solidFill>
                </a:rPr>
                <a:t>Xx</a:t>
              </a:r>
              <a:r>
                <a:rPr lang="en-US" sz="1600" b="1" dirty="0">
                  <a:solidFill>
                    <a:schemeClr val="tx1"/>
                  </a:solidFill>
                </a:rPr>
                <a:t>% | $XX</a:t>
              </a:r>
            </a:p>
          </p:txBody>
        </p:sp>
        <p:sp>
          <p:nvSpPr>
            <p:cNvPr id="8" name="Rectangle 7">
              <a:extLst>
                <a:ext uri="{FF2B5EF4-FFF2-40B4-BE49-F238E27FC236}">
                  <a16:creationId xmlns:a16="http://schemas.microsoft.com/office/drawing/2014/main" id="{3CF3C7E2-1A5C-5299-E9D8-47DCEFB8529E}"/>
                </a:ext>
              </a:extLst>
            </p:cNvPr>
            <p:cNvSpPr/>
            <p:nvPr/>
          </p:nvSpPr>
          <p:spPr>
            <a:xfrm>
              <a:off x="4638690" y="3305772"/>
              <a:ext cx="6322155" cy="6035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insights]</a:t>
              </a:r>
            </a:p>
          </p:txBody>
        </p:sp>
      </p:grpSp>
    </p:spTree>
    <p:extLst>
      <p:ext uri="{BB962C8B-B14F-4D97-AF65-F5344CB8AC3E}">
        <p14:creationId xmlns:p14="http://schemas.microsoft.com/office/powerpoint/2010/main" val="332957948"/>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945D411-C3A3-944A-33E0-0DA89DE9CE9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6" name="think-cell data - do not delete" hidden="1">
                        <a:extLst>
                          <a:ext uri="{FF2B5EF4-FFF2-40B4-BE49-F238E27FC236}">
                            <a16:creationId xmlns:a16="http://schemas.microsoft.com/office/drawing/2014/main" id="{7945D411-C3A3-944A-33E0-0DA89DE9CE9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5" name="Group 4">
            <a:extLst>
              <a:ext uri="{FF2B5EF4-FFF2-40B4-BE49-F238E27FC236}">
                <a16:creationId xmlns:a16="http://schemas.microsoft.com/office/drawing/2014/main" id="{DC7DF8B8-D58A-4124-BC05-11299D757BC9}"/>
              </a:ext>
            </a:extLst>
          </p:cNvPr>
          <p:cNvGrpSpPr/>
          <p:nvPr/>
        </p:nvGrpSpPr>
        <p:grpSpPr>
          <a:xfrm>
            <a:off x="746628" y="1265070"/>
            <a:ext cx="10642948" cy="603504"/>
            <a:chOff x="317897" y="924176"/>
            <a:chExt cx="10642948" cy="603504"/>
          </a:xfrm>
        </p:grpSpPr>
        <p:sp>
          <p:nvSpPr>
            <p:cNvPr id="13" name="Rectangle 12">
              <a:extLst>
                <a:ext uri="{FF2B5EF4-FFF2-40B4-BE49-F238E27FC236}">
                  <a16:creationId xmlns:a16="http://schemas.microsoft.com/office/drawing/2014/main" id="{D2DB3011-7686-0BD8-2D3F-98D1C4410C9D}"/>
                </a:ext>
              </a:extLst>
            </p:cNvPr>
            <p:cNvSpPr/>
            <p:nvPr/>
          </p:nvSpPr>
          <p:spPr>
            <a:xfrm>
              <a:off x="317897" y="924176"/>
              <a:ext cx="2642616" cy="6035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US" sz="1200" b="1">
                  <a:solidFill>
                    <a:schemeClr val="accent1"/>
                  </a:solidFill>
                </a:rPr>
                <a:t>Gross Traffic</a:t>
              </a:r>
            </a:p>
          </p:txBody>
        </p:sp>
        <p:cxnSp>
          <p:nvCxnSpPr>
            <p:cNvPr id="15" name="Straight Connector 14">
              <a:extLst>
                <a:ext uri="{FF2B5EF4-FFF2-40B4-BE49-F238E27FC236}">
                  <a16:creationId xmlns:a16="http://schemas.microsoft.com/office/drawing/2014/main" id="{C3F40402-786B-2FBF-5923-9DBEB67DB779}"/>
                </a:ext>
              </a:extLst>
            </p:cNvPr>
            <p:cNvCxnSpPr>
              <a:cxnSpLocks/>
            </p:cNvCxnSpPr>
            <p:nvPr/>
          </p:nvCxnSpPr>
          <p:spPr>
            <a:xfrm>
              <a:off x="3013324" y="997328"/>
              <a:ext cx="0" cy="457200"/>
            </a:xfrm>
            <a:prstGeom prst="line">
              <a:avLst/>
            </a:prstGeom>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5E915AB0-7E76-0895-45A9-E60ED9DFE559}"/>
                </a:ext>
              </a:extLst>
            </p:cNvPr>
            <p:cNvSpPr/>
            <p:nvPr/>
          </p:nvSpPr>
          <p:spPr>
            <a:xfrm>
              <a:off x="3179309" y="924176"/>
              <a:ext cx="1294531" cy="603504"/>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600" b="1" dirty="0">
                  <a:solidFill>
                    <a:schemeClr val="tx1"/>
                  </a:solidFill>
                </a:rPr>
                <a:t>112k</a:t>
              </a:r>
            </a:p>
            <a:p>
              <a:pPr algn="ctr"/>
              <a:r>
                <a:rPr lang="en-US" sz="900" i="1" dirty="0">
                  <a:solidFill>
                    <a:schemeClr val="tx1"/>
                  </a:solidFill>
                </a:rPr>
                <a:t>Per Day</a:t>
              </a:r>
            </a:p>
          </p:txBody>
        </p:sp>
        <p:sp>
          <p:nvSpPr>
            <p:cNvPr id="2" name="Rectangle 1">
              <a:extLst>
                <a:ext uri="{FF2B5EF4-FFF2-40B4-BE49-F238E27FC236}">
                  <a16:creationId xmlns:a16="http://schemas.microsoft.com/office/drawing/2014/main" id="{5C5814DF-453C-6B82-4EE7-21C03C0F0F1E}"/>
                </a:ext>
              </a:extLst>
            </p:cNvPr>
            <p:cNvSpPr/>
            <p:nvPr/>
          </p:nvSpPr>
          <p:spPr>
            <a:xfrm>
              <a:off x="4638690" y="924176"/>
              <a:ext cx="6322155" cy="6035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en-US" sz="1200" dirty="0">
                  <a:solidFill>
                    <a:schemeClr val="tx1"/>
                  </a:solidFill>
                </a:rPr>
                <a:t>Visits 101% MoM; driven by increase in Organic (117% MoM) and Direct (108% MoM). </a:t>
              </a:r>
              <a:r>
                <a:rPr lang="en-US" sz="1200" dirty="0">
                  <a:solidFill>
                    <a:schemeClr val="tx1"/>
                  </a:solidFill>
                  <a:highlight>
                    <a:srgbClr val="FFFFFF"/>
                  </a:highlight>
                </a:rPr>
                <a:t>Over 1/3 of email visits entered on the Comcast Business App landing page.</a:t>
              </a:r>
              <a:endParaRPr lang="en-US" dirty="0">
                <a:solidFill>
                  <a:schemeClr val="tx1">
                    <a:lumMod val="95000"/>
                    <a:lumOff val="5000"/>
                  </a:schemeClr>
                </a:solidFill>
                <a:highlight>
                  <a:srgbClr val="FFFFFF"/>
                </a:highlight>
              </a:endParaRPr>
            </a:p>
          </p:txBody>
        </p:sp>
      </p:grpSp>
      <p:grpSp>
        <p:nvGrpSpPr>
          <p:cNvPr id="8" name="Group 7">
            <a:extLst>
              <a:ext uri="{FF2B5EF4-FFF2-40B4-BE49-F238E27FC236}">
                <a16:creationId xmlns:a16="http://schemas.microsoft.com/office/drawing/2014/main" id="{E430A591-140E-489A-DC22-FEFAEF905FC3}"/>
              </a:ext>
            </a:extLst>
          </p:cNvPr>
          <p:cNvGrpSpPr/>
          <p:nvPr/>
        </p:nvGrpSpPr>
        <p:grpSpPr>
          <a:xfrm>
            <a:off x="746628" y="1882347"/>
            <a:ext cx="10642948" cy="603504"/>
            <a:chOff x="317897" y="1488035"/>
            <a:chExt cx="10642948" cy="603504"/>
          </a:xfrm>
        </p:grpSpPr>
        <p:sp>
          <p:nvSpPr>
            <p:cNvPr id="26" name="Rectangle 25">
              <a:extLst>
                <a:ext uri="{FF2B5EF4-FFF2-40B4-BE49-F238E27FC236}">
                  <a16:creationId xmlns:a16="http://schemas.microsoft.com/office/drawing/2014/main" id="{110627F2-ACA5-D623-99CF-3EBC3F9D3FE6}"/>
                </a:ext>
              </a:extLst>
            </p:cNvPr>
            <p:cNvSpPr/>
            <p:nvPr/>
          </p:nvSpPr>
          <p:spPr>
            <a:xfrm>
              <a:off x="317897" y="1488036"/>
              <a:ext cx="2642616" cy="60350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US" sz="1200" b="1" dirty="0">
                  <a:solidFill>
                    <a:schemeClr val="accent1"/>
                  </a:solidFill>
                </a:rPr>
                <a:t>Engaged Traffic</a:t>
              </a:r>
            </a:p>
            <a:p>
              <a:pPr algn="r"/>
              <a:r>
                <a:rPr lang="en-US" sz="700" dirty="0">
                  <a:solidFill>
                    <a:schemeClr val="accent1"/>
                  </a:solidFill>
                </a:rPr>
                <a:t>Including Display</a:t>
              </a:r>
              <a:endParaRPr lang="en-US" sz="1200" dirty="0">
                <a:solidFill>
                  <a:schemeClr val="accent1"/>
                </a:solidFill>
              </a:endParaRPr>
            </a:p>
          </p:txBody>
        </p:sp>
        <p:cxnSp>
          <p:nvCxnSpPr>
            <p:cNvPr id="31" name="Straight Connector 30">
              <a:extLst>
                <a:ext uri="{FF2B5EF4-FFF2-40B4-BE49-F238E27FC236}">
                  <a16:creationId xmlns:a16="http://schemas.microsoft.com/office/drawing/2014/main" id="{4EA75057-86D3-03B9-1EA1-3CABC08EE922}"/>
                </a:ext>
              </a:extLst>
            </p:cNvPr>
            <p:cNvCxnSpPr>
              <a:cxnSpLocks/>
            </p:cNvCxnSpPr>
            <p:nvPr/>
          </p:nvCxnSpPr>
          <p:spPr>
            <a:xfrm>
              <a:off x="3013324" y="1561187"/>
              <a:ext cx="0" cy="457200"/>
            </a:xfrm>
            <a:prstGeom prst="line">
              <a:avLst/>
            </a:prstGeom>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6944675D-1AF2-5CE2-628C-B72FA3F60FB1}"/>
                </a:ext>
              </a:extLst>
            </p:cNvPr>
            <p:cNvSpPr/>
            <p:nvPr/>
          </p:nvSpPr>
          <p:spPr>
            <a:xfrm>
              <a:off x="3177350" y="1488035"/>
              <a:ext cx="1461339" cy="603504"/>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600" b="1" dirty="0">
                  <a:solidFill>
                    <a:schemeClr val="tx1"/>
                  </a:solidFill>
                </a:rPr>
                <a:t>22.7k | 20.3%</a:t>
              </a:r>
            </a:p>
            <a:p>
              <a:pPr algn="ctr"/>
              <a:r>
                <a:rPr lang="en-US" sz="900" i="1" dirty="0">
                  <a:solidFill>
                    <a:schemeClr val="tx1"/>
                  </a:solidFill>
                </a:rPr>
                <a:t>Per Day</a:t>
              </a:r>
              <a:endParaRPr lang="en-US" sz="1400" i="1" dirty="0">
                <a:solidFill>
                  <a:schemeClr val="tx1"/>
                </a:solidFill>
              </a:endParaRPr>
            </a:p>
          </p:txBody>
        </p:sp>
        <p:sp>
          <p:nvSpPr>
            <p:cNvPr id="7" name="Rectangle 6">
              <a:extLst>
                <a:ext uri="{FF2B5EF4-FFF2-40B4-BE49-F238E27FC236}">
                  <a16:creationId xmlns:a16="http://schemas.microsoft.com/office/drawing/2014/main" id="{46C58AFD-DEBF-4DC9-5E25-E8180D7ACCD9}"/>
                </a:ext>
              </a:extLst>
            </p:cNvPr>
            <p:cNvSpPr/>
            <p:nvPr/>
          </p:nvSpPr>
          <p:spPr>
            <a:xfrm>
              <a:off x="4638690" y="1488035"/>
              <a:ext cx="6322155" cy="6035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en-US" sz="1200" dirty="0">
                  <a:solidFill>
                    <a:schemeClr val="tx1"/>
                  </a:solidFill>
                </a:rPr>
                <a:t>Engaged visits 96% MoM and 94% to BUD; driven by an increase in engaged visit rate (96% MoM) largely coming from Direct (106% MoM), Organic (104% MoM), and Email(99% MoM).</a:t>
              </a:r>
            </a:p>
          </p:txBody>
        </p:sp>
      </p:grpSp>
      <p:grpSp>
        <p:nvGrpSpPr>
          <p:cNvPr id="17" name="Group 16">
            <a:extLst>
              <a:ext uri="{FF2B5EF4-FFF2-40B4-BE49-F238E27FC236}">
                <a16:creationId xmlns:a16="http://schemas.microsoft.com/office/drawing/2014/main" id="{4ACF4A37-A471-E973-A059-7D60AB2C6FBC}"/>
              </a:ext>
            </a:extLst>
          </p:cNvPr>
          <p:cNvGrpSpPr/>
          <p:nvPr/>
        </p:nvGrpSpPr>
        <p:grpSpPr>
          <a:xfrm>
            <a:off x="746628" y="3754872"/>
            <a:ext cx="10642948" cy="603504"/>
            <a:chOff x="317897" y="3305772"/>
            <a:chExt cx="10642948" cy="603504"/>
          </a:xfrm>
        </p:grpSpPr>
        <p:sp>
          <p:nvSpPr>
            <p:cNvPr id="43" name="Rectangle 42">
              <a:extLst>
                <a:ext uri="{FF2B5EF4-FFF2-40B4-BE49-F238E27FC236}">
                  <a16:creationId xmlns:a16="http://schemas.microsoft.com/office/drawing/2014/main" id="{5C5F2458-D43B-386F-F09E-8AF7B8514738}"/>
                </a:ext>
              </a:extLst>
            </p:cNvPr>
            <p:cNvSpPr/>
            <p:nvPr/>
          </p:nvSpPr>
          <p:spPr>
            <a:xfrm>
              <a:off x="317897" y="3305772"/>
              <a:ext cx="2642616" cy="6035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US" sz="1200" b="1">
                  <a:solidFill>
                    <a:schemeClr val="accent1"/>
                  </a:solidFill>
                </a:rPr>
                <a:t>Conversion Rate</a:t>
              </a:r>
            </a:p>
          </p:txBody>
        </p:sp>
        <p:cxnSp>
          <p:nvCxnSpPr>
            <p:cNvPr id="44" name="Straight Connector 43">
              <a:extLst>
                <a:ext uri="{FF2B5EF4-FFF2-40B4-BE49-F238E27FC236}">
                  <a16:creationId xmlns:a16="http://schemas.microsoft.com/office/drawing/2014/main" id="{49BABFCD-A7D4-0076-5146-9165C4863410}"/>
                </a:ext>
              </a:extLst>
            </p:cNvPr>
            <p:cNvCxnSpPr>
              <a:cxnSpLocks/>
            </p:cNvCxnSpPr>
            <p:nvPr/>
          </p:nvCxnSpPr>
          <p:spPr>
            <a:xfrm>
              <a:off x="3013324" y="3378924"/>
              <a:ext cx="0" cy="457200"/>
            </a:xfrm>
            <a:prstGeom prst="line">
              <a:avLst/>
            </a:prstGeom>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5D111327-3B61-EDC4-ADA7-C783146C1988}"/>
                </a:ext>
              </a:extLst>
            </p:cNvPr>
            <p:cNvSpPr/>
            <p:nvPr/>
          </p:nvSpPr>
          <p:spPr>
            <a:xfrm>
              <a:off x="3179309" y="3305772"/>
              <a:ext cx="1294531" cy="603504"/>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600" b="1" dirty="0">
                  <a:solidFill>
                    <a:schemeClr val="tx1"/>
                  </a:solidFill>
                </a:rPr>
                <a:t>4.4%</a:t>
              </a:r>
            </a:p>
          </p:txBody>
        </p:sp>
        <p:sp>
          <p:nvSpPr>
            <p:cNvPr id="10" name="Rectangle 9">
              <a:extLst>
                <a:ext uri="{FF2B5EF4-FFF2-40B4-BE49-F238E27FC236}">
                  <a16:creationId xmlns:a16="http://schemas.microsoft.com/office/drawing/2014/main" id="{6F67D0CC-35B8-8799-C262-625912A38198}"/>
                </a:ext>
              </a:extLst>
            </p:cNvPr>
            <p:cNvSpPr>
              <a:spLocks noGrp="1" noRot="1" noMove="1" noResize="1" noEditPoints="1" noAdjustHandles="1" noChangeArrowheads="1" noChangeShapeType="1"/>
            </p:cNvSpPr>
            <p:nvPr/>
          </p:nvSpPr>
          <p:spPr>
            <a:xfrm>
              <a:off x="4638690" y="3305772"/>
              <a:ext cx="6322155" cy="6035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95% MoM in engaged visits that converted to Leads; key sales channels driving the decrease were Pricing and Other Info (90% MoM) and Chats (85% MoM)</a:t>
              </a:r>
            </a:p>
          </p:txBody>
        </p:sp>
      </p:grpSp>
      <p:grpSp>
        <p:nvGrpSpPr>
          <p:cNvPr id="9" name="Group 8">
            <a:extLst>
              <a:ext uri="{FF2B5EF4-FFF2-40B4-BE49-F238E27FC236}">
                <a16:creationId xmlns:a16="http://schemas.microsoft.com/office/drawing/2014/main" id="{B2C4E62B-A1C7-BB3F-AFC0-6730C285AFCE}"/>
              </a:ext>
            </a:extLst>
          </p:cNvPr>
          <p:cNvGrpSpPr/>
          <p:nvPr/>
        </p:nvGrpSpPr>
        <p:grpSpPr>
          <a:xfrm>
            <a:off x="746628" y="2499624"/>
            <a:ext cx="10642947" cy="612125"/>
            <a:chOff x="317897" y="2126861"/>
            <a:chExt cx="10642947" cy="612125"/>
          </a:xfrm>
        </p:grpSpPr>
        <p:sp>
          <p:nvSpPr>
            <p:cNvPr id="36" name="Rectangle 35">
              <a:extLst>
                <a:ext uri="{FF2B5EF4-FFF2-40B4-BE49-F238E27FC236}">
                  <a16:creationId xmlns:a16="http://schemas.microsoft.com/office/drawing/2014/main" id="{5D985F30-ABF7-3746-0467-B4F75EBD9467}"/>
                </a:ext>
              </a:extLst>
            </p:cNvPr>
            <p:cNvSpPr/>
            <p:nvPr/>
          </p:nvSpPr>
          <p:spPr>
            <a:xfrm>
              <a:off x="317897" y="2126861"/>
              <a:ext cx="2642616" cy="61212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US" sz="1200" b="1">
                  <a:solidFill>
                    <a:schemeClr val="accent1"/>
                  </a:solidFill>
                </a:rPr>
                <a:t>Web Leads</a:t>
              </a:r>
            </a:p>
          </p:txBody>
        </p:sp>
        <p:cxnSp>
          <p:nvCxnSpPr>
            <p:cNvPr id="37" name="Straight Connector 36">
              <a:extLst>
                <a:ext uri="{FF2B5EF4-FFF2-40B4-BE49-F238E27FC236}">
                  <a16:creationId xmlns:a16="http://schemas.microsoft.com/office/drawing/2014/main" id="{D733C956-882D-A92A-95EB-44F4445E592C}"/>
                </a:ext>
              </a:extLst>
            </p:cNvPr>
            <p:cNvCxnSpPr>
              <a:cxnSpLocks/>
            </p:cNvCxnSpPr>
            <p:nvPr/>
          </p:nvCxnSpPr>
          <p:spPr>
            <a:xfrm>
              <a:off x="3013324" y="2201058"/>
              <a:ext cx="0" cy="457200"/>
            </a:xfrm>
            <a:prstGeom prst="line">
              <a:avLst/>
            </a:prstGeom>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65F0F78F-7294-E80A-8E1E-42C4ABF098E1}"/>
                </a:ext>
              </a:extLst>
            </p:cNvPr>
            <p:cNvSpPr/>
            <p:nvPr/>
          </p:nvSpPr>
          <p:spPr>
            <a:xfrm>
              <a:off x="3179309" y="2126861"/>
              <a:ext cx="1294531" cy="612125"/>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600" b="1" dirty="0">
                  <a:solidFill>
                    <a:schemeClr val="tx1"/>
                  </a:solidFill>
                </a:rPr>
                <a:t>1,009</a:t>
              </a:r>
            </a:p>
            <a:p>
              <a:pPr algn="ctr"/>
              <a:r>
                <a:rPr lang="en-US" sz="900" i="1" dirty="0">
                  <a:solidFill>
                    <a:schemeClr val="tx1"/>
                  </a:solidFill>
                </a:rPr>
                <a:t>Per Day</a:t>
              </a:r>
              <a:endParaRPr lang="en-US" sz="1400" i="1" dirty="0">
                <a:solidFill>
                  <a:schemeClr val="tx1"/>
                </a:solidFill>
              </a:endParaRPr>
            </a:p>
          </p:txBody>
        </p:sp>
        <p:sp>
          <p:nvSpPr>
            <p:cNvPr id="11" name="Rectangle 10">
              <a:extLst>
                <a:ext uri="{FF2B5EF4-FFF2-40B4-BE49-F238E27FC236}">
                  <a16:creationId xmlns:a16="http://schemas.microsoft.com/office/drawing/2014/main" id="{DB431983-B40E-A773-EA51-0CFB9477F1C8}"/>
                </a:ext>
              </a:extLst>
            </p:cNvPr>
            <p:cNvSpPr/>
            <p:nvPr/>
          </p:nvSpPr>
          <p:spPr>
            <a:xfrm>
              <a:off x="4638689" y="2126861"/>
              <a:ext cx="6322155" cy="61212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en-US" sz="1200" dirty="0">
                  <a:solidFill>
                    <a:schemeClr val="tx1"/>
                  </a:solidFill>
                </a:rPr>
                <a:t>SB Demand 91% MoM and 76% to BUD. </a:t>
              </a:r>
              <a:r>
                <a:rPr lang="en-US" sz="1200" dirty="0">
                  <a:solidFill>
                    <a:schemeClr val="tx1"/>
                  </a:solidFill>
                  <a:highlight>
                    <a:srgbClr val="FFFFFF"/>
                  </a:highlight>
                </a:rPr>
                <a:t>Miss to BUD driven by a decrease in BF starts, driven by proximity customers being driven to the derail flow.</a:t>
              </a:r>
            </a:p>
          </p:txBody>
        </p:sp>
      </p:grpSp>
      <p:grpSp>
        <p:nvGrpSpPr>
          <p:cNvPr id="18" name="Group 17">
            <a:extLst>
              <a:ext uri="{FF2B5EF4-FFF2-40B4-BE49-F238E27FC236}">
                <a16:creationId xmlns:a16="http://schemas.microsoft.com/office/drawing/2014/main" id="{6A64FA70-7099-89C6-CA8C-71AE4A835EBE}"/>
              </a:ext>
            </a:extLst>
          </p:cNvPr>
          <p:cNvGrpSpPr/>
          <p:nvPr/>
        </p:nvGrpSpPr>
        <p:grpSpPr>
          <a:xfrm>
            <a:off x="746628" y="4372149"/>
            <a:ext cx="10642948" cy="603504"/>
            <a:chOff x="317897" y="3908113"/>
            <a:chExt cx="10642948" cy="603504"/>
          </a:xfrm>
        </p:grpSpPr>
        <p:sp>
          <p:nvSpPr>
            <p:cNvPr id="39" name="Rectangle 38">
              <a:extLst>
                <a:ext uri="{FF2B5EF4-FFF2-40B4-BE49-F238E27FC236}">
                  <a16:creationId xmlns:a16="http://schemas.microsoft.com/office/drawing/2014/main" id="{773F58AC-F512-9222-066B-1FB8DFF98937}"/>
                </a:ext>
              </a:extLst>
            </p:cNvPr>
            <p:cNvSpPr/>
            <p:nvPr/>
          </p:nvSpPr>
          <p:spPr>
            <a:xfrm>
              <a:off x="317897" y="3908113"/>
              <a:ext cx="2642616" cy="6035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US" sz="1200" b="1" dirty="0">
                  <a:solidFill>
                    <a:schemeClr val="accent1"/>
                  </a:solidFill>
                  <a:highlight>
                    <a:srgbClr val="FFFFFF"/>
                  </a:highlight>
                </a:rPr>
                <a:t>Digital Sourced Sales</a:t>
              </a:r>
            </a:p>
          </p:txBody>
        </p:sp>
        <p:cxnSp>
          <p:nvCxnSpPr>
            <p:cNvPr id="40" name="Straight Connector 39">
              <a:extLst>
                <a:ext uri="{FF2B5EF4-FFF2-40B4-BE49-F238E27FC236}">
                  <a16:creationId xmlns:a16="http://schemas.microsoft.com/office/drawing/2014/main" id="{60C0EC6E-9606-D40D-EEF0-61374B6A43C7}"/>
                </a:ext>
              </a:extLst>
            </p:cNvPr>
            <p:cNvCxnSpPr>
              <a:cxnSpLocks/>
            </p:cNvCxnSpPr>
            <p:nvPr/>
          </p:nvCxnSpPr>
          <p:spPr>
            <a:xfrm>
              <a:off x="3013324" y="3981265"/>
              <a:ext cx="0" cy="457200"/>
            </a:xfrm>
            <a:prstGeom prst="line">
              <a:avLst/>
            </a:prstGeom>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C9C55610-2CD3-C832-97F4-91DF4C0A46C8}"/>
                </a:ext>
              </a:extLst>
            </p:cNvPr>
            <p:cNvSpPr/>
            <p:nvPr/>
          </p:nvSpPr>
          <p:spPr>
            <a:xfrm>
              <a:off x="3179309" y="3908113"/>
              <a:ext cx="1406567" cy="603504"/>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600" b="1" dirty="0">
                  <a:solidFill>
                    <a:schemeClr val="tx1"/>
                  </a:solidFill>
                  <a:highlight>
                    <a:srgbClr val="FFFFFF"/>
                  </a:highlight>
                </a:rPr>
                <a:t>278 | 22.2% </a:t>
              </a:r>
            </a:p>
            <a:p>
              <a:pPr algn="ctr"/>
              <a:r>
                <a:rPr lang="en-US" sz="900" i="1" dirty="0">
                  <a:solidFill>
                    <a:schemeClr val="tx1"/>
                  </a:solidFill>
                </a:rPr>
                <a:t>Per Day</a:t>
              </a:r>
            </a:p>
          </p:txBody>
        </p:sp>
        <p:sp>
          <p:nvSpPr>
            <p:cNvPr id="12" name="Rectangle 11">
              <a:extLst>
                <a:ext uri="{FF2B5EF4-FFF2-40B4-BE49-F238E27FC236}">
                  <a16:creationId xmlns:a16="http://schemas.microsoft.com/office/drawing/2014/main" id="{D9658734-D274-5C45-6813-83C0C822C016}"/>
                </a:ext>
              </a:extLst>
            </p:cNvPr>
            <p:cNvSpPr/>
            <p:nvPr/>
          </p:nvSpPr>
          <p:spPr>
            <a:xfrm>
              <a:off x="4638690" y="3908113"/>
              <a:ext cx="6322155" cy="6035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highlight>
                    <a:srgbClr val="FFFFFF"/>
                  </a:highlight>
                </a:rPr>
                <a:t>Close rates are soft (94% MoM), driving softer sales performance (93% MoM; 79% to BUD). Main drainers are buyflow start (64% MoM) and BounceX (89% MoM) sales.</a:t>
              </a:r>
            </a:p>
          </p:txBody>
        </p:sp>
      </p:grpSp>
      <p:grpSp>
        <p:nvGrpSpPr>
          <p:cNvPr id="34" name="Group 33">
            <a:extLst>
              <a:ext uri="{FF2B5EF4-FFF2-40B4-BE49-F238E27FC236}">
                <a16:creationId xmlns:a16="http://schemas.microsoft.com/office/drawing/2014/main" id="{CF7AA484-D514-0A0A-1846-74D0A0D29F3B}"/>
              </a:ext>
            </a:extLst>
          </p:cNvPr>
          <p:cNvGrpSpPr/>
          <p:nvPr/>
        </p:nvGrpSpPr>
        <p:grpSpPr>
          <a:xfrm>
            <a:off x="746628" y="4989426"/>
            <a:ext cx="10642948" cy="603504"/>
            <a:chOff x="317897" y="4587345"/>
            <a:chExt cx="10642948" cy="603504"/>
          </a:xfrm>
        </p:grpSpPr>
        <p:sp>
          <p:nvSpPr>
            <p:cNvPr id="16" name="Rectangle 15">
              <a:extLst>
                <a:ext uri="{FF2B5EF4-FFF2-40B4-BE49-F238E27FC236}">
                  <a16:creationId xmlns:a16="http://schemas.microsoft.com/office/drawing/2014/main" id="{3437EDB1-49E7-520A-3ECF-7E8385BF3BC3}"/>
                </a:ext>
              </a:extLst>
            </p:cNvPr>
            <p:cNvSpPr/>
            <p:nvPr/>
          </p:nvSpPr>
          <p:spPr>
            <a:xfrm>
              <a:off x="317897" y="4587345"/>
              <a:ext cx="2642616" cy="6035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US" sz="1200" b="1">
                  <a:solidFill>
                    <a:schemeClr val="accent1"/>
                  </a:solidFill>
                </a:rPr>
                <a:t>Digital Share Sales</a:t>
              </a:r>
            </a:p>
          </p:txBody>
        </p:sp>
        <p:cxnSp>
          <p:nvCxnSpPr>
            <p:cNvPr id="25" name="Straight Connector 24">
              <a:extLst>
                <a:ext uri="{FF2B5EF4-FFF2-40B4-BE49-F238E27FC236}">
                  <a16:creationId xmlns:a16="http://schemas.microsoft.com/office/drawing/2014/main" id="{637596A1-002B-B22C-5A32-2F59958567C1}"/>
                </a:ext>
              </a:extLst>
            </p:cNvPr>
            <p:cNvCxnSpPr>
              <a:cxnSpLocks/>
            </p:cNvCxnSpPr>
            <p:nvPr/>
          </p:nvCxnSpPr>
          <p:spPr>
            <a:xfrm>
              <a:off x="3013324" y="4660497"/>
              <a:ext cx="0" cy="457200"/>
            </a:xfrm>
            <a:prstGeom prst="line">
              <a:avLst/>
            </a:prstGeom>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22DB6EF5-4198-77EF-190D-89EC0CDAA857}"/>
                </a:ext>
              </a:extLst>
            </p:cNvPr>
            <p:cNvSpPr/>
            <p:nvPr/>
          </p:nvSpPr>
          <p:spPr>
            <a:xfrm>
              <a:off x="3179309" y="4587345"/>
              <a:ext cx="1294531" cy="603504"/>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600" b="1" dirty="0">
                  <a:solidFill>
                    <a:schemeClr val="tx1"/>
                  </a:solidFill>
                </a:rPr>
                <a:t>22.2%</a:t>
              </a:r>
            </a:p>
          </p:txBody>
        </p:sp>
        <p:sp>
          <p:nvSpPr>
            <p:cNvPr id="28" name="Rectangle 27">
              <a:extLst>
                <a:ext uri="{FF2B5EF4-FFF2-40B4-BE49-F238E27FC236}">
                  <a16:creationId xmlns:a16="http://schemas.microsoft.com/office/drawing/2014/main" id="{42876827-CB41-97C3-CD12-66FDAE095059}"/>
                </a:ext>
              </a:extLst>
            </p:cNvPr>
            <p:cNvSpPr/>
            <p:nvPr/>
          </p:nvSpPr>
          <p:spPr>
            <a:xfrm>
              <a:off x="4638690" y="4587345"/>
              <a:ext cx="6322155" cy="6035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Digital share indexed 96% MoM</a:t>
              </a:r>
            </a:p>
          </p:txBody>
        </p:sp>
      </p:grpSp>
      <p:grpSp>
        <p:nvGrpSpPr>
          <p:cNvPr id="14" name="Group 13">
            <a:extLst>
              <a:ext uri="{FF2B5EF4-FFF2-40B4-BE49-F238E27FC236}">
                <a16:creationId xmlns:a16="http://schemas.microsoft.com/office/drawing/2014/main" id="{2651608C-50CB-4B20-BDA0-C56165F66DAC}"/>
              </a:ext>
            </a:extLst>
          </p:cNvPr>
          <p:cNvGrpSpPr/>
          <p:nvPr/>
        </p:nvGrpSpPr>
        <p:grpSpPr>
          <a:xfrm>
            <a:off x="746628" y="3125522"/>
            <a:ext cx="10707133" cy="615577"/>
            <a:chOff x="317897" y="2690720"/>
            <a:chExt cx="10707133" cy="615577"/>
          </a:xfrm>
        </p:grpSpPr>
        <p:sp>
          <p:nvSpPr>
            <p:cNvPr id="19" name="Rectangle 18">
              <a:extLst>
                <a:ext uri="{FF2B5EF4-FFF2-40B4-BE49-F238E27FC236}">
                  <a16:creationId xmlns:a16="http://schemas.microsoft.com/office/drawing/2014/main" id="{B4B0DDE8-7D9B-75CB-FB27-9393B2E4223E}"/>
                </a:ext>
              </a:extLst>
            </p:cNvPr>
            <p:cNvSpPr/>
            <p:nvPr/>
          </p:nvSpPr>
          <p:spPr>
            <a:xfrm>
              <a:off x="317897" y="2695988"/>
              <a:ext cx="2642616" cy="60350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US" sz="1200" b="1" dirty="0">
                  <a:solidFill>
                    <a:schemeClr val="accent1"/>
                  </a:solidFill>
                </a:rPr>
                <a:t> Buyflow Starts</a:t>
              </a:r>
            </a:p>
          </p:txBody>
        </p:sp>
        <p:sp>
          <p:nvSpPr>
            <p:cNvPr id="20" name="Rectangle 19">
              <a:extLst>
                <a:ext uri="{FF2B5EF4-FFF2-40B4-BE49-F238E27FC236}">
                  <a16:creationId xmlns:a16="http://schemas.microsoft.com/office/drawing/2014/main" id="{56009D4F-8E14-403D-0E70-E13021B54085}"/>
                </a:ext>
              </a:extLst>
            </p:cNvPr>
            <p:cNvSpPr/>
            <p:nvPr/>
          </p:nvSpPr>
          <p:spPr>
            <a:xfrm>
              <a:off x="3177350" y="2690720"/>
              <a:ext cx="1298448" cy="612648"/>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600" b="1" dirty="0">
                  <a:solidFill>
                    <a:schemeClr val="tx1"/>
                  </a:solidFill>
                </a:rPr>
                <a:t>138 | 0.7%</a:t>
              </a:r>
            </a:p>
            <a:p>
              <a:pPr algn="ctr"/>
              <a:r>
                <a:rPr lang="en-US" sz="900" i="1" dirty="0">
                  <a:solidFill>
                    <a:schemeClr val="tx1"/>
                  </a:solidFill>
                </a:rPr>
                <a:t>Per Day</a:t>
              </a:r>
            </a:p>
          </p:txBody>
        </p:sp>
        <p:sp>
          <p:nvSpPr>
            <p:cNvPr id="21" name="Rectangle 20">
              <a:extLst>
                <a:ext uri="{FF2B5EF4-FFF2-40B4-BE49-F238E27FC236}">
                  <a16:creationId xmlns:a16="http://schemas.microsoft.com/office/drawing/2014/main" id="{208B634F-625C-2EB6-1F30-BD251428C144}"/>
                </a:ext>
              </a:extLst>
            </p:cNvPr>
            <p:cNvSpPr/>
            <p:nvPr/>
          </p:nvSpPr>
          <p:spPr>
            <a:xfrm>
              <a:off x="4647079" y="2702793"/>
              <a:ext cx="6377951" cy="6035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114% MoM</a:t>
              </a:r>
              <a:r>
                <a:rPr lang="en-US" sz="1200" dirty="0">
                  <a:solidFill>
                    <a:schemeClr val="tx1"/>
                  </a:solidFill>
                  <a:highlight>
                    <a:srgbClr val="FFFFFF"/>
                  </a:highlight>
                </a:rPr>
                <a:t>; increase in buyflow starts driven by an increase in derails caused by certain FCC broadband labels missing from the shop experience and a bug in the proximity customer experience.</a:t>
              </a:r>
            </a:p>
          </p:txBody>
        </p:sp>
        <p:cxnSp>
          <p:nvCxnSpPr>
            <p:cNvPr id="46" name="Straight Connector 45">
              <a:extLst>
                <a:ext uri="{FF2B5EF4-FFF2-40B4-BE49-F238E27FC236}">
                  <a16:creationId xmlns:a16="http://schemas.microsoft.com/office/drawing/2014/main" id="{368940E1-FDC4-0AEB-89C1-76254716AB5F}"/>
                </a:ext>
              </a:extLst>
            </p:cNvPr>
            <p:cNvCxnSpPr>
              <a:cxnSpLocks/>
            </p:cNvCxnSpPr>
            <p:nvPr/>
          </p:nvCxnSpPr>
          <p:spPr>
            <a:xfrm>
              <a:off x="3013324" y="2789557"/>
              <a:ext cx="0" cy="457200"/>
            </a:xfrm>
            <a:prstGeom prst="line">
              <a:avLst/>
            </a:prstGeom>
          </p:spPr>
          <p:style>
            <a:lnRef idx="1">
              <a:schemeClr val="accent1"/>
            </a:lnRef>
            <a:fillRef idx="0">
              <a:schemeClr val="accent1"/>
            </a:fillRef>
            <a:effectRef idx="0">
              <a:schemeClr val="accent1"/>
            </a:effectRef>
            <a:fontRef idx="minor">
              <a:schemeClr val="tx1"/>
            </a:fontRef>
          </p:style>
        </p:cxnSp>
      </p:grpSp>
      <p:sp>
        <p:nvSpPr>
          <p:cNvPr id="33" name="Text Placeholder 3">
            <a:extLst>
              <a:ext uri="{FF2B5EF4-FFF2-40B4-BE49-F238E27FC236}">
                <a16:creationId xmlns:a16="http://schemas.microsoft.com/office/drawing/2014/main" id="{35DBC1E0-BC84-7EBA-61DF-615797FF890D}"/>
              </a:ext>
            </a:extLst>
          </p:cNvPr>
          <p:cNvSpPr>
            <a:spLocks noGrp="1"/>
          </p:cNvSpPr>
          <p:nvPr>
            <p:ph type="body" sz="quarter" idx="25"/>
          </p:nvPr>
        </p:nvSpPr>
        <p:spPr>
          <a:xfrm>
            <a:off x="463550" y="255588"/>
            <a:ext cx="11271250" cy="201612"/>
          </a:xfrm>
        </p:spPr>
        <p:txBody>
          <a:bodyPr/>
          <a:lstStyle/>
          <a:p>
            <a:r>
              <a:rPr lang="en-US" dirty="0"/>
              <a:t>Executive summary</a:t>
            </a:r>
          </a:p>
        </p:txBody>
      </p:sp>
      <p:sp>
        <p:nvSpPr>
          <p:cNvPr id="42" name="Title 41">
            <a:extLst>
              <a:ext uri="{FF2B5EF4-FFF2-40B4-BE49-F238E27FC236}">
                <a16:creationId xmlns:a16="http://schemas.microsoft.com/office/drawing/2014/main" id="{64172103-73D5-CFF2-10F3-0581A20E19EC}"/>
              </a:ext>
            </a:extLst>
          </p:cNvPr>
          <p:cNvSpPr>
            <a:spLocks noGrp="1"/>
          </p:cNvSpPr>
          <p:nvPr>
            <p:ph type="title"/>
          </p:nvPr>
        </p:nvSpPr>
        <p:spPr/>
        <p:txBody>
          <a:bodyPr vert="horz"/>
          <a:lstStyle/>
          <a:p>
            <a:r>
              <a:rPr lang="en-US"/>
              <a:t>CB Ops Review – Small Business</a:t>
            </a:r>
          </a:p>
        </p:txBody>
      </p:sp>
      <p:sp>
        <p:nvSpPr>
          <p:cNvPr id="48" name="TextBox 47">
            <a:extLst>
              <a:ext uri="{FF2B5EF4-FFF2-40B4-BE49-F238E27FC236}">
                <a16:creationId xmlns:a16="http://schemas.microsoft.com/office/drawing/2014/main" id="{93E02476-1A5A-AEEB-7E5D-17C825D8E3C9}"/>
              </a:ext>
            </a:extLst>
          </p:cNvPr>
          <p:cNvSpPr txBox="1"/>
          <p:nvPr/>
        </p:nvSpPr>
        <p:spPr>
          <a:xfrm>
            <a:off x="463548" y="6235728"/>
            <a:ext cx="2414590" cy="174596"/>
          </a:xfrm>
          <a:prstGeom prst="rect">
            <a:avLst/>
          </a:prstGeom>
          <a:noFill/>
        </p:spPr>
        <p:txBody>
          <a:bodyPr wrap="square" lIns="0" tIns="0" rIns="0" bIns="0" rtlCol="0">
            <a:noAutofit/>
          </a:bodyPr>
          <a:lstStyle/>
          <a:p>
            <a:r>
              <a:rPr lang="en-US" sz="800"/>
              <a:t>Data Source: CBMA Weekly Leads Summary</a:t>
            </a:r>
          </a:p>
          <a:p>
            <a:pPr algn="l"/>
            <a:endParaRPr lang="en-US" sz="800"/>
          </a:p>
        </p:txBody>
      </p:sp>
    </p:spTree>
    <p:extLst>
      <p:ext uri="{BB962C8B-B14F-4D97-AF65-F5344CB8AC3E}">
        <p14:creationId xmlns:p14="http://schemas.microsoft.com/office/powerpoint/2010/main" val="1853987570"/>
      </p:ext>
    </p:extLst>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932BF9-D890-5D77-5018-9B07873E175D}"/>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05A362D-AB58-755C-7410-209D1DF842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8" name="think-cell data - do not delete" hidden="1">
                        <a:extLst>
                          <a:ext uri="{FF2B5EF4-FFF2-40B4-BE49-F238E27FC236}">
                            <a16:creationId xmlns:a16="http://schemas.microsoft.com/office/drawing/2014/main" id="{E05A362D-AB58-755C-7410-209D1DF842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A32E0208-2D35-06CD-1A2C-7C1465407D97}"/>
              </a:ext>
            </a:extLst>
          </p:cNvPr>
          <p:cNvSpPr>
            <a:spLocks noGrp="1"/>
          </p:cNvSpPr>
          <p:nvPr>
            <p:ph type="title"/>
          </p:nvPr>
        </p:nvSpPr>
        <p:spPr/>
        <p:txBody>
          <a:bodyPr vert="horz"/>
          <a:lstStyle/>
          <a:p>
            <a:r>
              <a:rPr lang="en-US" dirty="0"/>
              <a:t>EB Digital Performance – Traffic outperformed MoM; leads &amp; sales declined</a:t>
            </a:r>
            <a:r>
              <a:rPr lang="en-US" b="1" dirty="0">
                <a:latin typeface="+mn-lt"/>
              </a:rPr>
              <a:t> outperforming MoM</a:t>
            </a:r>
            <a:endParaRPr lang="en-US" dirty="0"/>
          </a:p>
        </p:txBody>
      </p:sp>
      <p:sp>
        <p:nvSpPr>
          <p:cNvPr id="4" name="Text Placeholder 3">
            <a:extLst>
              <a:ext uri="{FF2B5EF4-FFF2-40B4-BE49-F238E27FC236}">
                <a16:creationId xmlns:a16="http://schemas.microsoft.com/office/drawing/2014/main" id="{474B52A1-216A-2125-1564-93D028309B68}"/>
              </a:ext>
            </a:extLst>
          </p:cNvPr>
          <p:cNvSpPr>
            <a:spLocks noGrp="1"/>
          </p:cNvSpPr>
          <p:nvPr>
            <p:ph type="body" sz="quarter" idx="25"/>
          </p:nvPr>
        </p:nvSpPr>
        <p:spPr/>
        <p:txBody>
          <a:bodyPr/>
          <a:lstStyle/>
          <a:p>
            <a:r>
              <a:rPr lang="en-US" dirty="0"/>
              <a:t>PER DAY PACING PERFORMANCE &amp; MOM INDEXING</a:t>
            </a:r>
          </a:p>
        </p:txBody>
      </p:sp>
      <p:sp>
        <p:nvSpPr>
          <p:cNvPr id="16" name="Text Placeholder 5">
            <a:extLst>
              <a:ext uri="{FF2B5EF4-FFF2-40B4-BE49-F238E27FC236}">
                <a16:creationId xmlns:a16="http://schemas.microsoft.com/office/drawing/2014/main" id="{9A0011E9-2AC7-B321-9C44-55171E8EAF04}"/>
              </a:ext>
            </a:extLst>
          </p:cNvPr>
          <p:cNvSpPr txBox="1">
            <a:spLocks/>
          </p:cNvSpPr>
          <p:nvPr/>
        </p:nvSpPr>
        <p:spPr>
          <a:xfrm>
            <a:off x="472879" y="3106756"/>
            <a:ext cx="11118045" cy="3051448"/>
          </a:xfrm>
          <a:prstGeom prst="rect">
            <a:avLst/>
          </a:prstGeom>
        </p:spPr>
        <p:txBody>
          <a:bodyPr lIns="0" tIns="0" rIns="0" bIns="0" anchor="ctr"/>
          <a:lstStyle>
            <a:lvl1pPr marL="0" indent="0" algn="l" rtl="0" eaLnBrk="1" fontAlgn="base" hangingPunct="1">
              <a:lnSpc>
                <a:spcPct val="95000"/>
              </a:lnSpc>
              <a:spcBef>
                <a:spcPts val="1000"/>
              </a:spcBef>
              <a:spcAft>
                <a:spcPct val="0"/>
              </a:spcAft>
              <a:buFont typeface="Arial" panose="020B0604020202020204" pitchFamily="34" charset="0"/>
              <a:buNone/>
              <a:defRPr sz="1800" b="0" i="0" kern="1200">
                <a:solidFill>
                  <a:schemeClr val="tx1"/>
                </a:solidFill>
                <a:latin typeface="Montserrat Light" pitchFamily="2" charset="77"/>
                <a:ea typeface="+mn-ea"/>
                <a:cs typeface="Montserrat Light" pitchFamily="2" charset="77"/>
              </a:defRPr>
            </a:lvl1pPr>
            <a:lvl2pPr marL="174625" indent="-174625" algn="l" rtl="0" eaLnBrk="1" fontAlgn="base" hangingPunct="1">
              <a:lnSpc>
                <a:spcPct val="90000"/>
              </a:lnSpc>
              <a:spcBef>
                <a:spcPts val="1200"/>
              </a:spcBef>
              <a:spcAft>
                <a:spcPct val="0"/>
              </a:spcAft>
              <a:buFont typeface="Arial" panose="020B0604020202020204" pitchFamily="34" charset="0"/>
              <a:buChar char="•"/>
              <a:tabLst/>
              <a:defRPr sz="1800" b="0" i="0" kern="1200">
                <a:solidFill>
                  <a:schemeClr val="tx1"/>
                </a:solidFill>
                <a:latin typeface="Montserrat Light" pitchFamily="2" charset="77"/>
                <a:ea typeface="+mn-ea"/>
                <a:cs typeface="Montserrat Light" pitchFamily="2" charset="77"/>
              </a:defRPr>
            </a:lvl2pPr>
            <a:lvl3pPr marL="560070" indent="-285750" algn="l" rtl="0" eaLnBrk="1" fontAlgn="base" hangingPunct="1">
              <a:lnSpc>
                <a:spcPct val="90000"/>
              </a:lnSpc>
              <a:spcBef>
                <a:spcPts val="1200"/>
              </a:spcBef>
              <a:spcAft>
                <a:spcPct val="0"/>
              </a:spcAft>
              <a:buFont typeface="Montserrat" panose="00000500000000000000" pitchFamily="2" charset="0"/>
              <a:buChar char="–"/>
              <a:defRPr sz="1800" b="0" i="0" kern="1200">
                <a:solidFill>
                  <a:schemeClr val="tx1"/>
                </a:solidFill>
                <a:latin typeface="Montserrat Light" pitchFamily="2" charset="77"/>
                <a:ea typeface="+mn-ea"/>
                <a:cs typeface="Montserrat Light" pitchFamily="2" charset="77"/>
              </a:defRPr>
            </a:lvl3pPr>
            <a:lvl4pPr marL="834390" indent="-285750" algn="l" rtl="0" eaLnBrk="1" fontAlgn="base" hangingPunct="1">
              <a:lnSpc>
                <a:spcPct val="90000"/>
              </a:lnSpc>
              <a:spcBef>
                <a:spcPts val="1200"/>
              </a:spcBef>
              <a:spcAft>
                <a:spcPct val="0"/>
              </a:spcAft>
              <a:buFont typeface="Courier New" panose="02070309020205020404" pitchFamily="49" charset="0"/>
              <a:buChar char="o"/>
              <a:defRPr sz="1600" b="0" i="0" kern="1200">
                <a:solidFill>
                  <a:schemeClr val="tx1"/>
                </a:solidFill>
                <a:latin typeface="Montserrat Light" pitchFamily="2" charset="77"/>
                <a:ea typeface="+mn-ea"/>
                <a:cs typeface="Montserrat Light" pitchFamily="2" charset="77"/>
              </a:defRPr>
            </a:lvl4pPr>
            <a:lvl5pPr marL="1108710" indent="-285750" algn="l" rtl="0" eaLnBrk="1" fontAlgn="base" hangingPunct="1">
              <a:lnSpc>
                <a:spcPct val="90000"/>
              </a:lnSpc>
              <a:spcBef>
                <a:spcPts val="500"/>
              </a:spcBef>
              <a:spcAft>
                <a:spcPct val="0"/>
              </a:spcAft>
              <a:buFont typeface="Arial" panose="020B0604020202020204" pitchFamily="34" charset="0"/>
              <a:defRPr lang="en-US" sz="1400" b="0" i="0" u="none" strike="noStrike" kern="1200" cap="none" spc="0" baseline="0" dirty="0">
                <a:solidFill>
                  <a:srgbClr val="000000"/>
                </a:solidFill>
                <a:uFillTx/>
                <a:latin typeface="Montserrat Light" pitchFamily="2" charset="77"/>
                <a:ea typeface="Montserrat" panose="00000500000000000000" pitchFamily="2" charset="0"/>
                <a:cs typeface="Montserrat Light" pitchFamily="2" charset="77"/>
                <a:sym typeface="Montserrat" panose="000005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1200">
              <a:highlight>
                <a:srgbClr val="FFFF00"/>
              </a:highlight>
              <a:latin typeface="+mn-lt"/>
            </a:endParaRPr>
          </a:p>
        </p:txBody>
      </p:sp>
      <p:grpSp>
        <p:nvGrpSpPr>
          <p:cNvPr id="24" name="Group 23">
            <a:extLst>
              <a:ext uri="{FF2B5EF4-FFF2-40B4-BE49-F238E27FC236}">
                <a16:creationId xmlns:a16="http://schemas.microsoft.com/office/drawing/2014/main" id="{455919BB-7DA1-006D-B9BD-5DCBF6789CBD}"/>
              </a:ext>
            </a:extLst>
          </p:cNvPr>
          <p:cNvGrpSpPr/>
          <p:nvPr/>
        </p:nvGrpSpPr>
        <p:grpSpPr>
          <a:xfrm>
            <a:off x="451246" y="3245409"/>
            <a:ext cx="4267857" cy="2751796"/>
            <a:chOff x="451246" y="3245409"/>
            <a:chExt cx="4267857" cy="2751796"/>
          </a:xfrm>
        </p:grpSpPr>
        <p:sp>
          <p:nvSpPr>
            <p:cNvPr id="12" name="Rectangle 11">
              <a:extLst>
                <a:ext uri="{FF2B5EF4-FFF2-40B4-BE49-F238E27FC236}">
                  <a16:creationId xmlns:a16="http://schemas.microsoft.com/office/drawing/2014/main" id="{65884312-3C4D-17DE-4A1A-80FB85FD4DCE}"/>
                </a:ext>
              </a:extLst>
            </p:cNvPr>
            <p:cNvSpPr/>
            <p:nvPr/>
          </p:nvSpPr>
          <p:spPr>
            <a:xfrm>
              <a:off x="451249" y="3672545"/>
              <a:ext cx="4192995" cy="2324660"/>
            </a:xfrm>
            <a:prstGeom prst="rect">
              <a:avLst/>
            </a:prstGeom>
          </p:spPr>
          <p:style>
            <a:lnRef idx="2">
              <a:schemeClr val="dk1"/>
            </a:lnRef>
            <a:fillRef idx="1">
              <a:schemeClr val="lt1"/>
            </a:fillRef>
            <a:effectRef idx="0">
              <a:schemeClr val="dk1"/>
            </a:effectRef>
            <a:fontRef idx="minor">
              <a:schemeClr val="dk1"/>
            </a:fontRef>
          </p:style>
          <p:txBody>
            <a:bodyPr wrap="square" lIns="91440" tIns="45720" rIns="91440" bIns="45720" anchor="t">
              <a:noAutofit/>
            </a:bodyPr>
            <a:lstStyle/>
            <a:p>
              <a:pPr marL="285750" indent="-285750">
                <a:buFont typeface="Arial" panose="020B0604020202020204" pitchFamily="34" charset="0"/>
                <a:buChar char="•"/>
              </a:pPr>
              <a:r>
                <a:rPr lang="en-US" sz="1100" dirty="0">
                  <a:latin typeface="+mn-lt"/>
                </a:rPr>
                <a:t>Lorem ipsum dolor sit </a:t>
              </a:r>
              <a:r>
                <a:rPr lang="en-US" sz="1100" dirty="0" err="1">
                  <a:latin typeface="+mn-lt"/>
                </a:rPr>
                <a:t>amet</a:t>
              </a:r>
              <a:r>
                <a:rPr lang="en-US" sz="1100" dirty="0">
                  <a:latin typeface="+mn-lt"/>
                </a:rPr>
                <a:t>, </a:t>
              </a:r>
              <a:r>
                <a:rPr lang="en-US" sz="1100" dirty="0" err="1">
                  <a:latin typeface="+mn-lt"/>
                </a:rPr>
                <a:t>consectetur</a:t>
              </a:r>
              <a:r>
                <a:rPr lang="en-US" sz="1100" dirty="0">
                  <a:latin typeface="+mn-lt"/>
                </a:rPr>
                <a:t> </a:t>
              </a:r>
              <a:r>
                <a:rPr lang="en-US" sz="1100" dirty="0" err="1">
                  <a:latin typeface="+mn-lt"/>
                </a:rPr>
                <a:t>adipiscing</a:t>
              </a:r>
              <a:r>
                <a:rPr lang="en-US" sz="1100" dirty="0">
                  <a:latin typeface="+mn-lt"/>
                </a:rPr>
                <a:t> </a:t>
              </a:r>
              <a:r>
                <a:rPr lang="en-US" sz="1100" dirty="0" err="1">
                  <a:latin typeface="+mn-lt"/>
                </a:rPr>
                <a:t>elit</a:t>
              </a:r>
              <a:r>
                <a:rPr lang="en-US" sz="1100" dirty="0">
                  <a:latin typeface="+mn-lt"/>
                </a:rPr>
                <a:t>, sed do </a:t>
              </a:r>
              <a:r>
                <a:rPr lang="en-US" sz="1100" dirty="0" err="1">
                  <a:latin typeface="+mn-lt"/>
                </a:rPr>
                <a:t>eiusmod</a:t>
              </a:r>
              <a:r>
                <a:rPr lang="en-US" sz="1100" dirty="0">
                  <a:latin typeface="+mn-lt"/>
                </a:rPr>
                <a:t> </a:t>
              </a:r>
              <a:r>
                <a:rPr lang="en-US" sz="1100" dirty="0" err="1">
                  <a:latin typeface="+mn-lt"/>
                </a:rPr>
                <a:t>tempor</a:t>
              </a:r>
              <a:r>
                <a:rPr lang="en-US" sz="1100" dirty="0">
                  <a:latin typeface="+mn-lt"/>
                </a:rPr>
                <a:t> </a:t>
              </a:r>
              <a:r>
                <a:rPr lang="en-US" sz="1100" dirty="0" err="1">
                  <a:latin typeface="+mn-lt"/>
                </a:rPr>
                <a:t>incididunt</a:t>
              </a:r>
              <a:r>
                <a:rPr lang="en-US" sz="1100" dirty="0">
                  <a:latin typeface="+mn-lt"/>
                </a:rPr>
                <a:t> </a:t>
              </a:r>
              <a:r>
                <a:rPr lang="en-US" sz="1100" dirty="0" err="1">
                  <a:latin typeface="+mn-lt"/>
                </a:rPr>
                <a:t>ut</a:t>
              </a:r>
              <a:r>
                <a:rPr lang="en-US" sz="1100" dirty="0">
                  <a:latin typeface="+mn-lt"/>
                </a:rPr>
                <a:t> labore et dolore magna </a:t>
              </a:r>
              <a:r>
                <a:rPr lang="en-US" sz="1100" dirty="0" err="1">
                  <a:latin typeface="+mn-lt"/>
                </a:rPr>
                <a:t>aliqua</a:t>
              </a:r>
              <a:r>
                <a:rPr lang="en-US" sz="1100" dirty="0">
                  <a:latin typeface="+mn-lt"/>
                </a:rPr>
                <a:t>.</a:t>
              </a:r>
            </a:p>
            <a:p>
              <a:pPr marL="285750" indent="-285750">
                <a:buFont typeface="Arial" panose="020B0604020202020204" pitchFamily="34" charset="0"/>
                <a:buChar char="•"/>
              </a:pPr>
              <a:r>
                <a:rPr lang="en-US" sz="1100" dirty="0">
                  <a:latin typeface="+mn-lt"/>
                </a:rPr>
                <a:t>Ut </a:t>
              </a:r>
              <a:r>
                <a:rPr lang="en-US" sz="1100" dirty="0" err="1">
                  <a:latin typeface="+mn-lt"/>
                </a:rPr>
                <a:t>enim</a:t>
              </a:r>
              <a:r>
                <a:rPr lang="en-US" sz="1100" dirty="0">
                  <a:latin typeface="+mn-lt"/>
                </a:rPr>
                <a:t> ad minim </a:t>
              </a:r>
              <a:r>
                <a:rPr lang="en-US" sz="1100" dirty="0" err="1">
                  <a:latin typeface="+mn-lt"/>
                </a:rPr>
                <a:t>veniam</a:t>
              </a:r>
              <a:r>
                <a:rPr lang="en-US" sz="1100" dirty="0">
                  <a:latin typeface="+mn-lt"/>
                </a:rPr>
                <a:t>, </a:t>
              </a:r>
              <a:r>
                <a:rPr lang="en-US" sz="1100" dirty="0" err="1">
                  <a:latin typeface="+mn-lt"/>
                </a:rPr>
                <a:t>quis</a:t>
              </a:r>
              <a:r>
                <a:rPr lang="en-US" sz="1100" dirty="0">
                  <a:latin typeface="+mn-lt"/>
                </a:rPr>
                <a:t> </a:t>
              </a:r>
              <a:r>
                <a:rPr lang="en-US" sz="1100" dirty="0" err="1">
                  <a:latin typeface="+mn-lt"/>
                </a:rPr>
                <a:t>nostrud</a:t>
              </a:r>
              <a:r>
                <a:rPr lang="en-US" sz="1100" dirty="0">
                  <a:latin typeface="+mn-lt"/>
                </a:rPr>
                <a:t> exercitation </a:t>
              </a:r>
              <a:r>
                <a:rPr lang="en-US" sz="1100" dirty="0" err="1">
                  <a:latin typeface="+mn-lt"/>
                </a:rPr>
                <a:t>ullamco</a:t>
              </a:r>
              <a:r>
                <a:rPr lang="en-US" sz="1100" dirty="0">
                  <a:latin typeface="+mn-lt"/>
                </a:rPr>
                <a:t> </a:t>
              </a:r>
              <a:r>
                <a:rPr lang="en-US" sz="1100" dirty="0" err="1">
                  <a:latin typeface="+mn-lt"/>
                </a:rPr>
                <a:t>laboris</a:t>
              </a:r>
              <a:r>
                <a:rPr lang="en-US" sz="1100" dirty="0">
                  <a:latin typeface="+mn-lt"/>
                </a:rPr>
                <a:t> nisi </a:t>
              </a:r>
              <a:r>
                <a:rPr lang="en-US" sz="1100" dirty="0" err="1">
                  <a:latin typeface="+mn-lt"/>
                </a:rPr>
                <a:t>ut</a:t>
              </a:r>
              <a:r>
                <a:rPr lang="en-US" sz="1100" dirty="0">
                  <a:latin typeface="+mn-lt"/>
                </a:rPr>
                <a:t> </a:t>
              </a:r>
              <a:r>
                <a:rPr lang="en-US" sz="1100" dirty="0" err="1">
                  <a:latin typeface="+mn-lt"/>
                </a:rPr>
                <a:t>aliquip</a:t>
              </a:r>
              <a:r>
                <a:rPr lang="en-US" sz="1100" dirty="0">
                  <a:latin typeface="+mn-lt"/>
                </a:rPr>
                <a:t> ex </a:t>
              </a:r>
              <a:r>
                <a:rPr lang="en-US" sz="1100" dirty="0" err="1">
                  <a:latin typeface="+mn-lt"/>
                </a:rPr>
                <a:t>ea</a:t>
              </a:r>
              <a:r>
                <a:rPr lang="en-US" sz="1100" dirty="0">
                  <a:latin typeface="+mn-lt"/>
                </a:rPr>
                <a:t> </a:t>
              </a:r>
              <a:r>
                <a:rPr lang="en-US" sz="1100" dirty="0" err="1">
                  <a:latin typeface="+mn-lt"/>
                </a:rPr>
                <a:t>commodo</a:t>
              </a:r>
              <a:r>
                <a:rPr lang="en-US" sz="1100" dirty="0">
                  <a:latin typeface="+mn-lt"/>
                </a:rPr>
                <a:t> </a:t>
              </a:r>
              <a:r>
                <a:rPr lang="en-US" sz="1100" dirty="0" err="1">
                  <a:latin typeface="+mn-lt"/>
                </a:rPr>
                <a:t>consequat</a:t>
              </a:r>
              <a:r>
                <a:rPr lang="en-US" sz="1100" dirty="0">
                  <a:latin typeface="+mn-lt"/>
                </a:rPr>
                <a:t>. </a:t>
              </a:r>
            </a:p>
            <a:p>
              <a:pPr marL="285750" indent="-285750">
                <a:buFont typeface="Arial" panose="020B0604020202020204" pitchFamily="34" charset="0"/>
                <a:buChar char="•"/>
              </a:pPr>
              <a:r>
                <a:rPr lang="en-US" sz="1100" dirty="0">
                  <a:latin typeface="+mn-lt"/>
                </a:rPr>
                <a:t>Duis </a:t>
              </a:r>
              <a:r>
                <a:rPr lang="en-US" sz="1100" dirty="0" err="1">
                  <a:latin typeface="+mn-lt"/>
                </a:rPr>
                <a:t>aute</a:t>
              </a:r>
              <a:r>
                <a:rPr lang="en-US" sz="1100" dirty="0">
                  <a:latin typeface="+mn-lt"/>
                </a:rPr>
                <a:t> </a:t>
              </a:r>
              <a:r>
                <a:rPr lang="en-US" sz="1100" dirty="0" err="1">
                  <a:latin typeface="+mn-lt"/>
                </a:rPr>
                <a:t>irure</a:t>
              </a:r>
              <a:r>
                <a:rPr lang="en-US" sz="1100" dirty="0">
                  <a:latin typeface="+mn-lt"/>
                </a:rPr>
                <a:t> dolor in </a:t>
              </a:r>
              <a:r>
                <a:rPr lang="en-US" sz="1100" dirty="0" err="1">
                  <a:latin typeface="+mn-lt"/>
                </a:rPr>
                <a:t>reprehenderit</a:t>
              </a:r>
              <a:r>
                <a:rPr lang="en-US" sz="1100" dirty="0">
                  <a:latin typeface="+mn-lt"/>
                </a:rPr>
                <a:t> in </a:t>
              </a:r>
              <a:r>
                <a:rPr lang="en-US" sz="1100" dirty="0" err="1">
                  <a:latin typeface="+mn-lt"/>
                </a:rPr>
                <a:t>voluptate</a:t>
              </a:r>
              <a:r>
                <a:rPr lang="en-US" sz="1100" dirty="0">
                  <a:latin typeface="+mn-lt"/>
                </a:rPr>
                <a:t> </a:t>
              </a:r>
              <a:r>
                <a:rPr lang="en-US" sz="1100" dirty="0" err="1">
                  <a:latin typeface="+mn-lt"/>
                </a:rPr>
                <a:t>velit</a:t>
              </a:r>
              <a:r>
                <a:rPr lang="en-US" sz="1100" dirty="0">
                  <a:latin typeface="+mn-lt"/>
                </a:rPr>
                <a:t> </a:t>
              </a:r>
              <a:r>
                <a:rPr lang="en-US" sz="1100" dirty="0" err="1">
                  <a:latin typeface="+mn-lt"/>
                </a:rPr>
                <a:t>esse</a:t>
              </a:r>
              <a:r>
                <a:rPr lang="en-US" sz="1100" dirty="0">
                  <a:latin typeface="+mn-lt"/>
                </a:rPr>
                <a:t> </a:t>
              </a:r>
              <a:r>
                <a:rPr lang="en-US" sz="1100" dirty="0" err="1">
                  <a:latin typeface="+mn-lt"/>
                </a:rPr>
                <a:t>cillum</a:t>
              </a:r>
              <a:r>
                <a:rPr lang="en-US" sz="1100" dirty="0">
                  <a:latin typeface="+mn-lt"/>
                </a:rPr>
                <a:t> dolore </a:t>
              </a:r>
              <a:r>
                <a:rPr lang="en-US" sz="1100" dirty="0" err="1">
                  <a:latin typeface="+mn-lt"/>
                </a:rPr>
                <a:t>eu</a:t>
              </a:r>
              <a:r>
                <a:rPr lang="en-US" sz="1100" dirty="0">
                  <a:latin typeface="+mn-lt"/>
                </a:rPr>
                <a:t> </a:t>
              </a:r>
              <a:r>
                <a:rPr lang="en-US" sz="1100" dirty="0" err="1">
                  <a:latin typeface="+mn-lt"/>
                </a:rPr>
                <a:t>fugiat</a:t>
              </a:r>
              <a:r>
                <a:rPr lang="en-US" sz="1100" dirty="0">
                  <a:latin typeface="+mn-lt"/>
                </a:rPr>
                <a:t> </a:t>
              </a:r>
              <a:r>
                <a:rPr lang="en-US" sz="1100" dirty="0" err="1">
                  <a:latin typeface="+mn-lt"/>
                </a:rPr>
                <a:t>nulla</a:t>
              </a:r>
              <a:r>
                <a:rPr lang="en-US" sz="1100" dirty="0">
                  <a:latin typeface="+mn-lt"/>
                </a:rPr>
                <a:t> </a:t>
              </a:r>
              <a:r>
                <a:rPr lang="en-US" sz="1100" dirty="0" err="1">
                  <a:latin typeface="+mn-lt"/>
                </a:rPr>
                <a:t>pariatur</a:t>
              </a:r>
              <a:r>
                <a:rPr lang="en-US" sz="1100" dirty="0">
                  <a:latin typeface="+mn-lt"/>
                </a:rPr>
                <a:t>. </a:t>
              </a:r>
            </a:p>
            <a:p>
              <a:pPr marL="285750" indent="-285750">
                <a:buFont typeface="Arial" panose="020B0604020202020204" pitchFamily="34" charset="0"/>
                <a:buChar char="•"/>
              </a:pPr>
              <a:r>
                <a:rPr lang="en-US" sz="1100" dirty="0" err="1">
                  <a:latin typeface="+mn-lt"/>
                </a:rPr>
                <a:t>Excepteur</a:t>
              </a:r>
              <a:r>
                <a:rPr lang="en-US" sz="1100" dirty="0">
                  <a:latin typeface="+mn-lt"/>
                </a:rPr>
                <a:t> </a:t>
              </a:r>
              <a:r>
                <a:rPr lang="en-US" sz="1100" dirty="0" err="1">
                  <a:latin typeface="+mn-lt"/>
                </a:rPr>
                <a:t>sint</a:t>
              </a:r>
              <a:r>
                <a:rPr lang="en-US" sz="1100" dirty="0">
                  <a:latin typeface="+mn-lt"/>
                </a:rPr>
                <a:t> </a:t>
              </a:r>
              <a:r>
                <a:rPr lang="en-US" sz="1100" dirty="0" err="1">
                  <a:latin typeface="+mn-lt"/>
                </a:rPr>
                <a:t>occaecat</a:t>
              </a:r>
              <a:r>
                <a:rPr lang="en-US" sz="1100" dirty="0">
                  <a:latin typeface="+mn-lt"/>
                </a:rPr>
                <a:t> </a:t>
              </a:r>
              <a:r>
                <a:rPr lang="en-US" sz="1100" dirty="0" err="1">
                  <a:latin typeface="+mn-lt"/>
                </a:rPr>
                <a:t>cupidatat</a:t>
              </a:r>
              <a:r>
                <a:rPr lang="en-US" sz="1100" dirty="0">
                  <a:latin typeface="+mn-lt"/>
                </a:rPr>
                <a:t> non </a:t>
              </a:r>
              <a:r>
                <a:rPr lang="en-US" sz="1100" dirty="0" err="1">
                  <a:latin typeface="+mn-lt"/>
                </a:rPr>
                <a:t>proident</a:t>
              </a:r>
              <a:r>
                <a:rPr lang="en-US" sz="1100" dirty="0">
                  <a:latin typeface="+mn-lt"/>
                </a:rPr>
                <a:t>, sunt in culpa qui </a:t>
              </a:r>
              <a:r>
                <a:rPr lang="en-US" sz="1100" dirty="0" err="1">
                  <a:latin typeface="+mn-lt"/>
                </a:rPr>
                <a:t>officia</a:t>
              </a:r>
              <a:r>
                <a:rPr lang="en-US" sz="1100" dirty="0">
                  <a:latin typeface="+mn-lt"/>
                </a:rPr>
                <a:t> </a:t>
              </a:r>
              <a:r>
                <a:rPr lang="en-US" sz="1100" dirty="0" err="1">
                  <a:latin typeface="+mn-lt"/>
                </a:rPr>
                <a:t>deserunt</a:t>
              </a:r>
              <a:r>
                <a:rPr lang="en-US" sz="1100" dirty="0">
                  <a:latin typeface="+mn-lt"/>
                </a:rPr>
                <a:t> </a:t>
              </a:r>
              <a:r>
                <a:rPr lang="en-US" sz="1100" dirty="0" err="1">
                  <a:latin typeface="+mn-lt"/>
                </a:rPr>
                <a:t>mollit</a:t>
              </a:r>
              <a:r>
                <a:rPr lang="en-US" sz="1100" dirty="0">
                  <a:latin typeface="+mn-lt"/>
                </a:rPr>
                <a:t> </a:t>
              </a:r>
              <a:r>
                <a:rPr lang="en-US" sz="1100" dirty="0" err="1">
                  <a:latin typeface="+mn-lt"/>
                </a:rPr>
                <a:t>anim</a:t>
              </a:r>
              <a:r>
                <a:rPr lang="en-US" sz="1100" dirty="0">
                  <a:latin typeface="+mn-lt"/>
                </a:rPr>
                <a:t> id </a:t>
              </a:r>
              <a:r>
                <a:rPr lang="en-US" sz="1100" dirty="0" err="1">
                  <a:latin typeface="+mn-lt"/>
                </a:rPr>
                <a:t>est</a:t>
              </a:r>
              <a:r>
                <a:rPr lang="en-US" sz="1100" dirty="0">
                  <a:latin typeface="+mn-lt"/>
                </a:rPr>
                <a:t> </a:t>
              </a:r>
              <a:r>
                <a:rPr lang="en-US" sz="1100" dirty="0" err="1">
                  <a:latin typeface="+mn-lt"/>
                </a:rPr>
                <a:t>laborum</a:t>
              </a:r>
              <a:r>
                <a:rPr lang="en-US" sz="1100" dirty="0">
                  <a:latin typeface="+mn-lt"/>
                </a:rPr>
                <a:t>.</a:t>
              </a:r>
              <a:endParaRPr lang="en-US" sz="1100" dirty="0"/>
            </a:p>
          </p:txBody>
        </p:sp>
        <p:sp>
          <p:nvSpPr>
            <p:cNvPr id="13" name="TextBox 12">
              <a:extLst>
                <a:ext uri="{FF2B5EF4-FFF2-40B4-BE49-F238E27FC236}">
                  <a16:creationId xmlns:a16="http://schemas.microsoft.com/office/drawing/2014/main" id="{CF9BF075-8237-2B30-9E2D-5E2EAD7E96FB}"/>
                </a:ext>
              </a:extLst>
            </p:cNvPr>
            <p:cNvSpPr txBox="1"/>
            <p:nvPr/>
          </p:nvSpPr>
          <p:spPr>
            <a:xfrm rot="5400000">
              <a:off x="2390439" y="1306216"/>
              <a:ext cx="389471" cy="4267857"/>
            </a:xfrm>
            <a:prstGeom prst="round2SameRect">
              <a:avLst>
                <a:gd name="adj1" fmla="val 46466"/>
                <a:gd name="adj2" fmla="val 0"/>
              </a:avLst>
            </a:prstGeom>
          </p:spPr>
          <p:style>
            <a:lnRef idx="2">
              <a:schemeClr val="dk1"/>
            </a:lnRef>
            <a:fillRef idx="1">
              <a:schemeClr val="lt1"/>
            </a:fillRef>
            <a:effectRef idx="0">
              <a:schemeClr val="dk1"/>
            </a:effectRef>
            <a:fontRef idx="minor">
              <a:schemeClr val="dk1"/>
            </a:fontRef>
          </p:style>
          <p:txBody>
            <a:bodyPr vert="vert270" wrap="square" lIns="91440" tIns="91440" rIns="91440" bIns="182880" anchor="ctr" anchorCtr="0">
              <a:noAutofit/>
            </a:bodyPr>
            <a:lstStyle/>
            <a:p>
              <a:pPr marL="0" marR="0" lvl="0" indent="0" algn="l" defTabSz="914400" rtl="0" eaLnBrk="0" fontAlgn="base" latinLnBrk="0" hangingPunct="1">
                <a:lnSpc>
                  <a:spcPct val="100000"/>
                </a:lnSpc>
                <a:spcBef>
                  <a:spcPct val="0"/>
                </a:spcBef>
                <a:spcAft>
                  <a:spcPts val="600"/>
                </a:spcAft>
                <a:buClrTx/>
                <a:buSzTx/>
                <a:buFontTx/>
                <a:buNone/>
                <a:tabLst/>
                <a:defRPr/>
              </a:pPr>
              <a:r>
                <a:rPr kumimoji="0" lang="en-US" sz="1800" b="1" i="0" u="none" strike="noStrike" kern="1200" cap="none" spc="0" normalizeH="0" baseline="0" noProof="0">
                  <a:ln>
                    <a:noFill/>
                  </a:ln>
                  <a:solidFill>
                    <a:srgbClr val="112F64"/>
                  </a:solidFill>
                  <a:effectLst/>
                  <a:uLnTx/>
                  <a:uFillTx/>
                  <a:latin typeface="Montserrat"/>
                  <a:ea typeface="+mn-ea"/>
                  <a:cs typeface="+mn-cs"/>
                </a:rPr>
                <a:t>Traffic</a:t>
              </a:r>
            </a:p>
          </p:txBody>
        </p:sp>
      </p:grpSp>
      <p:grpSp>
        <p:nvGrpSpPr>
          <p:cNvPr id="25" name="Group 24">
            <a:extLst>
              <a:ext uri="{FF2B5EF4-FFF2-40B4-BE49-F238E27FC236}">
                <a16:creationId xmlns:a16="http://schemas.microsoft.com/office/drawing/2014/main" id="{68234A59-1D25-D3C4-269F-518D11BFF3BB}"/>
              </a:ext>
            </a:extLst>
          </p:cNvPr>
          <p:cNvGrpSpPr/>
          <p:nvPr/>
        </p:nvGrpSpPr>
        <p:grpSpPr>
          <a:xfrm>
            <a:off x="4801964" y="3245408"/>
            <a:ext cx="3611207" cy="2758068"/>
            <a:chOff x="4801964" y="3245408"/>
            <a:chExt cx="3611207" cy="2758068"/>
          </a:xfrm>
        </p:grpSpPr>
        <p:sp>
          <p:nvSpPr>
            <p:cNvPr id="15" name="Rectangle 14">
              <a:extLst>
                <a:ext uri="{FF2B5EF4-FFF2-40B4-BE49-F238E27FC236}">
                  <a16:creationId xmlns:a16="http://schemas.microsoft.com/office/drawing/2014/main" id="{11FAF8A8-7EC7-D7EF-AED1-77EB72AD59E0}"/>
                </a:ext>
              </a:extLst>
            </p:cNvPr>
            <p:cNvSpPr/>
            <p:nvPr/>
          </p:nvSpPr>
          <p:spPr>
            <a:xfrm>
              <a:off x="4801964" y="3727466"/>
              <a:ext cx="3611206" cy="2276010"/>
            </a:xfrm>
            <a:prstGeom prst="rect">
              <a:avLst/>
            </a:prstGeom>
          </p:spPr>
          <p:style>
            <a:lnRef idx="2">
              <a:schemeClr val="dk1"/>
            </a:lnRef>
            <a:fillRef idx="1">
              <a:schemeClr val="lt1"/>
            </a:fillRef>
            <a:effectRef idx="0">
              <a:schemeClr val="dk1"/>
            </a:effectRef>
            <a:fontRef idx="minor">
              <a:schemeClr val="dk1"/>
            </a:fontRef>
          </p:style>
          <p:txBody>
            <a:bodyPr wrap="square">
              <a:noAutofit/>
            </a:bodyPr>
            <a:lstStyle/>
            <a:p>
              <a:pPr marL="285750" indent="-285750">
                <a:buFont typeface="Arial" panose="020B0604020202020204" pitchFamily="34" charset="0"/>
                <a:buChar char="•"/>
              </a:pPr>
              <a:r>
                <a:rPr lang="en-US" sz="1100" dirty="0">
                  <a:latin typeface="+mn-lt"/>
                </a:rPr>
                <a:t>Lorem ipsum dolor sit </a:t>
              </a:r>
              <a:r>
                <a:rPr lang="en-US" sz="1100" dirty="0" err="1">
                  <a:latin typeface="+mn-lt"/>
                </a:rPr>
                <a:t>amet</a:t>
              </a:r>
              <a:r>
                <a:rPr lang="en-US" sz="1100" dirty="0">
                  <a:latin typeface="+mn-lt"/>
                </a:rPr>
                <a:t>, </a:t>
              </a:r>
              <a:r>
                <a:rPr lang="en-US" sz="1100" dirty="0" err="1">
                  <a:latin typeface="+mn-lt"/>
                </a:rPr>
                <a:t>consectetur</a:t>
              </a:r>
              <a:r>
                <a:rPr lang="en-US" sz="1100" dirty="0">
                  <a:latin typeface="+mn-lt"/>
                </a:rPr>
                <a:t> </a:t>
              </a:r>
              <a:r>
                <a:rPr lang="en-US" sz="1100" dirty="0" err="1">
                  <a:latin typeface="+mn-lt"/>
                </a:rPr>
                <a:t>adipiscing</a:t>
              </a:r>
              <a:r>
                <a:rPr lang="en-US" sz="1100" dirty="0">
                  <a:latin typeface="+mn-lt"/>
                </a:rPr>
                <a:t> </a:t>
              </a:r>
              <a:r>
                <a:rPr lang="en-US" sz="1100" dirty="0" err="1">
                  <a:latin typeface="+mn-lt"/>
                </a:rPr>
                <a:t>elit</a:t>
              </a:r>
              <a:r>
                <a:rPr lang="en-US" sz="1100" dirty="0">
                  <a:latin typeface="+mn-lt"/>
                </a:rPr>
                <a:t>, sed do </a:t>
              </a:r>
              <a:r>
                <a:rPr lang="en-US" sz="1100" dirty="0" err="1">
                  <a:latin typeface="+mn-lt"/>
                </a:rPr>
                <a:t>eiusmod</a:t>
              </a:r>
              <a:r>
                <a:rPr lang="en-US" sz="1100" dirty="0">
                  <a:latin typeface="+mn-lt"/>
                </a:rPr>
                <a:t> </a:t>
              </a:r>
              <a:r>
                <a:rPr lang="en-US" sz="1100" dirty="0" err="1">
                  <a:latin typeface="+mn-lt"/>
                </a:rPr>
                <a:t>tempor</a:t>
              </a:r>
              <a:r>
                <a:rPr lang="en-US" sz="1100" dirty="0">
                  <a:latin typeface="+mn-lt"/>
                </a:rPr>
                <a:t> </a:t>
              </a:r>
              <a:r>
                <a:rPr lang="en-US" sz="1100" dirty="0" err="1">
                  <a:latin typeface="+mn-lt"/>
                </a:rPr>
                <a:t>incididunt</a:t>
              </a:r>
              <a:r>
                <a:rPr lang="en-US" sz="1100" dirty="0">
                  <a:latin typeface="+mn-lt"/>
                </a:rPr>
                <a:t> </a:t>
              </a:r>
              <a:r>
                <a:rPr lang="en-US" sz="1100" dirty="0" err="1">
                  <a:latin typeface="+mn-lt"/>
                </a:rPr>
                <a:t>ut</a:t>
              </a:r>
              <a:r>
                <a:rPr lang="en-US" sz="1100" dirty="0">
                  <a:latin typeface="+mn-lt"/>
                </a:rPr>
                <a:t> labore et dolore magna </a:t>
              </a:r>
              <a:r>
                <a:rPr lang="en-US" sz="1100" dirty="0" err="1">
                  <a:latin typeface="+mn-lt"/>
                </a:rPr>
                <a:t>aliqua</a:t>
              </a:r>
              <a:r>
                <a:rPr lang="en-US" sz="1100" dirty="0">
                  <a:latin typeface="+mn-lt"/>
                </a:rPr>
                <a:t>.</a:t>
              </a:r>
            </a:p>
            <a:p>
              <a:pPr marL="285750" indent="-285750">
                <a:buFont typeface="Arial" panose="020B0604020202020204" pitchFamily="34" charset="0"/>
                <a:buChar char="•"/>
              </a:pPr>
              <a:r>
                <a:rPr lang="en-US" sz="1100" dirty="0">
                  <a:latin typeface="+mn-lt"/>
                </a:rPr>
                <a:t>Ut </a:t>
              </a:r>
              <a:r>
                <a:rPr lang="en-US" sz="1100" dirty="0" err="1">
                  <a:latin typeface="+mn-lt"/>
                </a:rPr>
                <a:t>enim</a:t>
              </a:r>
              <a:r>
                <a:rPr lang="en-US" sz="1100" dirty="0">
                  <a:latin typeface="+mn-lt"/>
                </a:rPr>
                <a:t> ad minim </a:t>
              </a:r>
              <a:r>
                <a:rPr lang="en-US" sz="1100" dirty="0" err="1">
                  <a:latin typeface="+mn-lt"/>
                </a:rPr>
                <a:t>veniam</a:t>
              </a:r>
              <a:r>
                <a:rPr lang="en-US" sz="1100" dirty="0">
                  <a:latin typeface="+mn-lt"/>
                </a:rPr>
                <a:t>, </a:t>
              </a:r>
              <a:r>
                <a:rPr lang="en-US" sz="1100" dirty="0" err="1">
                  <a:latin typeface="+mn-lt"/>
                </a:rPr>
                <a:t>quis</a:t>
              </a:r>
              <a:r>
                <a:rPr lang="en-US" sz="1100" dirty="0">
                  <a:latin typeface="+mn-lt"/>
                </a:rPr>
                <a:t> </a:t>
              </a:r>
              <a:r>
                <a:rPr lang="en-US" sz="1100" dirty="0" err="1">
                  <a:latin typeface="+mn-lt"/>
                </a:rPr>
                <a:t>nostrud</a:t>
              </a:r>
              <a:r>
                <a:rPr lang="en-US" sz="1100" dirty="0">
                  <a:latin typeface="+mn-lt"/>
                </a:rPr>
                <a:t> exercitation </a:t>
              </a:r>
              <a:r>
                <a:rPr lang="en-US" sz="1100" dirty="0" err="1">
                  <a:latin typeface="+mn-lt"/>
                </a:rPr>
                <a:t>ullamco</a:t>
              </a:r>
              <a:r>
                <a:rPr lang="en-US" sz="1100" dirty="0">
                  <a:latin typeface="+mn-lt"/>
                </a:rPr>
                <a:t> </a:t>
              </a:r>
              <a:r>
                <a:rPr lang="en-US" sz="1100" dirty="0" err="1">
                  <a:latin typeface="+mn-lt"/>
                </a:rPr>
                <a:t>laboris</a:t>
              </a:r>
              <a:r>
                <a:rPr lang="en-US" sz="1100" dirty="0">
                  <a:latin typeface="+mn-lt"/>
                </a:rPr>
                <a:t> nisi </a:t>
              </a:r>
              <a:r>
                <a:rPr lang="en-US" sz="1100" dirty="0" err="1">
                  <a:latin typeface="+mn-lt"/>
                </a:rPr>
                <a:t>ut</a:t>
              </a:r>
              <a:r>
                <a:rPr lang="en-US" sz="1100" dirty="0">
                  <a:latin typeface="+mn-lt"/>
                </a:rPr>
                <a:t> </a:t>
              </a:r>
              <a:r>
                <a:rPr lang="en-US" sz="1100" dirty="0" err="1">
                  <a:latin typeface="+mn-lt"/>
                </a:rPr>
                <a:t>aliquip</a:t>
              </a:r>
              <a:r>
                <a:rPr lang="en-US" sz="1100" dirty="0">
                  <a:latin typeface="+mn-lt"/>
                </a:rPr>
                <a:t> ex </a:t>
              </a:r>
              <a:r>
                <a:rPr lang="en-US" sz="1100" dirty="0" err="1">
                  <a:latin typeface="+mn-lt"/>
                </a:rPr>
                <a:t>ea</a:t>
              </a:r>
              <a:r>
                <a:rPr lang="en-US" sz="1100" dirty="0">
                  <a:latin typeface="+mn-lt"/>
                </a:rPr>
                <a:t> </a:t>
              </a:r>
              <a:r>
                <a:rPr lang="en-US" sz="1100" dirty="0" err="1">
                  <a:latin typeface="+mn-lt"/>
                </a:rPr>
                <a:t>commodo</a:t>
              </a:r>
              <a:r>
                <a:rPr lang="en-US" sz="1100" dirty="0">
                  <a:latin typeface="+mn-lt"/>
                </a:rPr>
                <a:t> </a:t>
              </a:r>
              <a:r>
                <a:rPr lang="en-US" sz="1100" dirty="0" err="1">
                  <a:latin typeface="+mn-lt"/>
                </a:rPr>
                <a:t>consequat</a:t>
              </a:r>
              <a:r>
                <a:rPr lang="en-US" sz="1100" dirty="0">
                  <a:latin typeface="+mn-lt"/>
                </a:rPr>
                <a:t>. </a:t>
              </a:r>
            </a:p>
            <a:p>
              <a:pPr marL="285750" indent="-285750">
                <a:buFont typeface="Arial" panose="020B0604020202020204" pitchFamily="34" charset="0"/>
                <a:buChar char="•"/>
              </a:pPr>
              <a:r>
                <a:rPr lang="en-US" sz="1100" dirty="0">
                  <a:latin typeface="+mn-lt"/>
                </a:rPr>
                <a:t>Duis </a:t>
              </a:r>
              <a:r>
                <a:rPr lang="en-US" sz="1100" dirty="0" err="1">
                  <a:latin typeface="+mn-lt"/>
                </a:rPr>
                <a:t>aute</a:t>
              </a:r>
              <a:r>
                <a:rPr lang="en-US" sz="1100" dirty="0">
                  <a:latin typeface="+mn-lt"/>
                </a:rPr>
                <a:t> </a:t>
              </a:r>
              <a:r>
                <a:rPr lang="en-US" sz="1100" dirty="0" err="1">
                  <a:latin typeface="+mn-lt"/>
                </a:rPr>
                <a:t>irure</a:t>
              </a:r>
              <a:r>
                <a:rPr lang="en-US" sz="1100" dirty="0">
                  <a:latin typeface="+mn-lt"/>
                </a:rPr>
                <a:t> dolor in </a:t>
              </a:r>
              <a:r>
                <a:rPr lang="en-US" sz="1100" dirty="0" err="1">
                  <a:latin typeface="+mn-lt"/>
                </a:rPr>
                <a:t>reprehenderit</a:t>
              </a:r>
              <a:r>
                <a:rPr lang="en-US" sz="1100" dirty="0">
                  <a:latin typeface="+mn-lt"/>
                </a:rPr>
                <a:t> in </a:t>
              </a:r>
              <a:r>
                <a:rPr lang="en-US" sz="1100" dirty="0" err="1">
                  <a:latin typeface="+mn-lt"/>
                </a:rPr>
                <a:t>voluptate</a:t>
              </a:r>
              <a:r>
                <a:rPr lang="en-US" sz="1100" dirty="0">
                  <a:latin typeface="+mn-lt"/>
                </a:rPr>
                <a:t> </a:t>
              </a:r>
              <a:r>
                <a:rPr lang="en-US" sz="1100" dirty="0" err="1">
                  <a:latin typeface="+mn-lt"/>
                </a:rPr>
                <a:t>velit</a:t>
              </a:r>
              <a:r>
                <a:rPr lang="en-US" sz="1100" dirty="0">
                  <a:latin typeface="+mn-lt"/>
                </a:rPr>
                <a:t> </a:t>
              </a:r>
              <a:r>
                <a:rPr lang="en-US" sz="1100" dirty="0" err="1">
                  <a:latin typeface="+mn-lt"/>
                </a:rPr>
                <a:t>esse</a:t>
              </a:r>
              <a:r>
                <a:rPr lang="en-US" sz="1100" dirty="0">
                  <a:latin typeface="+mn-lt"/>
                </a:rPr>
                <a:t> </a:t>
              </a:r>
              <a:r>
                <a:rPr lang="en-US" sz="1100" dirty="0" err="1">
                  <a:latin typeface="+mn-lt"/>
                </a:rPr>
                <a:t>cillum</a:t>
              </a:r>
              <a:r>
                <a:rPr lang="en-US" sz="1100" dirty="0">
                  <a:latin typeface="+mn-lt"/>
                </a:rPr>
                <a:t> dolore </a:t>
              </a:r>
              <a:r>
                <a:rPr lang="en-US" sz="1100" dirty="0" err="1">
                  <a:latin typeface="+mn-lt"/>
                </a:rPr>
                <a:t>eu</a:t>
              </a:r>
              <a:r>
                <a:rPr lang="en-US" sz="1100" dirty="0">
                  <a:latin typeface="+mn-lt"/>
                </a:rPr>
                <a:t> </a:t>
              </a:r>
              <a:r>
                <a:rPr lang="en-US" sz="1100" dirty="0" err="1">
                  <a:latin typeface="+mn-lt"/>
                </a:rPr>
                <a:t>fugiat</a:t>
              </a:r>
              <a:r>
                <a:rPr lang="en-US" sz="1100" dirty="0">
                  <a:latin typeface="+mn-lt"/>
                </a:rPr>
                <a:t> </a:t>
              </a:r>
              <a:r>
                <a:rPr lang="en-US" sz="1100" dirty="0" err="1">
                  <a:latin typeface="+mn-lt"/>
                </a:rPr>
                <a:t>nulla</a:t>
              </a:r>
              <a:r>
                <a:rPr lang="en-US" sz="1100" dirty="0">
                  <a:latin typeface="+mn-lt"/>
                </a:rPr>
                <a:t> </a:t>
              </a:r>
              <a:r>
                <a:rPr lang="en-US" sz="1100" dirty="0" err="1">
                  <a:latin typeface="+mn-lt"/>
                </a:rPr>
                <a:t>pariatur</a:t>
              </a:r>
              <a:r>
                <a:rPr lang="en-US" sz="1100" dirty="0">
                  <a:latin typeface="+mn-lt"/>
                </a:rPr>
                <a:t>. </a:t>
              </a:r>
            </a:p>
            <a:p>
              <a:pPr marL="285750" indent="-285750">
                <a:buFont typeface="Arial" panose="020B0604020202020204" pitchFamily="34" charset="0"/>
                <a:buChar char="•"/>
              </a:pPr>
              <a:r>
                <a:rPr lang="en-US" sz="1100" dirty="0" err="1">
                  <a:latin typeface="+mn-lt"/>
                </a:rPr>
                <a:t>Excepteur</a:t>
              </a:r>
              <a:r>
                <a:rPr lang="en-US" sz="1100" dirty="0">
                  <a:latin typeface="+mn-lt"/>
                </a:rPr>
                <a:t> </a:t>
              </a:r>
              <a:r>
                <a:rPr lang="en-US" sz="1100" dirty="0" err="1">
                  <a:latin typeface="+mn-lt"/>
                </a:rPr>
                <a:t>sint</a:t>
              </a:r>
              <a:r>
                <a:rPr lang="en-US" sz="1100" dirty="0">
                  <a:latin typeface="+mn-lt"/>
                </a:rPr>
                <a:t> </a:t>
              </a:r>
              <a:r>
                <a:rPr lang="en-US" sz="1100" dirty="0" err="1">
                  <a:latin typeface="+mn-lt"/>
                </a:rPr>
                <a:t>occaecat</a:t>
              </a:r>
              <a:r>
                <a:rPr lang="en-US" sz="1100" dirty="0">
                  <a:latin typeface="+mn-lt"/>
                </a:rPr>
                <a:t> </a:t>
              </a:r>
              <a:r>
                <a:rPr lang="en-US" sz="1100" dirty="0" err="1">
                  <a:latin typeface="+mn-lt"/>
                </a:rPr>
                <a:t>cupidatat</a:t>
              </a:r>
              <a:r>
                <a:rPr lang="en-US" sz="1100" dirty="0">
                  <a:latin typeface="+mn-lt"/>
                </a:rPr>
                <a:t> non </a:t>
              </a:r>
              <a:r>
                <a:rPr lang="en-US" sz="1100" dirty="0" err="1">
                  <a:latin typeface="+mn-lt"/>
                </a:rPr>
                <a:t>proident</a:t>
              </a:r>
              <a:r>
                <a:rPr lang="en-US" sz="1100" dirty="0">
                  <a:latin typeface="+mn-lt"/>
                </a:rPr>
                <a:t>, sunt in culpa qui </a:t>
              </a:r>
              <a:r>
                <a:rPr lang="en-US" sz="1100" dirty="0" err="1">
                  <a:latin typeface="+mn-lt"/>
                </a:rPr>
                <a:t>officia</a:t>
              </a:r>
              <a:r>
                <a:rPr lang="en-US" sz="1100" dirty="0">
                  <a:latin typeface="+mn-lt"/>
                </a:rPr>
                <a:t> </a:t>
              </a:r>
              <a:r>
                <a:rPr lang="en-US" sz="1100" dirty="0" err="1">
                  <a:latin typeface="+mn-lt"/>
                </a:rPr>
                <a:t>deserunt</a:t>
              </a:r>
              <a:r>
                <a:rPr lang="en-US" sz="1100" dirty="0">
                  <a:latin typeface="+mn-lt"/>
                </a:rPr>
                <a:t> </a:t>
              </a:r>
              <a:r>
                <a:rPr lang="en-US" sz="1100" dirty="0" err="1">
                  <a:latin typeface="+mn-lt"/>
                </a:rPr>
                <a:t>mollit</a:t>
              </a:r>
              <a:r>
                <a:rPr lang="en-US" sz="1100" dirty="0">
                  <a:latin typeface="+mn-lt"/>
                </a:rPr>
                <a:t> </a:t>
              </a:r>
              <a:r>
                <a:rPr lang="en-US" sz="1100" dirty="0" err="1">
                  <a:latin typeface="+mn-lt"/>
                </a:rPr>
                <a:t>anim</a:t>
              </a:r>
              <a:r>
                <a:rPr lang="en-US" sz="1100" dirty="0">
                  <a:latin typeface="+mn-lt"/>
                </a:rPr>
                <a:t> id </a:t>
              </a:r>
              <a:r>
                <a:rPr lang="en-US" sz="1100" dirty="0" err="1">
                  <a:latin typeface="+mn-lt"/>
                </a:rPr>
                <a:t>est</a:t>
              </a:r>
              <a:r>
                <a:rPr lang="en-US" sz="1100" dirty="0">
                  <a:latin typeface="+mn-lt"/>
                </a:rPr>
                <a:t> </a:t>
              </a:r>
              <a:r>
                <a:rPr lang="en-US" sz="1100" dirty="0" err="1">
                  <a:latin typeface="+mn-lt"/>
                </a:rPr>
                <a:t>laborum</a:t>
              </a:r>
              <a:r>
                <a:rPr lang="en-US" sz="1100" dirty="0">
                  <a:latin typeface="+mn-lt"/>
                </a:rPr>
                <a:t>.</a:t>
              </a:r>
              <a:endParaRPr lang="en-US" sz="1100" dirty="0"/>
            </a:p>
            <a:p>
              <a:pPr lvl="1"/>
              <a:endParaRPr lang="en-US" sz="1100" dirty="0">
                <a:latin typeface="+mn-lt"/>
              </a:endParaRPr>
            </a:p>
          </p:txBody>
        </p:sp>
        <p:sp>
          <p:nvSpPr>
            <p:cNvPr id="17" name="TextBox 16">
              <a:extLst>
                <a:ext uri="{FF2B5EF4-FFF2-40B4-BE49-F238E27FC236}">
                  <a16:creationId xmlns:a16="http://schemas.microsoft.com/office/drawing/2014/main" id="{92009AD3-F994-054B-7D33-F4A7CD4F4425}"/>
                </a:ext>
              </a:extLst>
            </p:cNvPr>
            <p:cNvSpPr txBox="1"/>
            <p:nvPr/>
          </p:nvSpPr>
          <p:spPr>
            <a:xfrm rot="5400000">
              <a:off x="6387793" y="1659580"/>
              <a:ext cx="439549" cy="3611206"/>
            </a:xfrm>
            <a:prstGeom prst="round2SameRect">
              <a:avLst>
                <a:gd name="adj1" fmla="val 46466"/>
                <a:gd name="adj2" fmla="val 0"/>
              </a:avLst>
            </a:prstGeom>
          </p:spPr>
          <p:style>
            <a:lnRef idx="2">
              <a:schemeClr val="dk1"/>
            </a:lnRef>
            <a:fillRef idx="1">
              <a:schemeClr val="lt1"/>
            </a:fillRef>
            <a:effectRef idx="0">
              <a:schemeClr val="dk1"/>
            </a:effectRef>
            <a:fontRef idx="minor">
              <a:schemeClr val="dk1"/>
            </a:fontRef>
          </p:style>
          <p:txBody>
            <a:bodyPr vert="vert270" wrap="square" lIns="91440" tIns="91440" rIns="91440" bIns="182880" anchor="ctr" anchorCtr="0">
              <a:noAutofit/>
            </a:bodyPr>
            <a:lstStyle/>
            <a:p>
              <a:pPr marL="0" marR="0" lvl="0" indent="0" algn="l" defTabSz="914400" rtl="0" eaLnBrk="0" fontAlgn="base" latinLnBrk="0" hangingPunct="1">
                <a:lnSpc>
                  <a:spcPct val="100000"/>
                </a:lnSpc>
                <a:spcBef>
                  <a:spcPct val="0"/>
                </a:spcBef>
                <a:spcAft>
                  <a:spcPts val="600"/>
                </a:spcAft>
                <a:buClrTx/>
                <a:buSzTx/>
                <a:buFontTx/>
                <a:buNone/>
                <a:tabLst/>
                <a:defRPr/>
              </a:pPr>
              <a:r>
                <a:rPr lang="en-US" b="1">
                  <a:solidFill>
                    <a:srgbClr val="112F64"/>
                  </a:solidFill>
                  <a:latin typeface="Montserrat"/>
                </a:rPr>
                <a:t>Demand</a:t>
              </a:r>
              <a:endParaRPr kumimoji="0" lang="en-US" sz="1800" b="1" i="0" u="none" strike="noStrike" kern="1200" cap="none" spc="0" normalizeH="0" baseline="0" noProof="0">
                <a:ln>
                  <a:noFill/>
                </a:ln>
                <a:solidFill>
                  <a:srgbClr val="112F64"/>
                </a:solidFill>
                <a:effectLst/>
                <a:uLnTx/>
                <a:uFillTx/>
                <a:latin typeface="Montserrat"/>
                <a:ea typeface="+mn-ea"/>
                <a:cs typeface="+mn-cs"/>
              </a:endParaRPr>
            </a:p>
          </p:txBody>
        </p:sp>
      </p:grpSp>
      <p:sp>
        <p:nvSpPr>
          <p:cNvPr id="21" name="Rectangle 20">
            <a:extLst>
              <a:ext uri="{FF2B5EF4-FFF2-40B4-BE49-F238E27FC236}">
                <a16:creationId xmlns:a16="http://schemas.microsoft.com/office/drawing/2014/main" id="{5875B965-733E-91B4-742C-3316BFF6AACD}"/>
              </a:ext>
            </a:extLst>
          </p:cNvPr>
          <p:cNvSpPr/>
          <p:nvPr/>
        </p:nvSpPr>
        <p:spPr>
          <a:xfrm>
            <a:off x="320723" y="6211284"/>
            <a:ext cx="4045829" cy="25752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800">
                <a:solidFill>
                  <a:sysClr val="windowText" lastClr="000000"/>
                </a:solidFill>
              </a:rPr>
              <a:t>Data Source: CBMA Enterprise Tableau Dashboard.</a:t>
            </a:r>
          </a:p>
        </p:txBody>
      </p:sp>
      <p:pic>
        <p:nvPicPr>
          <p:cNvPr id="5" name="Picture 4">
            <a:extLst>
              <a:ext uri="{FF2B5EF4-FFF2-40B4-BE49-F238E27FC236}">
                <a16:creationId xmlns:a16="http://schemas.microsoft.com/office/drawing/2014/main" id="{232FF6BA-958C-245E-991C-06EE6856B17C}"/>
              </a:ext>
            </a:extLst>
          </p:cNvPr>
          <p:cNvPicPr>
            <a:picLocks noChangeAspect="1"/>
          </p:cNvPicPr>
          <p:nvPr/>
        </p:nvPicPr>
        <p:blipFill>
          <a:blip r:embed="rId6"/>
          <a:stretch>
            <a:fillRect/>
          </a:stretch>
        </p:blipFill>
        <p:spPr>
          <a:xfrm>
            <a:off x="451246" y="892508"/>
            <a:ext cx="11255289" cy="2213253"/>
          </a:xfrm>
          <a:prstGeom prst="rect">
            <a:avLst/>
          </a:prstGeom>
        </p:spPr>
      </p:pic>
      <p:graphicFrame>
        <p:nvGraphicFramePr>
          <p:cNvPr id="2" name="Chart 1">
            <a:extLst>
              <a:ext uri="{FF2B5EF4-FFF2-40B4-BE49-F238E27FC236}">
                <a16:creationId xmlns:a16="http://schemas.microsoft.com/office/drawing/2014/main" id="{07878D99-73AE-8EA9-6C75-01FA0C245655}"/>
              </a:ext>
            </a:extLst>
          </p:cNvPr>
          <p:cNvGraphicFramePr/>
          <p:nvPr/>
        </p:nvGraphicFramePr>
        <p:xfrm>
          <a:off x="8570890" y="3178804"/>
          <a:ext cx="3621110" cy="89760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6" name="Chart 5">
            <a:extLst>
              <a:ext uri="{FF2B5EF4-FFF2-40B4-BE49-F238E27FC236}">
                <a16:creationId xmlns:a16="http://schemas.microsoft.com/office/drawing/2014/main" id="{2351AEB4-7251-606C-A8AA-7DCB30D1A39B}"/>
              </a:ext>
            </a:extLst>
          </p:cNvPr>
          <p:cNvGraphicFramePr/>
          <p:nvPr/>
        </p:nvGraphicFramePr>
        <p:xfrm>
          <a:off x="8580793" y="3657849"/>
          <a:ext cx="3611207" cy="270744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008755201"/>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8718C44-AA0B-5D87-9AD9-DB97FBD7C2C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7" name="think-cell data - do not delete" hidden="1">
                        <a:extLst>
                          <a:ext uri="{FF2B5EF4-FFF2-40B4-BE49-F238E27FC236}">
                            <a16:creationId xmlns:a16="http://schemas.microsoft.com/office/drawing/2014/main" id="{68718C44-AA0B-5D87-9AD9-DB97FBD7C2C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8373D07B-2678-0164-014F-E9DD370807C5}"/>
              </a:ext>
            </a:extLst>
          </p:cNvPr>
          <p:cNvSpPr>
            <a:spLocks noGrp="1"/>
          </p:cNvSpPr>
          <p:nvPr>
            <p:ph type="title"/>
          </p:nvPr>
        </p:nvSpPr>
        <p:spPr/>
        <p:txBody>
          <a:bodyPr vert="horz"/>
          <a:lstStyle/>
          <a:p>
            <a:r>
              <a:rPr lang="en-US"/>
              <a:t>CBM Digital Performance</a:t>
            </a:r>
          </a:p>
        </p:txBody>
      </p:sp>
      <p:sp>
        <p:nvSpPr>
          <p:cNvPr id="9" name="Text Placeholder 8">
            <a:extLst>
              <a:ext uri="{FF2B5EF4-FFF2-40B4-BE49-F238E27FC236}">
                <a16:creationId xmlns:a16="http://schemas.microsoft.com/office/drawing/2014/main" id="{FA7366DE-E3BD-3E04-CA57-EE8EDB85C27C}"/>
              </a:ext>
            </a:extLst>
          </p:cNvPr>
          <p:cNvSpPr>
            <a:spLocks noGrp="1"/>
          </p:cNvSpPr>
          <p:nvPr>
            <p:ph type="body" sz="quarter" idx="25"/>
          </p:nvPr>
        </p:nvSpPr>
        <p:spPr/>
        <p:txBody>
          <a:bodyPr/>
          <a:lstStyle/>
          <a:p>
            <a:r>
              <a:rPr lang="en-US" dirty="0"/>
              <a:t>PER DAY PACING PERFORMANCE &amp; MOM INDEXING</a:t>
            </a:r>
          </a:p>
        </p:txBody>
      </p:sp>
      <p:grpSp>
        <p:nvGrpSpPr>
          <p:cNvPr id="22" name="Group 21">
            <a:extLst>
              <a:ext uri="{FF2B5EF4-FFF2-40B4-BE49-F238E27FC236}">
                <a16:creationId xmlns:a16="http://schemas.microsoft.com/office/drawing/2014/main" id="{1C76371D-642D-7348-EB8C-D9BA45C3D789}"/>
              </a:ext>
            </a:extLst>
          </p:cNvPr>
          <p:cNvGrpSpPr/>
          <p:nvPr/>
        </p:nvGrpSpPr>
        <p:grpSpPr>
          <a:xfrm>
            <a:off x="279583" y="3042208"/>
            <a:ext cx="3828213" cy="3097662"/>
            <a:chOff x="279584" y="2978708"/>
            <a:chExt cx="3611206" cy="3097662"/>
          </a:xfrm>
        </p:grpSpPr>
        <p:sp>
          <p:nvSpPr>
            <p:cNvPr id="10" name="Rectangle 9">
              <a:extLst>
                <a:ext uri="{FF2B5EF4-FFF2-40B4-BE49-F238E27FC236}">
                  <a16:creationId xmlns:a16="http://schemas.microsoft.com/office/drawing/2014/main" id="{A9EE28F0-DB48-8C38-F838-16BA989E4EA7}"/>
                </a:ext>
              </a:extLst>
            </p:cNvPr>
            <p:cNvSpPr/>
            <p:nvPr/>
          </p:nvSpPr>
          <p:spPr>
            <a:xfrm>
              <a:off x="279584" y="3586375"/>
              <a:ext cx="3547862" cy="2489995"/>
            </a:xfrm>
            <a:prstGeom prst="rect">
              <a:avLst/>
            </a:prstGeom>
          </p:spPr>
          <p:style>
            <a:lnRef idx="2">
              <a:schemeClr val="dk1"/>
            </a:lnRef>
            <a:fillRef idx="1">
              <a:schemeClr val="lt1"/>
            </a:fillRef>
            <a:effectRef idx="0">
              <a:schemeClr val="dk1"/>
            </a:effectRef>
            <a:fontRef idx="minor">
              <a:schemeClr val="dk1"/>
            </a:fontRef>
          </p:style>
          <p:txBody>
            <a:bodyPr wrap="square" anchor="t">
              <a:noAutofit/>
            </a:bodyPr>
            <a:lstStyle/>
            <a:p>
              <a:pPr marL="285750" indent="-285750">
                <a:buFont typeface="Arial" panose="020B0604020202020204" pitchFamily="34" charset="0"/>
                <a:buChar char="•"/>
              </a:pPr>
              <a:r>
                <a:rPr lang="en-US" sz="1100" dirty="0">
                  <a:latin typeface="+mn-lt"/>
                </a:rPr>
                <a:t>Lorem ipsum dolor sit </a:t>
              </a:r>
              <a:r>
                <a:rPr lang="en-US" sz="1100" dirty="0" err="1">
                  <a:latin typeface="+mn-lt"/>
                </a:rPr>
                <a:t>amet</a:t>
              </a:r>
              <a:r>
                <a:rPr lang="en-US" sz="1100" dirty="0">
                  <a:latin typeface="+mn-lt"/>
                </a:rPr>
                <a:t>, </a:t>
              </a:r>
              <a:r>
                <a:rPr lang="en-US" sz="1100" dirty="0" err="1">
                  <a:latin typeface="+mn-lt"/>
                </a:rPr>
                <a:t>consectetur</a:t>
              </a:r>
              <a:r>
                <a:rPr lang="en-US" sz="1100" dirty="0">
                  <a:latin typeface="+mn-lt"/>
                </a:rPr>
                <a:t> </a:t>
              </a:r>
              <a:r>
                <a:rPr lang="en-US" sz="1100" dirty="0" err="1">
                  <a:latin typeface="+mn-lt"/>
                </a:rPr>
                <a:t>adipiscing</a:t>
              </a:r>
              <a:r>
                <a:rPr lang="en-US" sz="1100" dirty="0">
                  <a:latin typeface="+mn-lt"/>
                </a:rPr>
                <a:t> </a:t>
              </a:r>
              <a:r>
                <a:rPr lang="en-US" sz="1100" dirty="0" err="1">
                  <a:latin typeface="+mn-lt"/>
                </a:rPr>
                <a:t>elit</a:t>
              </a:r>
              <a:r>
                <a:rPr lang="en-US" sz="1100" dirty="0">
                  <a:latin typeface="+mn-lt"/>
                </a:rPr>
                <a:t>, sed do </a:t>
              </a:r>
              <a:r>
                <a:rPr lang="en-US" sz="1100" dirty="0" err="1">
                  <a:latin typeface="+mn-lt"/>
                </a:rPr>
                <a:t>eiusmod</a:t>
              </a:r>
              <a:r>
                <a:rPr lang="en-US" sz="1100" dirty="0">
                  <a:latin typeface="+mn-lt"/>
                </a:rPr>
                <a:t> </a:t>
              </a:r>
              <a:r>
                <a:rPr lang="en-US" sz="1100" dirty="0" err="1">
                  <a:latin typeface="+mn-lt"/>
                </a:rPr>
                <a:t>tempor</a:t>
              </a:r>
              <a:r>
                <a:rPr lang="en-US" sz="1100" dirty="0">
                  <a:latin typeface="+mn-lt"/>
                </a:rPr>
                <a:t> </a:t>
              </a:r>
              <a:r>
                <a:rPr lang="en-US" sz="1100" dirty="0" err="1">
                  <a:latin typeface="+mn-lt"/>
                </a:rPr>
                <a:t>incididunt</a:t>
              </a:r>
              <a:r>
                <a:rPr lang="en-US" sz="1100" dirty="0">
                  <a:latin typeface="+mn-lt"/>
                </a:rPr>
                <a:t> </a:t>
              </a:r>
              <a:r>
                <a:rPr lang="en-US" sz="1100" dirty="0" err="1">
                  <a:latin typeface="+mn-lt"/>
                </a:rPr>
                <a:t>ut</a:t>
              </a:r>
              <a:r>
                <a:rPr lang="en-US" sz="1100" dirty="0">
                  <a:latin typeface="+mn-lt"/>
                </a:rPr>
                <a:t> labore et dolore magna </a:t>
              </a:r>
              <a:r>
                <a:rPr lang="en-US" sz="1100" dirty="0" err="1">
                  <a:latin typeface="+mn-lt"/>
                </a:rPr>
                <a:t>aliqua</a:t>
              </a:r>
              <a:r>
                <a:rPr lang="en-US" sz="1100" dirty="0">
                  <a:latin typeface="+mn-lt"/>
                </a:rPr>
                <a:t>.</a:t>
              </a:r>
            </a:p>
            <a:p>
              <a:pPr marL="285750" indent="-285750">
                <a:buFont typeface="Arial" panose="020B0604020202020204" pitchFamily="34" charset="0"/>
                <a:buChar char="•"/>
              </a:pPr>
              <a:r>
                <a:rPr lang="en-US" sz="1100" dirty="0">
                  <a:latin typeface="+mn-lt"/>
                </a:rPr>
                <a:t>Ut </a:t>
              </a:r>
              <a:r>
                <a:rPr lang="en-US" sz="1100" dirty="0" err="1">
                  <a:latin typeface="+mn-lt"/>
                </a:rPr>
                <a:t>enim</a:t>
              </a:r>
              <a:r>
                <a:rPr lang="en-US" sz="1100" dirty="0">
                  <a:latin typeface="+mn-lt"/>
                </a:rPr>
                <a:t> ad minim </a:t>
              </a:r>
              <a:r>
                <a:rPr lang="en-US" sz="1100" dirty="0" err="1">
                  <a:latin typeface="+mn-lt"/>
                </a:rPr>
                <a:t>veniam</a:t>
              </a:r>
              <a:r>
                <a:rPr lang="en-US" sz="1100" dirty="0">
                  <a:latin typeface="+mn-lt"/>
                </a:rPr>
                <a:t>, </a:t>
              </a:r>
              <a:r>
                <a:rPr lang="en-US" sz="1100" dirty="0" err="1">
                  <a:latin typeface="+mn-lt"/>
                </a:rPr>
                <a:t>quis</a:t>
              </a:r>
              <a:r>
                <a:rPr lang="en-US" sz="1100" dirty="0">
                  <a:latin typeface="+mn-lt"/>
                </a:rPr>
                <a:t> </a:t>
              </a:r>
              <a:r>
                <a:rPr lang="en-US" sz="1100" dirty="0" err="1">
                  <a:latin typeface="+mn-lt"/>
                </a:rPr>
                <a:t>nostrud</a:t>
              </a:r>
              <a:r>
                <a:rPr lang="en-US" sz="1100" dirty="0">
                  <a:latin typeface="+mn-lt"/>
                </a:rPr>
                <a:t> exercitation </a:t>
              </a:r>
              <a:r>
                <a:rPr lang="en-US" sz="1100" dirty="0" err="1">
                  <a:latin typeface="+mn-lt"/>
                </a:rPr>
                <a:t>ullamco</a:t>
              </a:r>
              <a:r>
                <a:rPr lang="en-US" sz="1100" dirty="0">
                  <a:latin typeface="+mn-lt"/>
                </a:rPr>
                <a:t> </a:t>
              </a:r>
              <a:r>
                <a:rPr lang="en-US" sz="1100" dirty="0" err="1">
                  <a:latin typeface="+mn-lt"/>
                </a:rPr>
                <a:t>laboris</a:t>
              </a:r>
              <a:r>
                <a:rPr lang="en-US" sz="1100" dirty="0">
                  <a:latin typeface="+mn-lt"/>
                </a:rPr>
                <a:t> nisi </a:t>
              </a:r>
              <a:r>
                <a:rPr lang="en-US" sz="1100" dirty="0" err="1">
                  <a:latin typeface="+mn-lt"/>
                </a:rPr>
                <a:t>ut</a:t>
              </a:r>
              <a:r>
                <a:rPr lang="en-US" sz="1100" dirty="0">
                  <a:latin typeface="+mn-lt"/>
                </a:rPr>
                <a:t> </a:t>
              </a:r>
              <a:r>
                <a:rPr lang="en-US" sz="1100" dirty="0" err="1">
                  <a:latin typeface="+mn-lt"/>
                </a:rPr>
                <a:t>aliquip</a:t>
              </a:r>
              <a:r>
                <a:rPr lang="en-US" sz="1100" dirty="0">
                  <a:latin typeface="+mn-lt"/>
                </a:rPr>
                <a:t> ex </a:t>
              </a:r>
              <a:r>
                <a:rPr lang="en-US" sz="1100" dirty="0" err="1">
                  <a:latin typeface="+mn-lt"/>
                </a:rPr>
                <a:t>ea</a:t>
              </a:r>
              <a:r>
                <a:rPr lang="en-US" sz="1100" dirty="0">
                  <a:latin typeface="+mn-lt"/>
                </a:rPr>
                <a:t> </a:t>
              </a:r>
              <a:r>
                <a:rPr lang="en-US" sz="1100" dirty="0" err="1">
                  <a:latin typeface="+mn-lt"/>
                </a:rPr>
                <a:t>commodo</a:t>
              </a:r>
              <a:r>
                <a:rPr lang="en-US" sz="1100" dirty="0">
                  <a:latin typeface="+mn-lt"/>
                </a:rPr>
                <a:t> </a:t>
              </a:r>
              <a:r>
                <a:rPr lang="en-US" sz="1100" dirty="0" err="1">
                  <a:latin typeface="+mn-lt"/>
                </a:rPr>
                <a:t>consequat</a:t>
              </a:r>
              <a:r>
                <a:rPr lang="en-US" sz="1100" dirty="0">
                  <a:latin typeface="+mn-lt"/>
                </a:rPr>
                <a:t>. </a:t>
              </a:r>
            </a:p>
            <a:p>
              <a:pPr marL="285750" indent="-285750">
                <a:buFont typeface="Arial" panose="020B0604020202020204" pitchFamily="34" charset="0"/>
                <a:buChar char="•"/>
              </a:pPr>
              <a:r>
                <a:rPr lang="en-US" sz="1100" dirty="0">
                  <a:latin typeface="+mn-lt"/>
                </a:rPr>
                <a:t>Duis </a:t>
              </a:r>
              <a:r>
                <a:rPr lang="en-US" sz="1100" dirty="0" err="1">
                  <a:latin typeface="+mn-lt"/>
                </a:rPr>
                <a:t>aute</a:t>
              </a:r>
              <a:r>
                <a:rPr lang="en-US" sz="1100" dirty="0">
                  <a:latin typeface="+mn-lt"/>
                </a:rPr>
                <a:t> </a:t>
              </a:r>
              <a:r>
                <a:rPr lang="en-US" sz="1100" dirty="0" err="1">
                  <a:latin typeface="+mn-lt"/>
                </a:rPr>
                <a:t>irure</a:t>
              </a:r>
              <a:r>
                <a:rPr lang="en-US" sz="1100" dirty="0">
                  <a:latin typeface="+mn-lt"/>
                </a:rPr>
                <a:t> dolor in </a:t>
              </a:r>
              <a:r>
                <a:rPr lang="en-US" sz="1100" dirty="0" err="1">
                  <a:latin typeface="+mn-lt"/>
                </a:rPr>
                <a:t>reprehenderit</a:t>
              </a:r>
              <a:r>
                <a:rPr lang="en-US" sz="1100" dirty="0">
                  <a:latin typeface="+mn-lt"/>
                </a:rPr>
                <a:t> in </a:t>
              </a:r>
              <a:r>
                <a:rPr lang="en-US" sz="1100" dirty="0" err="1">
                  <a:latin typeface="+mn-lt"/>
                </a:rPr>
                <a:t>voluptate</a:t>
              </a:r>
              <a:r>
                <a:rPr lang="en-US" sz="1100" dirty="0">
                  <a:latin typeface="+mn-lt"/>
                </a:rPr>
                <a:t> </a:t>
              </a:r>
              <a:r>
                <a:rPr lang="en-US" sz="1100" dirty="0" err="1">
                  <a:latin typeface="+mn-lt"/>
                </a:rPr>
                <a:t>velit</a:t>
              </a:r>
              <a:r>
                <a:rPr lang="en-US" sz="1100" dirty="0">
                  <a:latin typeface="+mn-lt"/>
                </a:rPr>
                <a:t> </a:t>
              </a:r>
              <a:r>
                <a:rPr lang="en-US" sz="1100" dirty="0" err="1">
                  <a:latin typeface="+mn-lt"/>
                </a:rPr>
                <a:t>esse</a:t>
              </a:r>
              <a:r>
                <a:rPr lang="en-US" sz="1100" dirty="0">
                  <a:latin typeface="+mn-lt"/>
                </a:rPr>
                <a:t> </a:t>
              </a:r>
              <a:r>
                <a:rPr lang="en-US" sz="1100" dirty="0" err="1">
                  <a:latin typeface="+mn-lt"/>
                </a:rPr>
                <a:t>cillum</a:t>
              </a:r>
              <a:r>
                <a:rPr lang="en-US" sz="1100" dirty="0">
                  <a:latin typeface="+mn-lt"/>
                </a:rPr>
                <a:t> dolore </a:t>
              </a:r>
              <a:r>
                <a:rPr lang="en-US" sz="1100" dirty="0" err="1">
                  <a:latin typeface="+mn-lt"/>
                </a:rPr>
                <a:t>eu</a:t>
              </a:r>
              <a:r>
                <a:rPr lang="en-US" sz="1100" dirty="0">
                  <a:latin typeface="+mn-lt"/>
                </a:rPr>
                <a:t> </a:t>
              </a:r>
              <a:r>
                <a:rPr lang="en-US" sz="1100" dirty="0" err="1">
                  <a:latin typeface="+mn-lt"/>
                </a:rPr>
                <a:t>fugiat</a:t>
              </a:r>
              <a:r>
                <a:rPr lang="en-US" sz="1100" dirty="0">
                  <a:latin typeface="+mn-lt"/>
                </a:rPr>
                <a:t> </a:t>
              </a:r>
              <a:r>
                <a:rPr lang="en-US" sz="1100" dirty="0" err="1">
                  <a:latin typeface="+mn-lt"/>
                </a:rPr>
                <a:t>nulla</a:t>
              </a:r>
              <a:r>
                <a:rPr lang="en-US" sz="1100" dirty="0">
                  <a:latin typeface="+mn-lt"/>
                </a:rPr>
                <a:t> </a:t>
              </a:r>
              <a:r>
                <a:rPr lang="en-US" sz="1100" dirty="0" err="1">
                  <a:latin typeface="+mn-lt"/>
                </a:rPr>
                <a:t>pariatur</a:t>
              </a:r>
              <a:r>
                <a:rPr lang="en-US" sz="1100" dirty="0">
                  <a:latin typeface="+mn-lt"/>
                </a:rPr>
                <a:t>. </a:t>
              </a:r>
            </a:p>
            <a:p>
              <a:pPr marL="285750" indent="-285750">
                <a:buFont typeface="Arial" panose="020B0604020202020204" pitchFamily="34" charset="0"/>
                <a:buChar char="•"/>
              </a:pPr>
              <a:r>
                <a:rPr lang="en-US" sz="1100" dirty="0" err="1">
                  <a:latin typeface="+mn-lt"/>
                </a:rPr>
                <a:t>Excepteur</a:t>
              </a:r>
              <a:r>
                <a:rPr lang="en-US" sz="1100" dirty="0">
                  <a:latin typeface="+mn-lt"/>
                </a:rPr>
                <a:t> </a:t>
              </a:r>
              <a:r>
                <a:rPr lang="en-US" sz="1100" dirty="0" err="1">
                  <a:latin typeface="+mn-lt"/>
                </a:rPr>
                <a:t>sint</a:t>
              </a:r>
              <a:r>
                <a:rPr lang="en-US" sz="1100" dirty="0">
                  <a:latin typeface="+mn-lt"/>
                </a:rPr>
                <a:t> </a:t>
              </a:r>
              <a:r>
                <a:rPr lang="en-US" sz="1100" dirty="0" err="1">
                  <a:latin typeface="+mn-lt"/>
                </a:rPr>
                <a:t>occaecat</a:t>
              </a:r>
              <a:r>
                <a:rPr lang="en-US" sz="1100" dirty="0">
                  <a:latin typeface="+mn-lt"/>
                </a:rPr>
                <a:t> </a:t>
              </a:r>
              <a:r>
                <a:rPr lang="en-US" sz="1100" dirty="0" err="1">
                  <a:latin typeface="+mn-lt"/>
                </a:rPr>
                <a:t>cupidatat</a:t>
              </a:r>
              <a:r>
                <a:rPr lang="en-US" sz="1100" dirty="0">
                  <a:latin typeface="+mn-lt"/>
                </a:rPr>
                <a:t> non </a:t>
              </a:r>
              <a:r>
                <a:rPr lang="en-US" sz="1100" dirty="0" err="1">
                  <a:latin typeface="+mn-lt"/>
                </a:rPr>
                <a:t>proident</a:t>
              </a:r>
              <a:r>
                <a:rPr lang="en-US" sz="1100" dirty="0">
                  <a:latin typeface="+mn-lt"/>
                </a:rPr>
                <a:t>, sunt in culpa qui </a:t>
              </a:r>
              <a:r>
                <a:rPr lang="en-US" sz="1100" dirty="0" err="1">
                  <a:latin typeface="+mn-lt"/>
                </a:rPr>
                <a:t>officia</a:t>
              </a:r>
              <a:r>
                <a:rPr lang="en-US" sz="1100" dirty="0">
                  <a:latin typeface="+mn-lt"/>
                </a:rPr>
                <a:t> </a:t>
              </a:r>
              <a:r>
                <a:rPr lang="en-US" sz="1100" dirty="0" err="1">
                  <a:latin typeface="+mn-lt"/>
                </a:rPr>
                <a:t>deserunt</a:t>
              </a:r>
              <a:r>
                <a:rPr lang="en-US" sz="1100" dirty="0">
                  <a:latin typeface="+mn-lt"/>
                </a:rPr>
                <a:t> </a:t>
              </a:r>
              <a:r>
                <a:rPr lang="en-US" sz="1100" dirty="0" err="1">
                  <a:latin typeface="+mn-lt"/>
                </a:rPr>
                <a:t>mollit</a:t>
              </a:r>
              <a:r>
                <a:rPr lang="en-US" sz="1100" dirty="0">
                  <a:latin typeface="+mn-lt"/>
                </a:rPr>
                <a:t> </a:t>
              </a:r>
              <a:r>
                <a:rPr lang="en-US" sz="1100" dirty="0" err="1">
                  <a:latin typeface="+mn-lt"/>
                </a:rPr>
                <a:t>anim</a:t>
              </a:r>
              <a:r>
                <a:rPr lang="en-US" sz="1100" dirty="0">
                  <a:latin typeface="+mn-lt"/>
                </a:rPr>
                <a:t> id </a:t>
              </a:r>
              <a:r>
                <a:rPr lang="en-US" sz="1100" dirty="0" err="1">
                  <a:latin typeface="+mn-lt"/>
                </a:rPr>
                <a:t>est</a:t>
              </a:r>
              <a:r>
                <a:rPr lang="en-US" sz="1100" dirty="0">
                  <a:latin typeface="+mn-lt"/>
                </a:rPr>
                <a:t> </a:t>
              </a:r>
              <a:r>
                <a:rPr lang="en-US" sz="1100" dirty="0" err="1">
                  <a:latin typeface="+mn-lt"/>
                </a:rPr>
                <a:t>laborum</a:t>
              </a:r>
              <a:r>
                <a:rPr lang="en-US" sz="1100" dirty="0">
                  <a:latin typeface="+mn-lt"/>
                </a:rPr>
                <a:t>.</a:t>
              </a:r>
              <a:endParaRPr lang="en-US" sz="1100" dirty="0"/>
            </a:p>
          </p:txBody>
        </p:sp>
        <p:sp>
          <p:nvSpPr>
            <p:cNvPr id="11" name="TextBox 10">
              <a:extLst>
                <a:ext uri="{FF2B5EF4-FFF2-40B4-BE49-F238E27FC236}">
                  <a16:creationId xmlns:a16="http://schemas.microsoft.com/office/drawing/2014/main" id="{0D46AB4E-6D16-95C7-90B6-05E21A47B263}"/>
                </a:ext>
              </a:extLst>
            </p:cNvPr>
            <p:cNvSpPr txBox="1"/>
            <p:nvPr/>
          </p:nvSpPr>
          <p:spPr>
            <a:xfrm rot="5400000">
              <a:off x="1850323" y="1407969"/>
              <a:ext cx="469727" cy="3611206"/>
            </a:xfrm>
            <a:prstGeom prst="round2SameRect">
              <a:avLst>
                <a:gd name="adj1" fmla="val 46466"/>
                <a:gd name="adj2" fmla="val 0"/>
              </a:avLst>
            </a:prstGeom>
          </p:spPr>
          <p:style>
            <a:lnRef idx="2">
              <a:schemeClr val="dk1"/>
            </a:lnRef>
            <a:fillRef idx="1">
              <a:schemeClr val="lt1"/>
            </a:fillRef>
            <a:effectRef idx="0">
              <a:schemeClr val="dk1"/>
            </a:effectRef>
            <a:fontRef idx="minor">
              <a:schemeClr val="dk1"/>
            </a:fontRef>
          </p:style>
          <p:txBody>
            <a:bodyPr vert="vert270" wrap="square" lIns="91440" tIns="91440" rIns="91440" bIns="182880" anchor="ctr" anchorCtr="0">
              <a:noAutofit/>
            </a:bodyPr>
            <a:lstStyle/>
            <a:p>
              <a:pPr marL="0" marR="0" lvl="0" indent="0" algn="l" defTabSz="914400" rtl="0" eaLnBrk="0" fontAlgn="base" latinLnBrk="0" hangingPunct="1">
                <a:lnSpc>
                  <a:spcPct val="100000"/>
                </a:lnSpc>
                <a:spcBef>
                  <a:spcPct val="0"/>
                </a:spcBef>
                <a:spcAft>
                  <a:spcPts val="600"/>
                </a:spcAft>
                <a:buClrTx/>
                <a:buSzTx/>
                <a:buFontTx/>
                <a:buNone/>
                <a:tabLst/>
                <a:defRPr/>
              </a:pPr>
              <a:r>
                <a:rPr kumimoji="0" lang="en-US" sz="1800" b="1" i="0" u="none" strike="noStrike" kern="1200" cap="none" spc="0" normalizeH="0" baseline="0" noProof="0">
                  <a:ln>
                    <a:noFill/>
                  </a:ln>
                  <a:solidFill>
                    <a:srgbClr val="112F64"/>
                  </a:solidFill>
                  <a:effectLst/>
                  <a:uLnTx/>
                  <a:uFillTx/>
                  <a:latin typeface="Montserrat"/>
                  <a:ea typeface="+mn-ea"/>
                  <a:cs typeface="+mn-cs"/>
                </a:rPr>
                <a:t>Traffic</a:t>
              </a:r>
            </a:p>
          </p:txBody>
        </p:sp>
      </p:grpSp>
      <p:grpSp>
        <p:nvGrpSpPr>
          <p:cNvPr id="21" name="Group 20">
            <a:extLst>
              <a:ext uri="{FF2B5EF4-FFF2-40B4-BE49-F238E27FC236}">
                <a16:creationId xmlns:a16="http://schemas.microsoft.com/office/drawing/2014/main" id="{2ABC6EF4-CF23-70F3-2E25-EDEA2A1FCED8}"/>
              </a:ext>
            </a:extLst>
          </p:cNvPr>
          <p:cNvGrpSpPr/>
          <p:nvPr/>
        </p:nvGrpSpPr>
        <p:grpSpPr>
          <a:xfrm>
            <a:off x="4295379" y="3042207"/>
            <a:ext cx="3611207" cy="3097663"/>
            <a:chOff x="4295379" y="2978707"/>
            <a:chExt cx="3611207" cy="3097663"/>
          </a:xfrm>
        </p:grpSpPr>
        <p:sp>
          <p:nvSpPr>
            <p:cNvPr id="13" name="Rectangle 12">
              <a:extLst>
                <a:ext uri="{FF2B5EF4-FFF2-40B4-BE49-F238E27FC236}">
                  <a16:creationId xmlns:a16="http://schemas.microsoft.com/office/drawing/2014/main" id="{BA7B584D-1732-9D79-E15A-08BDE8EE6B87}"/>
                </a:ext>
              </a:extLst>
            </p:cNvPr>
            <p:cNvSpPr/>
            <p:nvPr/>
          </p:nvSpPr>
          <p:spPr>
            <a:xfrm>
              <a:off x="4295379" y="3586375"/>
              <a:ext cx="3611206" cy="2489995"/>
            </a:xfrm>
            <a:prstGeom prst="rect">
              <a:avLst/>
            </a:prstGeom>
          </p:spPr>
          <p:style>
            <a:lnRef idx="2">
              <a:schemeClr val="dk1"/>
            </a:lnRef>
            <a:fillRef idx="1">
              <a:schemeClr val="lt1"/>
            </a:fillRef>
            <a:effectRef idx="0">
              <a:schemeClr val="dk1"/>
            </a:effectRef>
            <a:fontRef idx="minor">
              <a:schemeClr val="dk1"/>
            </a:fontRef>
          </p:style>
          <p:txBody>
            <a:bodyPr wrap="square" anchor="t">
              <a:noAutofit/>
            </a:bodyPr>
            <a:lstStyle/>
            <a:p>
              <a:pPr marL="285750" indent="-285750">
                <a:buFont typeface="Arial" panose="020B0604020202020204" pitchFamily="34" charset="0"/>
                <a:buChar char="•"/>
              </a:pPr>
              <a:r>
                <a:rPr lang="en-US" sz="1100" dirty="0">
                  <a:latin typeface="+mn-lt"/>
                </a:rPr>
                <a:t>Lorem ipsum dolor sit </a:t>
              </a:r>
              <a:r>
                <a:rPr lang="en-US" sz="1100" dirty="0" err="1">
                  <a:latin typeface="+mn-lt"/>
                </a:rPr>
                <a:t>amet</a:t>
              </a:r>
              <a:r>
                <a:rPr lang="en-US" sz="1100" dirty="0">
                  <a:latin typeface="+mn-lt"/>
                </a:rPr>
                <a:t>, </a:t>
              </a:r>
              <a:r>
                <a:rPr lang="en-US" sz="1100" dirty="0" err="1">
                  <a:latin typeface="+mn-lt"/>
                </a:rPr>
                <a:t>consectetur</a:t>
              </a:r>
              <a:r>
                <a:rPr lang="en-US" sz="1100" dirty="0">
                  <a:latin typeface="+mn-lt"/>
                </a:rPr>
                <a:t> </a:t>
              </a:r>
              <a:r>
                <a:rPr lang="en-US" sz="1100" dirty="0" err="1">
                  <a:latin typeface="+mn-lt"/>
                </a:rPr>
                <a:t>adipiscing</a:t>
              </a:r>
              <a:r>
                <a:rPr lang="en-US" sz="1100" dirty="0">
                  <a:latin typeface="+mn-lt"/>
                </a:rPr>
                <a:t> </a:t>
              </a:r>
              <a:r>
                <a:rPr lang="en-US" sz="1100" dirty="0" err="1">
                  <a:latin typeface="+mn-lt"/>
                </a:rPr>
                <a:t>elit</a:t>
              </a:r>
              <a:r>
                <a:rPr lang="en-US" sz="1100" dirty="0">
                  <a:latin typeface="+mn-lt"/>
                </a:rPr>
                <a:t>, sed do </a:t>
              </a:r>
              <a:r>
                <a:rPr lang="en-US" sz="1100" dirty="0" err="1">
                  <a:latin typeface="+mn-lt"/>
                </a:rPr>
                <a:t>eiusmod</a:t>
              </a:r>
              <a:r>
                <a:rPr lang="en-US" sz="1100" dirty="0">
                  <a:latin typeface="+mn-lt"/>
                </a:rPr>
                <a:t> </a:t>
              </a:r>
              <a:r>
                <a:rPr lang="en-US" sz="1100" dirty="0" err="1">
                  <a:latin typeface="+mn-lt"/>
                </a:rPr>
                <a:t>tempor</a:t>
              </a:r>
              <a:r>
                <a:rPr lang="en-US" sz="1100" dirty="0">
                  <a:latin typeface="+mn-lt"/>
                </a:rPr>
                <a:t> </a:t>
              </a:r>
              <a:r>
                <a:rPr lang="en-US" sz="1100" dirty="0" err="1">
                  <a:latin typeface="+mn-lt"/>
                </a:rPr>
                <a:t>incididunt</a:t>
              </a:r>
              <a:r>
                <a:rPr lang="en-US" sz="1100" dirty="0">
                  <a:latin typeface="+mn-lt"/>
                </a:rPr>
                <a:t> </a:t>
              </a:r>
              <a:r>
                <a:rPr lang="en-US" sz="1100" dirty="0" err="1">
                  <a:latin typeface="+mn-lt"/>
                </a:rPr>
                <a:t>ut</a:t>
              </a:r>
              <a:r>
                <a:rPr lang="en-US" sz="1100" dirty="0">
                  <a:latin typeface="+mn-lt"/>
                </a:rPr>
                <a:t> labore et dolore magna </a:t>
              </a:r>
              <a:r>
                <a:rPr lang="en-US" sz="1100" dirty="0" err="1">
                  <a:latin typeface="+mn-lt"/>
                </a:rPr>
                <a:t>aliqua</a:t>
              </a:r>
              <a:r>
                <a:rPr lang="en-US" sz="1100" dirty="0">
                  <a:latin typeface="+mn-lt"/>
                </a:rPr>
                <a:t>.</a:t>
              </a:r>
            </a:p>
            <a:p>
              <a:pPr marL="285750" indent="-285750">
                <a:buFont typeface="Arial" panose="020B0604020202020204" pitchFamily="34" charset="0"/>
                <a:buChar char="•"/>
              </a:pPr>
              <a:r>
                <a:rPr lang="en-US" sz="1100" dirty="0">
                  <a:latin typeface="+mn-lt"/>
                </a:rPr>
                <a:t>Ut </a:t>
              </a:r>
              <a:r>
                <a:rPr lang="en-US" sz="1100" dirty="0" err="1">
                  <a:latin typeface="+mn-lt"/>
                </a:rPr>
                <a:t>enim</a:t>
              </a:r>
              <a:r>
                <a:rPr lang="en-US" sz="1100" dirty="0">
                  <a:latin typeface="+mn-lt"/>
                </a:rPr>
                <a:t> ad minim </a:t>
              </a:r>
              <a:r>
                <a:rPr lang="en-US" sz="1100" dirty="0" err="1">
                  <a:latin typeface="+mn-lt"/>
                </a:rPr>
                <a:t>veniam</a:t>
              </a:r>
              <a:r>
                <a:rPr lang="en-US" sz="1100" dirty="0">
                  <a:latin typeface="+mn-lt"/>
                </a:rPr>
                <a:t>, </a:t>
              </a:r>
              <a:r>
                <a:rPr lang="en-US" sz="1100" dirty="0" err="1">
                  <a:latin typeface="+mn-lt"/>
                </a:rPr>
                <a:t>quis</a:t>
              </a:r>
              <a:r>
                <a:rPr lang="en-US" sz="1100" dirty="0">
                  <a:latin typeface="+mn-lt"/>
                </a:rPr>
                <a:t> </a:t>
              </a:r>
              <a:r>
                <a:rPr lang="en-US" sz="1100" dirty="0" err="1">
                  <a:latin typeface="+mn-lt"/>
                </a:rPr>
                <a:t>nostrud</a:t>
              </a:r>
              <a:r>
                <a:rPr lang="en-US" sz="1100" dirty="0">
                  <a:latin typeface="+mn-lt"/>
                </a:rPr>
                <a:t> exercitation </a:t>
              </a:r>
              <a:r>
                <a:rPr lang="en-US" sz="1100" dirty="0" err="1">
                  <a:latin typeface="+mn-lt"/>
                </a:rPr>
                <a:t>ullamco</a:t>
              </a:r>
              <a:r>
                <a:rPr lang="en-US" sz="1100" dirty="0">
                  <a:latin typeface="+mn-lt"/>
                </a:rPr>
                <a:t> </a:t>
              </a:r>
              <a:r>
                <a:rPr lang="en-US" sz="1100" dirty="0" err="1">
                  <a:latin typeface="+mn-lt"/>
                </a:rPr>
                <a:t>laboris</a:t>
              </a:r>
              <a:r>
                <a:rPr lang="en-US" sz="1100" dirty="0">
                  <a:latin typeface="+mn-lt"/>
                </a:rPr>
                <a:t> nisi </a:t>
              </a:r>
              <a:r>
                <a:rPr lang="en-US" sz="1100" dirty="0" err="1">
                  <a:latin typeface="+mn-lt"/>
                </a:rPr>
                <a:t>ut</a:t>
              </a:r>
              <a:r>
                <a:rPr lang="en-US" sz="1100" dirty="0">
                  <a:latin typeface="+mn-lt"/>
                </a:rPr>
                <a:t> </a:t>
              </a:r>
              <a:r>
                <a:rPr lang="en-US" sz="1100" dirty="0" err="1">
                  <a:latin typeface="+mn-lt"/>
                </a:rPr>
                <a:t>aliquip</a:t>
              </a:r>
              <a:r>
                <a:rPr lang="en-US" sz="1100" dirty="0">
                  <a:latin typeface="+mn-lt"/>
                </a:rPr>
                <a:t> ex </a:t>
              </a:r>
              <a:r>
                <a:rPr lang="en-US" sz="1100" dirty="0" err="1">
                  <a:latin typeface="+mn-lt"/>
                </a:rPr>
                <a:t>ea</a:t>
              </a:r>
              <a:r>
                <a:rPr lang="en-US" sz="1100" dirty="0">
                  <a:latin typeface="+mn-lt"/>
                </a:rPr>
                <a:t> </a:t>
              </a:r>
              <a:r>
                <a:rPr lang="en-US" sz="1100" dirty="0" err="1">
                  <a:latin typeface="+mn-lt"/>
                </a:rPr>
                <a:t>commodo</a:t>
              </a:r>
              <a:r>
                <a:rPr lang="en-US" sz="1100" dirty="0">
                  <a:latin typeface="+mn-lt"/>
                </a:rPr>
                <a:t> </a:t>
              </a:r>
              <a:r>
                <a:rPr lang="en-US" sz="1100" dirty="0" err="1">
                  <a:latin typeface="+mn-lt"/>
                </a:rPr>
                <a:t>consequat</a:t>
              </a:r>
              <a:r>
                <a:rPr lang="en-US" sz="1100" dirty="0">
                  <a:latin typeface="+mn-lt"/>
                </a:rPr>
                <a:t>. </a:t>
              </a:r>
            </a:p>
            <a:p>
              <a:pPr marL="285750" indent="-285750">
                <a:buFont typeface="Arial" panose="020B0604020202020204" pitchFamily="34" charset="0"/>
                <a:buChar char="•"/>
              </a:pPr>
              <a:r>
                <a:rPr lang="en-US" sz="1100" dirty="0">
                  <a:latin typeface="+mn-lt"/>
                </a:rPr>
                <a:t>Duis </a:t>
              </a:r>
              <a:r>
                <a:rPr lang="en-US" sz="1100" dirty="0" err="1">
                  <a:latin typeface="+mn-lt"/>
                </a:rPr>
                <a:t>aute</a:t>
              </a:r>
              <a:r>
                <a:rPr lang="en-US" sz="1100" dirty="0">
                  <a:latin typeface="+mn-lt"/>
                </a:rPr>
                <a:t> </a:t>
              </a:r>
              <a:r>
                <a:rPr lang="en-US" sz="1100" dirty="0" err="1">
                  <a:latin typeface="+mn-lt"/>
                </a:rPr>
                <a:t>irure</a:t>
              </a:r>
              <a:r>
                <a:rPr lang="en-US" sz="1100" dirty="0">
                  <a:latin typeface="+mn-lt"/>
                </a:rPr>
                <a:t> dolor in </a:t>
              </a:r>
              <a:r>
                <a:rPr lang="en-US" sz="1100" dirty="0" err="1">
                  <a:latin typeface="+mn-lt"/>
                </a:rPr>
                <a:t>reprehenderit</a:t>
              </a:r>
              <a:r>
                <a:rPr lang="en-US" sz="1100" dirty="0">
                  <a:latin typeface="+mn-lt"/>
                </a:rPr>
                <a:t> in </a:t>
              </a:r>
              <a:r>
                <a:rPr lang="en-US" sz="1100" dirty="0" err="1">
                  <a:latin typeface="+mn-lt"/>
                </a:rPr>
                <a:t>voluptate</a:t>
              </a:r>
              <a:r>
                <a:rPr lang="en-US" sz="1100" dirty="0">
                  <a:latin typeface="+mn-lt"/>
                </a:rPr>
                <a:t> </a:t>
              </a:r>
              <a:r>
                <a:rPr lang="en-US" sz="1100" dirty="0" err="1">
                  <a:latin typeface="+mn-lt"/>
                </a:rPr>
                <a:t>velit</a:t>
              </a:r>
              <a:r>
                <a:rPr lang="en-US" sz="1100" dirty="0">
                  <a:latin typeface="+mn-lt"/>
                </a:rPr>
                <a:t> </a:t>
              </a:r>
              <a:r>
                <a:rPr lang="en-US" sz="1100" dirty="0" err="1">
                  <a:latin typeface="+mn-lt"/>
                </a:rPr>
                <a:t>esse</a:t>
              </a:r>
              <a:r>
                <a:rPr lang="en-US" sz="1100" dirty="0">
                  <a:latin typeface="+mn-lt"/>
                </a:rPr>
                <a:t> </a:t>
              </a:r>
              <a:r>
                <a:rPr lang="en-US" sz="1100" dirty="0" err="1">
                  <a:latin typeface="+mn-lt"/>
                </a:rPr>
                <a:t>cillum</a:t>
              </a:r>
              <a:r>
                <a:rPr lang="en-US" sz="1100" dirty="0">
                  <a:latin typeface="+mn-lt"/>
                </a:rPr>
                <a:t> dolore </a:t>
              </a:r>
              <a:r>
                <a:rPr lang="en-US" sz="1100" dirty="0" err="1">
                  <a:latin typeface="+mn-lt"/>
                </a:rPr>
                <a:t>eu</a:t>
              </a:r>
              <a:r>
                <a:rPr lang="en-US" sz="1100" dirty="0">
                  <a:latin typeface="+mn-lt"/>
                </a:rPr>
                <a:t> </a:t>
              </a:r>
              <a:r>
                <a:rPr lang="en-US" sz="1100" dirty="0" err="1">
                  <a:latin typeface="+mn-lt"/>
                </a:rPr>
                <a:t>fugiat</a:t>
              </a:r>
              <a:r>
                <a:rPr lang="en-US" sz="1100" dirty="0">
                  <a:latin typeface="+mn-lt"/>
                </a:rPr>
                <a:t> </a:t>
              </a:r>
              <a:r>
                <a:rPr lang="en-US" sz="1100" dirty="0" err="1">
                  <a:latin typeface="+mn-lt"/>
                </a:rPr>
                <a:t>nulla</a:t>
              </a:r>
              <a:r>
                <a:rPr lang="en-US" sz="1100" dirty="0">
                  <a:latin typeface="+mn-lt"/>
                </a:rPr>
                <a:t> </a:t>
              </a:r>
              <a:r>
                <a:rPr lang="en-US" sz="1100" dirty="0" err="1">
                  <a:latin typeface="+mn-lt"/>
                </a:rPr>
                <a:t>pariatur</a:t>
              </a:r>
              <a:r>
                <a:rPr lang="en-US" sz="1100" dirty="0">
                  <a:latin typeface="+mn-lt"/>
                </a:rPr>
                <a:t>. </a:t>
              </a:r>
            </a:p>
            <a:p>
              <a:pPr marL="285750" indent="-285750">
                <a:buFont typeface="Arial" panose="020B0604020202020204" pitchFamily="34" charset="0"/>
                <a:buChar char="•"/>
              </a:pPr>
              <a:r>
                <a:rPr lang="en-US" sz="1100" dirty="0" err="1">
                  <a:latin typeface="+mn-lt"/>
                </a:rPr>
                <a:t>Excepteur</a:t>
              </a:r>
              <a:r>
                <a:rPr lang="en-US" sz="1100" dirty="0">
                  <a:latin typeface="+mn-lt"/>
                </a:rPr>
                <a:t> </a:t>
              </a:r>
              <a:r>
                <a:rPr lang="en-US" sz="1100" dirty="0" err="1">
                  <a:latin typeface="+mn-lt"/>
                </a:rPr>
                <a:t>sint</a:t>
              </a:r>
              <a:r>
                <a:rPr lang="en-US" sz="1100" dirty="0">
                  <a:latin typeface="+mn-lt"/>
                </a:rPr>
                <a:t> </a:t>
              </a:r>
              <a:r>
                <a:rPr lang="en-US" sz="1100" dirty="0" err="1">
                  <a:latin typeface="+mn-lt"/>
                </a:rPr>
                <a:t>occaecat</a:t>
              </a:r>
              <a:r>
                <a:rPr lang="en-US" sz="1100" dirty="0">
                  <a:latin typeface="+mn-lt"/>
                </a:rPr>
                <a:t> </a:t>
              </a:r>
              <a:r>
                <a:rPr lang="en-US" sz="1100" dirty="0" err="1">
                  <a:latin typeface="+mn-lt"/>
                </a:rPr>
                <a:t>cupidatat</a:t>
              </a:r>
              <a:r>
                <a:rPr lang="en-US" sz="1100" dirty="0">
                  <a:latin typeface="+mn-lt"/>
                </a:rPr>
                <a:t> non </a:t>
              </a:r>
              <a:r>
                <a:rPr lang="en-US" sz="1100" dirty="0" err="1">
                  <a:latin typeface="+mn-lt"/>
                </a:rPr>
                <a:t>proident</a:t>
              </a:r>
              <a:r>
                <a:rPr lang="en-US" sz="1100" dirty="0">
                  <a:latin typeface="+mn-lt"/>
                </a:rPr>
                <a:t>, sunt in culpa qui </a:t>
              </a:r>
              <a:r>
                <a:rPr lang="en-US" sz="1100" dirty="0" err="1">
                  <a:latin typeface="+mn-lt"/>
                </a:rPr>
                <a:t>officia</a:t>
              </a:r>
              <a:r>
                <a:rPr lang="en-US" sz="1100" dirty="0">
                  <a:latin typeface="+mn-lt"/>
                </a:rPr>
                <a:t> </a:t>
              </a:r>
              <a:r>
                <a:rPr lang="en-US" sz="1100" dirty="0" err="1">
                  <a:latin typeface="+mn-lt"/>
                </a:rPr>
                <a:t>deserunt</a:t>
              </a:r>
              <a:r>
                <a:rPr lang="en-US" sz="1100" dirty="0">
                  <a:latin typeface="+mn-lt"/>
                </a:rPr>
                <a:t> </a:t>
              </a:r>
              <a:r>
                <a:rPr lang="en-US" sz="1100" dirty="0" err="1">
                  <a:latin typeface="+mn-lt"/>
                </a:rPr>
                <a:t>mollit</a:t>
              </a:r>
              <a:r>
                <a:rPr lang="en-US" sz="1100" dirty="0">
                  <a:latin typeface="+mn-lt"/>
                </a:rPr>
                <a:t> </a:t>
              </a:r>
              <a:r>
                <a:rPr lang="en-US" sz="1100" dirty="0" err="1">
                  <a:latin typeface="+mn-lt"/>
                </a:rPr>
                <a:t>anim</a:t>
              </a:r>
              <a:r>
                <a:rPr lang="en-US" sz="1100" dirty="0">
                  <a:latin typeface="+mn-lt"/>
                </a:rPr>
                <a:t> id </a:t>
              </a:r>
              <a:r>
                <a:rPr lang="en-US" sz="1100" dirty="0" err="1">
                  <a:latin typeface="+mn-lt"/>
                </a:rPr>
                <a:t>est</a:t>
              </a:r>
              <a:r>
                <a:rPr lang="en-US" sz="1100" dirty="0">
                  <a:latin typeface="+mn-lt"/>
                </a:rPr>
                <a:t> </a:t>
              </a:r>
              <a:r>
                <a:rPr lang="en-US" sz="1100" dirty="0" err="1">
                  <a:latin typeface="+mn-lt"/>
                </a:rPr>
                <a:t>laborum</a:t>
              </a:r>
              <a:r>
                <a:rPr lang="en-US" sz="1100" dirty="0">
                  <a:latin typeface="+mn-lt"/>
                </a:rPr>
                <a:t>.</a:t>
              </a:r>
              <a:endParaRPr lang="en-US" sz="1100" dirty="0"/>
            </a:p>
            <a:p>
              <a:endParaRPr lang="en-US" sz="1100" dirty="0">
                <a:solidFill>
                  <a:schemeClr val="tx1"/>
                </a:solidFill>
              </a:endParaRPr>
            </a:p>
          </p:txBody>
        </p:sp>
        <p:sp>
          <p:nvSpPr>
            <p:cNvPr id="14" name="TextBox 13">
              <a:extLst>
                <a:ext uri="{FF2B5EF4-FFF2-40B4-BE49-F238E27FC236}">
                  <a16:creationId xmlns:a16="http://schemas.microsoft.com/office/drawing/2014/main" id="{3EA7B43F-D4D0-C2CB-46B6-C253F0D84EFD}"/>
                </a:ext>
              </a:extLst>
            </p:cNvPr>
            <p:cNvSpPr txBox="1"/>
            <p:nvPr/>
          </p:nvSpPr>
          <p:spPr>
            <a:xfrm rot="5400000">
              <a:off x="5866119" y="1407968"/>
              <a:ext cx="469727" cy="3611206"/>
            </a:xfrm>
            <a:prstGeom prst="round2SameRect">
              <a:avLst>
                <a:gd name="adj1" fmla="val 46466"/>
                <a:gd name="adj2" fmla="val 0"/>
              </a:avLst>
            </a:prstGeom>
          </p:spPr>
          <p:style>
            <a:lnRef idx="2">
              <a:schemeClr val="dk1"/>
            </a:lnRef>
            <a:fillRef idx="1">
              <a:schemeClr val="lt1"/>
            </a:fillRef>
            <a:effectRef idx="0">
              <a:schemeClr val="dk1"/>
            </a:effectRef>
            <a:fontRef idx="minor">
              <a:schemeClr val="dk1"/>
            </a:fontRef>
          </p:style>
          <p:txBody>
            <a:bodyPr vert="vert270" wrap="square" lIns="91440" tIns="91440" rIns="91440" bIns="182880" anchor="ctr" anchorCtr="0">
              <a:noAutofit/>
            </a:bodyPr>
            <a:lstStyle/>
            <a:p>
              <a:pPr marL="0" marR="0" lvl="0" indent="0" algn="l" defTabSz="914400" rtl="0" eaLnBrk="0" fontAlgn="base" latinLnBrk="0" hangingPunct="1">
                <a:lnSpc>
                  <a:spcPct val="100000"/>
                </a:lnSpc>
                <a:spcBef>
                  <a:spcPct val="0"/>
                </a:spcBef>
                <a:spcAft>
                  <a:spcPts val="600"/>
                </a:spcAft>
                <a:buClrTx/>
                <a:buSzTx/>
                <a:buFontTx/>
                <a:buNone/>
                <a:tabLst/>
                <a:defRPr/>
              </a:pPr>
              <a:r>
                <a:rPr lang="en-US" b="1" dirty="0">
                  <a:solidFill>
                    <a:srgbClr val="112F64"/>
                  </a:solidFill>
                  <a:latin typeface="Montserrat"/>
                </a:rPr>
                <a:t>Demand</a:t>
              </a:r>
              <a:endParaRPr kumimoji="0" lang="en-US" sz="1800" b="1" i="0" u="none" strike="noStrike" kern="1200" cap="none" spc="0" normalizeH="0" baseline="0" noProof="0" dirty="0">
                <a:ln>
                  <a:noFill/>
                </a:ln>
                <a:solidFill>
                  <a:srgbClr val="112F64"/>
                </a:solidFill>
                <a:effectLst/>
                <a:uLnTx/>
                <a:uFillTx/>
                <a:latin typeface="Montserrat"/>
                <a:ea typeface="+mn-ea"/>
                <a:cs typeface="+mn-cs"/>
              </a:endParaRPr>
            </a:p>
          </p:txBody>
        </p:sp>
      </p:grpSp>
      <p:grpSp>
        <p:nvGrpSpPr>
          <p:cNvPr id="23" name="Group 22">
            <a:extLst>
              <a:ext uri="{FF2B5EF4-FFF2-40B4-BE49-F238E27FC236}">
                <a16:creationId xmlns:a16="http://schemas.microsoft.com/office/drawing/2014/main" id="{EC0244CB-7E6A-1785-C2A9-8148B825328F}"/>
              </a:ext>
            </a:extLst>
          </p:cNvPr>
          <p:cNvGrpSpPr/>
          <p:nvPr/>
        </p:nvGrpSpPr>
        <p:grpSpPr>
          <a:xfrm>
            <a:off x="8301210" y="3042209"/>
            <a:ext cx="3621173" cy="3091499"/>
            <a:chOff x="8301210" y="2978709"/>
            <a:chExt cx="3621173" cy="3091499"/>
          </a:xfrm>
        </p:grpSpPr>
        <p:sp>
          <p:nvSpPr>
            <p:cNvPr id="16" name="Rectangle 15">
              <a:extLst>
                <a:ext uri="{FF2B5EF4-FFF2-40B4-BE49-F238E27FC236}">
                  <a16:creationId xmlns:a16="http://schemas.microsoft.com/office/drawing/2014/main" id="{D1B8A12F-2B84-573C-814E-816149ED7DEC}"/>
                </a:ext>
              </a:extLst>
            </p:cNvPr>
            <p:cNvSpPr/>
            <p:nvPr/>
          </p:nvSpPr>
          <p:spPr>
            <a:xfrm>
              <a:off x="8301210" y="3586005"/>
              <a:ext cx="3611206" cy="2484203"/>
            </a:xfrm>
            <a:prstGeom prst="rect">
              <a:avLst/>
            </a:prstGeom>
          </p:spPr>
          <p:style>
            <a:lnRef idx="2">
              <a:schemeClr val="dk1"/>
            </a:lnRef>
            <a:fillRef idx="1">
              <a:schemeClr val="lt1"/>
            </a:fillRef>
            <a:effectRef idx="0">
              <a:schemeClr val="dk1"/>
            </a:effectRef>
            <a:fontRef idx="minor">
              <a:schemeClr val="dk1"/>
            </a:fontRef>
          </p:style>
          <p:txBody>
            <a:bodyPr wrap="square" anchor="t" anchorCtr="0">
              <a:noAutofit/>
            </a:bodyPr>
            <a:lstStyle/>
            <a:p>
              <a:pPr marL="285750" indent="-285750">
                <a:buFont typeface="Arial" panose="020B0604020202020204" pitchFamily="34" charset="0"/>
                <a:buChar char="•"/>
              </a:pPr>
              <a:r>
                <a:rPr lang="en-US" sz="1100" dirty="0">
                  <a:latin typeface="+mn-lt"/>
                </a:rPr>
                <a:t>Lorem ipsum dolor sit </a:t>
              </a:r>
              <a:r>
                <a:rPr lang="en-US" sz="1100" dirty="0" err="1">
                  <a:latin typeface="+mn-lt"/>
                </a:rPr>
                <a:t>amet</a:t>
              </a:r>
              <a:r>
                <a:rPr lang="en-US" sz="1100" dirty="0">
                  <a:latin typeface="+mn-lt"/>
                </a:rPr>
                <a:t>, </a:t>
              </a:r>
              <a:r>
                <a:rPr lang="en-US" sz="1100" dirty="0" err="1">
                  <a:latin typeface="+mn-lt"/>
                </a:rPr>
                <a:t>consectetur</a:t>
              </a:r>
              <a:r>
                <a:rPr lang="en-US" sz="1100" dirty="0">
                  <a:latin typeface="+mn-lt"/>
                </a:rPr>
                <a:t> </a:t>
              </a:r>
              <a:r>
                <a:rPr lang="en-US" sz="1100" dirty="0" err="1">
                  <a:latin typeface="+mn-lt"/>
                </a:rPr>
                <a:t>adipiscing</a:t>
              </a:r>
              <a:r>
                <a:rPr lang="en-US" sz="1100" dirty="0">
                  <a:latin typeface="+mn-lt"/>
                </a:rPr>
                <a:t> </a:t>
              </a:r>
              <a:r>
                <a:rPr lang="en-US" sz="1100" dirty="0" err="1">
                  <a:latin typeface="+mn-lt"/>
                </a:rPr>
                <a:t>elit</a:t>
              </a:r>
              <a:r>
                <a:rPr lang="en-US" sz="1100" dirty="0">
                  <a:latin typeface="+mn-lt"/>
                </a:rPr>
                <a:t>, sed do </a:t>
              </a:r>
              <a:r>
                <a:rPr lang="en-US" sz="1100" dirty="0" err="1">
                  <a:latin typeface="+mn-lt"/>
                </a:rPr>
                <a:t>eiusmod</a:t>
              </a:r>
              <a:r>
                <a:rPr lang="en-US" sz="1100" dirty="0">
                  <a:latin typeface="+mn-lt"/>
                </a:rPr>
                <a:t> </a:t>
              </a:r>
              <a:r>
                <a:rPr lang="en-US" sz="1100" dirty="0" err="1">
                  <a:latin typeface="+mn-lt"/>
                </a:rPr>
                <a:t>tempor</a:t>
              </a:r>
              <a:r>
                <a:rPr lang="en-US" sz="1100" dirty="0">
                  <a:latin typeface="+mn-lt"/>
                </a:rPr>
                <a:t> </a:t>
              </a:r>
              <a:r>
                <a:rPr lang="en-US" sz="1100" dirty="0" err="1">
                  <a:latin typeface="+mn-lt"/>
                </a:rPr>
                <a:t>incididunt</a:t>
              </a:r>
              <a:r>
                <a:rPr lang="en-US" sz="1100" dirty="0">
                  <a:latin typeface="+mn-lt"/>
                </a:rPr>
                <a:t> </a:t>
              </a:r>
              <a:r>
                <a:rPr lang="en-US" sz="1100" dirty="0" err="1">
                  <a:latin typeface="+mn-lt"/>
                </a:rPr>
                <a:t>ut</a:t>
              </a:r>
              <a:r>
                <a:rPr lang="en-US" sz="1100" dirty="0">
                  <a:latin typeface="+mn-lt"/>
                </a:rPr>
                <a:t> labore et dolore magna </a:t>
              </a:r>
              <a:r>
                <a:rPr lang="en-US" sz="1100" dirty="0" err="1">
                  <a:latin typeface="+mn-lt"/>
                </a:rPr>
                <a:t>aliqua</a:t>
              </a:r>
              <a:r>
                <a:rPr lang="en-US" sz="1100" dirty="0">
                  <a:latin typeface="+mn-lt"/>
                </a:rPr>
                <a:t>.</a:t>
              </a:r>
            </a:p>
            <a:p>
              <a:pPr marL="285750" indent="-285750">
                <a:buFont typeface="Arial" panose="020B0604020202020204" pitchFamily="34" charset="0"/>
                <a:buChar char="•"/>
              </a:pPr>
              <a:r>
                <a:rPr lang="en-US" sz="1100" dirty="0">
                  <a:latin typeface="+mn-lt"/>
                </a:rPr>
                <a:t>Ut </a:t>
              </a:r>
              <a:r>
                <a:rPr lang="en-US" sz="1100" dirty="0" err="1">
                  <a:latin typeface="+mn-lt"/>
                </a:rPr>
                <a:t>enim</a:t>
              </a:r>
              <a:r>
                <a:rPr lang="en-US" sz="1100" dirty="0">
                  <a:latin typeface="+mn-lt"/>
                </a:rPr>
                <a:t> ad minim </a:t>
              </a:r>
              <a:r>
                <a:rPr lang="en-US" sz="1100" dirty="0" err="1">
                  <a:latin typeface="+mn-lt"/>
                </a:rPr>
                <a:t>veniam</a:t>
              </a:r>
              <a:r>
                <a:rPr lang="en-US" sz="1100" dirty="0">
                  <a:latin typeface="+mn-lt"/>
                </a:rPr>
                <a:t>, </a:t>
              </a:r>
              <a:r>
                <a:rPr lang="en-US" sz="1100" dirty="0" err="1">
                  <a:latin typeface="+mn-lt"/>
                </a:rPr>
                <a:t>quis</a:t>
              </a:r>
              <a:r>
                <a:rPr lang="en-US" sz="1100" dirty="0">
                  <a:latin typeface="+mn-lt"/>
                </a:rPr>
                <a:t> </a:t>
              </a:r>
              <a:r>
                <a:rPr lang="en-US" sz="1100" dirty="0" err="1">
                  <a:latin typeface="+mn-lt"/>
                </a:rPr>
                <a:t>nostrud</a:t>
              </a:r>
              <a:r>
                <a:rPr lang="en-US" sz="1100" dirty="0">
                  <a:latin typeface="+mn-lt"/>
                </a:rPr>
                <a:t> exercitation </a:t>
              </a:r>
              <a:r>
                <a:rPr lang="en-US" sz="1100" dirty="0" err="1">
                  <a:latin typeface="+mn-lt"/>
                </a:rPr>
                <a:t>ullamco</a:t>
              </a:r>
              <a:r>
                <a:rPr lang="en-US" sz="1100" dirty="0">
                  <a:latin typeface="+mn-lt"/>
                </a:rPr>
                <a:t> </a:t>
              </a:r>
              <a:r>
                <a:rPr lang="en-US" sz="1100" dirty="0" err="1">
                  <a:latin typeface="+mn-lt"/>
                </a:rPr>
                <a:t>laboris</a:t>
              </a:r>
              <a:r>
                <a:rPr lang="en-US" sz="1100" dirty="0">
                  <a:latin typeface="+mn-lt"/>
                </a:rPr>
                <a:t> nisi </a:t>
              </a:r>
              <a:r>
                <a:rPr lang="en-US" sz="1100" dirty="0" err="1">
                  <a:latin typeface="+mn-lt"/>
                </a:rPr>
                <a:t>ut</a:t>
              </a:r>
              <a:r>
                <a:rPr lang="en-US" sz="1100" dirty="0">
                  <a:latin typeface="+mn-lt"/>
                </a:rPr>
                <a:t> </a:t>
              </a:r>
              <a:r>
                <a:rPr lang="en-US" sz="1100" dirty="0" err="1">
                  <a:latin typeface="+mn-lt"/>
                </a:rPr>
                <a:t>aliquip</a:t>
              </a:r>
              <a:r>
                <a:rPr lang="en-US" sz="1100" dirty="0">
                  <a:latin typeface="+mn-lt"/>
                </a:rPr>
                <a:t> ex </a:t>
              </a:r>
              <a:r>
                <a:rPr lang="en-US" sz="1100" dirty="0" err="1">
                  <a:latin typeface="+mn-lt"/>
                </a:rPr>
                <a:t>ea</a:t>
              </a:r>
              <a:r>
                <a:rPr lang="en-US" sz="1100" dirty="0">
                  <a:latin typeface="+mn-lt"/>
                </a:rPr>
                <a:t> </a:t>
              </a:r>
              <a:r>
                <a:rPr lang="en-US" sz="1100" dirty="0" err="1">
                  <a:latin typeface="+mn-lt"/>
                </a:rPr>
                <a:t>commodo</a:t>
              </a:r>
              <a:r>
                <a:rPr lang="en-US" sz="1100" dirty="0">
                  <a:latin typeface="+mn-lt"/>
                </a:rPr>
                <a:t> </a:t>
              </a:r>
              <a:r>
                <a:rPr lang="en-US" sz="1100" dirty="0" err="1">
                  <a:latin typeface="+mn-lt"/>
                </a:rPr>
                <a:t>consequat</a:t>
              </a:r>
              <a:r>
                <a:rPr lang="en-US" sz="1100" dirty="0">
                  <a:latin typeface="+mn-lt"/>
                </a:rPr>
                <a:t>. </a:t>
              </a:r>
            </a:p>
            <a:p>
              <a:pPr marL="285750" indent="-285750">
                <a:buFont typeface="Arial" panose="020B0604020202020204" pitchFamily="34" charset="0"/>
                <a:buChar char="•"/>
              </a:pPr>
              <a:r>
                <a:rPr lang="en-US" sz="1100" dirty="0">
                  <a:latin typeface="+mn-lt"/>
                </a:rPr>
                <a:t>Duis </a:t>
              </a:r>
              <a:r>
                <a:rPr lang="en-US" sz="1100" dirty="0" err="1">
                  <a:latin typeface="+mn-lt"/>
                </a:rPr>
                <a:t>aute</a:t>
              </a:r>
              <a:r>
                <a:rPr lang="en-US" sz="1100" dirty="0">
                  <a:latin typeface="+mn-lt"/>
                </a:rPr>
                <a:t> </a:t>
              </a:r>
              <a:r>
                <a:rPr lang="en-US" sz="1100" dirty="0" err="1">
                  <a:latin typeface="+mn-lt"/>
                </a:rPr>
                <a:t>irure</a:t>
              </a:r>
              <a:r>
                <a:rPr lang="en-US" sz="1100" dirty="0">
                  <a:latin typeface="+mn-lt"/>
                </a:rPr>
                <a:t> dolor in </a:t>
              </a:r>
              <a:r>
                <a:rPr lang="en-US" sz="1100" dirty="0" err="1">
                  <a:latin typeface="+mn-lt"/>
                </a:rPr>
                <a:t>reprehenderit</a:t>
              </a:r>
              <a:r>
                <a:rPr lang="en-US" sz="1100" dirty="0">
                  <a:latin typeface="+mn-lt"/>
                </a:rPr>
                <a:t> in </a:t>
              </a:r>
              <a:r>
                <a:rPr lang="en-US" sz="1100" dirty="0" err="1">
                  <a:latin typeface="+mn-lt"/>
                </a:rPr>
                <a:t>voluptate</a:t>
              </a:r>
              <a:r>
                <a:rPr lang="en-US" sz="1100" dirty="0">
                  <a:latin typeface="+mn-lt"/>
                </a:rPr>
                <a:t> </a:t>
              </a:r>
              <a:r>
                <a:rPr lang="en-US" sz="1100" dirty="0" err="1">
                  <a:latin typeface="+mn-lt"/>
                </a:rPr>
                <a:t>velit</a:t>
              </a:r>
              <a:r>
                <a:rPr lang="en-US" sz="1100" dirty="0">
                  <a:latin typeface="+mn-lt"/>
                </a:rPr>
                <a:t> </a:t>
              </a:r>
              <a:r>
                <a:rPr lang="en-US" sz="1100" dirty="0" err="1">
                  <a:latin typeface="+mn-lt"/>
                </a:rPr>
                <a:t>esse</a:t>
              </a:r>
              <a:r>
                <a:rPr lang="en-US" sz="1100" dirty="0">
                  <a:latin typeface="+mn-lt"/>
                </a:rPr>
                <a:t> </a:t>
              </a:r>
              <a:r>
                <a:rPr lang="en-US" sz="1100" dirty="0" err="1">
                  <a:latin typeface="+mn-lt"/>
                </a:rPr>
                <a:t>cillum</a:t>
              </a:r>
              <a:r>
                <a:rPr lang="en-US" sz="1100" dirty="0">
                  <a:latin typeface="+mn-lt"/>
                </a:rPr>
                <a:t> dolore </a:t>
              </a:r>
              <a:r>
                <a:rPr lang="en-US" sz="1100" dirty="0" err="1">
                  <a:latin typeface="+mn-lt"/>
                </a:rPr>
                <a:t>eu</a:t>
              </a:r>
              <a:r>
                <a:rPr lang="en-US" sz="1100" dirty="0">
                  <a:latin typeface="+mn-lt"/>
                </a:rPr>
                <a:t> </a:t>
              </a:r>
              <a:r>
                <a:rPr lang="en-US" sz="1100" dirty="0" err="1">
                  <a:latin typeface="+mn-lt"/>
                </a:rPr>
                <a:t>fugiat</a:t>
              </a:r>
              <a:r>
                <a:rPr lang="en-US" sz="1100" dirty="0">
                  <a:latin typeface="+mn-lt"/>
                </a:rPr>
                <a:t> </a:t>
              </a:r>
              <a:r>
                <a:rPr lang="en-US" sz="1100" dirty="0" err="1">
                  <a:latin typeface="+mn-lt"/>
                </a:rPr>
                <a:t>nulla</a:t>
              </a:r>
              <a:r>
                <a:rPr lang="en-US" sz="1100" dirty="0">
                  <a:latin typeface="+mn-lt"/>
                </a:rPr>
                <a:t> </a:t>
              </a:r>
              <a:r>
                <a:rPr lang="en-US" sz="1100" dirty="0" err="1">
                  <a:latin typeface="+mn-lt"/>
                </a:rPr>
                <a:t>pariatur</a:t>
              </a:r>
              <a:r>
                <a:rPr lang="en-US" sz="1100" dirty="0">
                  <a:latin typeface="+mn-lt"/>
                </a:rPr>
                <a:t>. </a:t>
              </a:r>
            </a:p>
            <a:p>
              <a:pPr marL="285750" indent="-285750">
                <a:buFont typeface="Arial" panose="020B0604020202020204" pitchFamily="34" charset="0"/>
                <a:buChar char="•"/>
              </a:pPr>
              <a:r>
                <a:rPr lang="en-US" sz="1100" dirty="0" err="1">
                  <a:latin typeface="+mn-lt"/>
                </a:rPr>
                <a:t>Excepteur</a:t>
              </a:r>
              <a:r>
                <a:rPr lang="en-US" sz="1100" dirty="0">
                  <a:latin typeface="+mn-lt"/>
                </a:rPr>
                <a:t> </a:t>
              </a:r>
              <a:r>
                <a:rPr lang="en-US" sz="1100" dirty="0" err="1">
                  <a:latin typeface="+mn-lt"/>
                </a:rPr>
                <a:t>sint</a:t>
              </a:r>
              <a:r>
                <a:rPr lang="en-US" sz="1100" dirty="0">
                  <a:latin typeface="+mn-lt"/>
                </a:rPr>
                <a:t> </a:t>
              </a:r>
              <a:r>
                <a:rPr lang="en-US" sz="1100" dirty="0" err="1">
                  <a:latin typeface="+mn-lt"/>
                </a:rPr>
                <a:t>occaecat</a:t>
              </a:r>
              <a:r>
                <a:rPr lang="en-US" sz="1100" dirty="0">
                  <a:latin typeface="+mn-lt"/>
                </a:rPr>
                <a:t> </a:t>
              </a:r>
              <a:r>
                <a:rPr lang="en-US" sz="1100" dirty="0" err="1">
                  <a:latin typeface="+mn-lt"/>
                </a:rPr>
                <a:t>cupidatat</a:t>
              </a:r>
              <a:r>
                <a:rPr lang="en-US" sz="1100" dirty="0">
                  <a:latin typeface="+mn-lt"/>
                </a:rPr>
                <a:t> non </a:t>
              </a:r>
              <a:r>
                <a:rPr lang="en-US" sz="1100" dirty="0" err="1">
                  <a:latin typeface="+mn-lt"/>
                </a:rPr>
                <a:t>proident</a:t>
              </a:r>
              <a:r>
                <a:rPr lang="en-US" sz="1100" dirty="0">
                  <a:latin typeface="+mn-lt"/>
                </a:rPr>
                <a:t>, sunt in culpa qui </a:t>
              </a:r>
              <a:r>
                <a:rPr lang="en-US" sz="1100" dirty="0" err="1">
                  <a:latin typeface="+mn-lt"/>
                </a:rPr>
                <a:t>officia</a:t>
              </a:r>
              <a:r>
                <a:rPr lang="en-US" sz="1100" dirty="0">
                  <a:latin typeface="+mn-lt"/>
                </a:rPr>
                <a:t> </a:t>
              </a:r>
              <a:r>
                <a:rPr lang="en-US" sz="1100" dirty="0" err="1">
                  <a:latin typeface="+mn-lt"/>
                </a:rPr>
                <a:t>deserunt</a:t>
              </a:r>
              <a:r>
                <a:rPr lang="en-US" sz="1100" dirty="0">
                  <a:latin typeface="+mn-lt"/>
                </a:rPr>
                <a:t> </a:t>
              </a:r>
              <a:r>
                <a:rPr lang="en-US" sz="1100" dirty="0" err="1">
                  <a:latin typeface="+mn-lt"/>
                </a:rPr>
                <a:t>mollit</a:t>
              </a:r>
              <a:r>
                <a:rPr lang="en-US" sz="1100" dirty="0">
                  <a:latin typeface="+mn-lt"/>
                </a:rPr>
                <a:t> </a:t>
              </a:r>
              <a:r>
                <a:rPr lang="en-US" sz="1100" dirty="0" err="1">
                  <a:latin typeface="+mn-lt"/>
                </a:rPr>
                <a:t>anim</a:t>
              </a:r>
              <a:r>
                <a:rPr lang="en-US" sz="1100" dirty="0">
                  <a:latin typeface="+mn-lt"/>
                </a:rPr>
                <a:t> id </a:t>
              </a:r>
              <a:r>
                <a:rPr lang="en-US" sz="1100" dirty="0" err="1">
                  <a:latin typeface="+mn-lt"/>
                </a:rPr>
                <a:t>est</a:t>
              </a:r>
              <a:r>
                <a:rPr lang="en-US" sz="1100" dirty="0">
                  <a:latin typeface="+mn-lt"/>
                </a:rPr>
                <a:t> </a:t>
              </a:r>
              <a:r>
                <a:rPr lang="en-US" sz="1100" dirty="0" err="1">
                  <a:latin typeface="+mn-lt"/>
                </a:rPr>
                <a:t>laborum</a:t>
              </a:r>
              <a:r>
                <a:rPr lang="en-US" sz="1100" dirty="0">
                  <a:latin typeface="+mn-lt"/>
                </a:rPr>
                <a:t>.</a:t>
              </a:r>
              <a:endParaRPr lang="en-US" sz="1100" dirty="0"/>
            </a:p>
            <a:p>
              <a:endParaRPr lang="en-US" sz="1100" dirty="0">
                <a:latin typeface="+mn-lt"/>
              </a:endParaRPr>
            </a:p>
            <a:p>
              <a:pPr marL="171450" indent="-171450">
                <a:buFont typeface="Arial" panose="020B0604020202020204" pitchFamily="34" charset="0"/>
                <a:buChar char="•"/>
              </a:pPr>
              <a:endParaRPr lang="en-US" sz="1100" dirty="0"/>
            </a:p>
            <a:p>
              <a:pPr marL="171450" indent="-171450">
                <a:buFont typeface="Arial" panose="020B0604020202020204" pitchFamily="34" charset="0"/>
                <a:buChar char="•"/>
              </a:pPr>
              <a:endParaRPr lang="en-US" sz="1100" dirty="0"/>
            </a:p>
            <a:p>
              <a:pPr marL="171450" indent="-171450">
                <a:buFont typeface="Arial" panose="020B0604020202020204" pitchFamily="34" charset="0"/>
                <a:buChar char="•"/>
              </a:pPr>
              <a:endParaRPr lang="en-US" sz="1100" dirty="0">
                <a:latin typeface="+mn-lt"/>
              </a:endParaRPr>
            </a:p>
            <a:p>
              <a:pPr marL="171450" indent="-171450">
                <a:buFont typeface="Arial" panose="020B0604020202020204" pitchFamily="34" charset="0"/>
                <a:buChar char="•"/>
              </a:pPr>
              <a:endParaRPr lang="en-US" sz="1100" dirty="0"/>
            </a:p>
            <a:p>
              <a:pPr marL="171450" indent="-171450">
                <a:buFont typeface="Arial" panose="020B0604020202020204" pitchFamily="34" charset="0"/>
                <a:buChar char="•"/>
              </a:pPr>
              <a:endParaRPr lang="en-US" sz="1100" dirty="0">
                <a:latin typeface="+mn-lt"/>
              </a:endParaRPr>
            </a:p>
            <a:p>
              <a:pPr marL="171450" indent="-171450">
                <a:buFont typeface="Arial" panose="020B0604020202020204" pitchFamily="34" charset="0"/>
                <a:buChar char="•"/>
              </a:pPr>
              <a:endParaRPr lang="en-US" sz="1100" dirty="0"/>
            </a:p>
          </p:txBody>
        </p:sp>
        <p:sp>
          <p:nvSpPr>
            <p:cNvPr id="17" name="TextBox 16">
              <a:extLst>
                <a:ext uri="{FF2B5EF4-FFF2-40B4-BE49-F238E27FC236}">
                  <a16:creationId xmlns:a16="http://schemas.microsoft.com/office/drawing/2014/main" id="{8984D478-E30D-45D1-9E47-88DE9B44E9E5}"/>
                </a:ext>
              </a:extLst>
            </p:cNvPr>
            <p:cNvSpPr txBox="1"/>
            <p:nvPr/>
          </p:nvSpPr>
          <p:spPr>
            <a:xfrm rot="5400000">
              <a:off x="9881916" y="1407970"/>
              <a:ext cx="469728" cy="3611206"/>
            </a:xfrm>
            <a:prstGeom prst="round2SameRect">
              <a:avLst>
                <a:gd name="adj1" fmla="val 46466"/>
                <a:gd name="adj2" fmla="val 0"/>
              </a:avLst>
            </a:prstGeom>
          </p:spPr>
          <p:style>
            <a:lnRef idx="2">
              <a:schemeClr val="dk1"/>
            </a:lnRef>
            <a:fillRef idx="1">
              <a:schemeClr val="lt1"/>
            </a:fillRef>
            <a:effectRef idx="0">
              <a:schemeClr val="dk1"/>
            </a:effectRef>
            <a:fontRef idx="minor">
              <a:schemeClr val="dk1"/>
            </a:fontRef>
          </p:style>
          <p:txBody>
            <a:bodyPr vert="vert270" wrap="square" lIns="91440" tIns="91440" rIns="91440" bIns="182880" anchor="ctr" anchorCtr="0">
              <a:noAutofit/>
            </a:bodyPr>
            <a:lstStyle/>
            <a:p>
              <a:pPr eaLnBrk="0" fontAlgn="base">
                <a:spcBef>
                  <a:spcPct val="0"/>
                </a:spcBef>
                <a:spcAft>
                  <a:spcPts val="600"/>
                </a:spcAft>
                <a:defRPr/>
              </a:pPr>
              <a:r>
                <a:rPr lang="en-US" b="1" dirty="0">
                  <a:solidFill>
                    <a:srgbClr val="112F64"/>
                  </a:solidFill>
                  <a:latin typeface="Montserrat"/>
                </a:rPr>
                <a:t>Sales</a:t>
              </a:r>
            </a:p>
          </p:txBody>
        </p:sp>
      </p:grpSp>
      <p:sp>
        <p:nvSpPr>
          <p:cNvPr id="18" name="Rectangle 17">
            <a:extLst>
              <a:ext uri="{FF2B5EF4-FFF2-40B4-BE49-F238E27FC236}">
                <a16:creationId xmlns:a16="http://schemas.microsoft.com/office/drawing/2014/main" id="{B412956B-34E7-BFBB-DCE5-AB26EFAAB090}"/>
              </a:ext>
            </a:extLst>
          </p:cNvPr>
          <p:cNvSpPr/>
          <p:nvPr/>
        </p:nvSpPr>
        <p:spPr>
          <a:xfrm>
            <a:off x="385588" y="6214310"/>
            <a:ext cx="4045829" cy="25752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800">
                <a:solidFill>
                  <a:sysClr val="windowText" lastClr="000000"/>
                </a:solidFill>
              </a:rPr>
              <a:t>Data Source: Adobe Analytics &amp; CBM Sales Operations official reports</a:t>
            </a:r>
            <a:r>
              <a:rPr lang="en-US" sz="800" dirty="0">
                <a:solidFill>
                  <a:sysClr val="windowText" lastClr="000000"/>
                </a:solidFill>
              </a:rPr>
              <a:t>.</a:t>
            </a:r>
          </a:p>
        </p:txBody>
      </p:sp>
      <p:graphicFrame>
        <p:nvGraphicFramePr>
          <p:cNvPr id="2" name="Table 1">
            <a:extLst>
              <a:ext uri="{FF2B5EF4-FFF2-40B4-BE49-F238E27FC236}">
                <a16:creationId xmlns:a16="http://schemas.microsoft.com/office/drawing/2014/main" id="{3F852D59-E703-FCA6-210D-46709502A02C}"/>
              </a:ext>
            </a:extLst>
          </p:cNvPr>
          <p:cNvGraphicFramePr>
            <a:graphicFrameLocks noGrp="1"/>
          </p:cNvGraphicFramePr>
          <p:nvPr/>
        </p:nvGraphicFramePr>
        <p:xfrm>
          <a:off x="309800" y="980992"/>
          <a:ext cx="11458835" cy="1808285"/>
        </p:xfrm>
        <a:graphic>
          <a:graphicData uri="http://schemas.openxmlformats.org/drawingml/2006/table">
            <a:tbl>
              <a:tblPr/>
              <a:tblGrid>
                <a:gridCol w="1277631">
                  <a:extLst>
                    <a:ext uri="{9D8B030D-6E8A-4147-A177-3AD203B41FA5}">
                      <a16:colId xmlns:a16="http://schemas.microsoft.com/office/drawing/2014/main" val="2353769120"/>
                    </a:ext>
                  </a:extLst>
                </a:gridCol>
                <a:gridCol w="1277631">
                  <a:extLst>
                    <a:ext uri="{9D8B030D-6E8A-4147-A177-3AD203B41FA5}">
                      <a16:colId xmlns:a16="http://schemas.microsoft.com/office/drawing/2014/main" val="3752234645"/>
                    </a:ext>
                  </a:extLst>
                </a:gridCol>
                <a:gridCol w="1277631">
                  <a:extLst>
                    <a:ext uri="{9D8B030D-6E8A-4147-A177-3AD203B41FA5}">
                      <a16:colId xmlns:a16="http://schemas.microsoft.com/office/drawing/2014/main" val="732008374"/>
                    </a:ext>
                  </a:extLst>
                </a:gridCol>
                <a:gridCol w="1277631">
                  <a:extLst>
                    <a:ext uri="{9D8B030D-6E8A-4147-A177-3AD203B41FA5}">
                      <a16:colId xmlns:a16="http://schemas.microsoft.com/office/drawing/2014/main" val="3535027843"/>
                    </a:ext>
                  </a:extLst>
                </a:gridCol>
                <a:gridCol w="1979667">
                  <a:extLst>
                    <a:ext uri="{9D8B030D-6E8A-4147-A177-3AD203B41FA5}">
                      <a16:colId xmlns:a16="http://schemas.microsoft.com/office/drawing/2014/main" val="172320807"/>
                    </a:ext>
                  </a:extLst>
                </a:gridCol>
                <a:gridCol w="2524539">
                  <a:extLst>
                    <a:ext uri="{9D8B030D-6E8A-4147-A177-3AD203B41FA5}">
                      <a16:colId xmlns:a16="http://schemas.microsoft.com/office/drawing/2014/main" val="481788938"/>
                    </a:ext>
                  </a:extLst>
                </a:gridCol>
                <a:gridCol w="1844105">
                  <a:extLst>
                    <a:ext uri="{9D8B030D-6E8A-4147-A177-3AD203B41FA5}">
                      <a16:colId xmlns:a16="http://schemas.microsoft.com/office/drawing/2014/main" val="2117491772"/>
                    </a:ext>
                  </a:extLst>
                </a:gridCol>
              </a:tblGrid>
              <a:tr h="254215">
                <a:tc gridSpan="2">
                  <a:txBody>
                    <a:bodyPr/>
                    <a:lstStyle/>
                    <a:p>
                      <a:pPr algn="ctr" fontAlgn="b"/>
                      <a:r>
                        <a:rPr lang="en-US" sz="1100" b="0" i="0" u="none" strike="noStrike">
                          <a:solidFill>
                            <a:schemeClr val="bg1"/>
                          </a:solidFill>
                          <a:effectLst/>
                          <a:latin typeface="Montserrat" panose="00000500000000000000" pitchFamily="2" charset="0"/>
                        </a:rPr>
                        <a:t>RAW TRAFFIC</a:t>
                      </a:r>
                    </a:p>
                  </a:txBody>
                  <a:tcPr marL="6350" marR="6350" marT="6350" marB="0" anchor="ctr">
                    <a:lnL w="12700" cap="flat" cmpd="sng" algn="ctr">
                      <a:solidFill>
                        <a:schemeClr val="tx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2">
                        <a:lumMod val="60000"/>
                        <a:lumOff val="40000"/>
                      </a:schemeClr>
                    </a:solidFill>
                  </a:tcPr>
                </a:tc>
                <a:tc hMerge="1">
                  <a:txBody>
                    <a:bodyPr/>
                    <a:lstStyle/>
                    <a:p>
                      <a:endParaRPr lang="en-US"/>
                    </a:p>
                  </a:txBody>
                  <a:tcPr/>
                </a:tc>
                <a:tc gridSpan="2">
                  <a:txBody>
                    <a:bodyPr/>
                    <a:lstStyle/>
                    <a:p>
                      <a:pPr algn="ctr" fontAlgn="b"/>
                      <a:r>
                        <a:rPr lang="en-US" sz="1100" b="0" i="0" u="none" strike="noStrike">
                          <a:solidFill>
                            <a:schemeClr val="bg1"/>
                          </a:solidFill>
                          <a:effectLst/>
                          <a:latin typeface="Montserrat" panose="00000500000000000000" pitchFamily="2" charset="0"/>
                        </a:rPr>
                        <a:t>ENGAGED TRAFFIC</a:t>
                      </a:r>
                    </a:p>
                  </a:txBody>
                  <a:tcPr marL="6350" marR="6350" marT="635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2">
                        <a:lumMod val="60000"/>
                        <a:lumOff val="40000"/>
                      </a:schemeClr>
                    </a:solidFill>
                  </a:tcPr>
                </a:tc>
                <a:tc hMerge="1">
                  <a:txBody>
                    <a:bodyPr/>
                    <a:lstStyle/>
                    <a:p>
                      <a:endParaRPr lang="en-US"/>
                    </a:p>
                  </a:txBody>
                  <a:tcPr/>
                </a:tc>
                <a:tc>
                  <a:txBody>
                    <a:bodyPr/>
                    <a:lstStyle/>
                    <a:p>
                      <a:pPr algn="ctr" fontAlgn="b"/>
                      <a:r>
                        <a:rPr lang="en-US" sz="1100" b="0" i="0" u="none" strike="noStrike">
                          <a:solidFill>
                            <a:schemeClr val="bg1"/>
                          </a:solidFill>
                          <a:effectLst/>
                          <a:latin typeface="Montserrat" panose="00000500000000000000" pitchFamily="2" charset="0"/>
                        </a:rPr>
                        <a:t>LEADS</a:t>
                      </a:r>
                    </a:p>
                  </a:txBody>
                  <a:tcPr marL="6350" marR="6350" marT="635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2">
                        <a:lumMod val="40000"/>
                        <a:lumOff val="60000"/>
                      </a:schemeClr>
                    </a:solidFill>
                  </a:tcPr>
                </a:tc>
                <a:tc>
                  <a:txBody>
                    <a:bodyPr/>
                    <a:lstStyle/>
                    <a:p>
                      <a:pPr algn="ctr" fontAlgn="b"/>
                      <a:r>
                        <a:rPr lang="en-US" sz="1100" b="0" i="0" u="none" strike="noStrike">
                          <a:solidFill>
                            <a:schemeClr val="bg1"/>
                          </a:solidFill>
                          <a:effectLst/>
                          <a:latin typeface="Montserrat" panose="00000500000000000000" pitchFamily="2" charset="0"/>
                        </a:rPr>
                        <a:t>DIGITAL LINE CONNECTS</a:t>
                      </a:r>
                    </a:p>
                  </a:txBody>
                  <a:tcPr marL="6350" marR="6350" marT="635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2">
                        <a:lumMod val="40000"/>
                        <a:lumOff val="60000"/>
                      </a:schemeClr>
                    </a:solidFill>
                  </a:tcPr>
                </a:tc>
                <a:tc>
                  <a:txBody>
                    <a:bodyPr/>
                    <a:lstStyle/>
                    <a:p>
                      <a:pPr algn="ctr" fontAlgn="b"/>
                      <a:r>
                        <a:rPr lang="en-US" sz="1100" b="0" i="0" u="none" strike="noStrike">
                          <a:solidFill>
                            <a:schemeClr val="bg1"/>
                          </a:solidFill>
                          <a:effectLst/>
                          <a:latin typeface="Montserrat" panose="00000500000000000000" pitchFamily="2" charset="0"/>
                        </a:rPr>
                        <a:t>DIGITAL SHARE</a:t>
                      </a:r>
                    </a:p>
                  </a:txBody>
                  <a:tcPr marL="6350" marR="6350" marT="6350" marB="0" anchor="ctr">
                    <a:lnL w="381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2">
                        <a:lumMod val="50000"/>
                      </a:schemeClr>
                    </a:solidFill>
                  </a:tcPr>
                </a:tc>
                <a:extLst>
                  <a:ext uri="{0D108BD9-81ED-4DB2-BD59-A6C34878D82A}">
                    <a16:rowId xmlns:a16="http://schemas.microsoft.com/office/drawing/2014/main" val="1976009538"/>
                  </a:ext>
                </a:extLst>
              </a:tr>
              <a:tr h="127108">
                <a:tc>
                  <a:txBody>
                    <a:bodyPr/>
                    <a:lstStyle/>
                    <a:p>
                      <a:pPr algn="ctr" fontAlgn="b"/>
                      <a:r>
                        <a:rPr lang="en-US" sz="900" b="0" i="0" u="none" strike="noStrike">
                          <a:solidFill>
                            <a:schemeClr val="tx1"/>
                          </a:solidFill>
                          <a:effectLst/>
                          <a:latin typeface="Montserrat" panose="00000500000000000000" pitchFamily="2" charset="0"/>
                        </a:rPr>
                        <a:t>Incl. Display</a:t>
                      </a:r>
                    </a:p>
                  </a:txBody>
                  <a:tcPr marL="6350" marR="6350" marT="6350" marB="0" anchor="ctr">
                    <a:lnL w="12700" cap="flat" cmpd="sng" algn="ctr">
                      <a:solidFill>
                        <a:schemeClr val="tx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75000"/>
                      </a:schemeClr>
                    </a:solidFill>
                  </a:tcPr>
                </a:tc>
                <a:tc>
                  <a:txBody>
                    <a:bodyPr/>
                    <a:lstStyle/>
                    <a:p>
                      <a:pPr algn="ctr" fontAlgn="b"/>
                      <a:r>
                        <a:rPr lang="en-US" sz="900" b="0" i="0" u="none" strike="noStrike">
                          <a:solidFill>
                            <a:schemeClr val="tx1"/>
                          </a:solidFill>
                          <a:effectLst/>
                          <a:latin typeface="Montserrat" panose="00000500000000000000" pitchFamily="2" charset="0"/>
                        </a:rPr>
                        <a:t>Excl. Display</a:t>
                      </a:r>
                    </a:p>
                  </a:txBody>
                  <a:tcPr marL="6350" marR="6350" marT="635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75000"/>
                      </a:schemeClr>
                    </a:solidFill>
                  </a:tcPr>
                </a:tc>
                <a:tc>
                  <a:txBody>
                    <a:bodyPr/>
                    <a:lstStyle/>
                    <a:p>
                      <a:pPr algn="ctr" fontAlgn="b"/>
                      <a:r>
                        <a:rPr lang="en-US" sz="900" b="0" i="0" u="none" strike="noStrike">
                          <a:solidFill>
                            <a:schemeClr val="tx1"/>
                          </a:solidFill>
                          <a:effectLst/>
                          <a:latin typeface="Montserrat" panose="00000500000000000000" pitchFamily="2" charset="0"/>
                        </a:rPr>
                        <a:t>Incl. Display</a:t>
                      </a:r>
                    </a:p>
                  </a:txBody>
                  <a:tcPr marL="6350" marR="6350" marT="635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75000"/>
                      </a:schemeClr>
                    </a:solidFill>
                  </a:tcPr>
                </a:tc>
                <a:tc>
                  <a:txBody>
                    <a:bodyPr/>
                    <a:lstStyle/>
                    <a:p>
                      <a:pPr algn="ctr" fontAlgn="b"/>
                      <a:r>
                        <a:rPr lang="en-US" sz="900" b="0" i="0" u="none" strike="noStrike">
                          <a:solidFill>
                            <a:schemeClr val="tx1"/>
                          </a:solidFill>
                          <a:effectLst/>
                          <a:latin typeface="Montserrat" panose="00000500000000000000" pitchFamily="2" charset="0"/>
                        </a:rPr>
                        <a:t>Excl. Display</a:t>
                      </a:r>
                    </a:p>
                  </a:txBody>
                  <a:tcPr marL="6350" marR="6350" marT="635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75000"/>
                      </a:schemeClr>
                    </a:solidFill>
                  </a:tcPr>
                </a:tc>
                <a:tc rowSpan="2">
                  <a:txBody>
                    <a:bodyPr/>
                    <a:lstStyle/>
                    <a:p>
                      <a:pPr algn="ctr" fontAlgn="b"/>
                      <a:r>
                        <a:rPr lang="en-US" sz="1400" b="1" i="0" u="none" strike="noStrike" dirty="0">
                          <a:solidFill>
                            <a:sysClr val="windowText" lastClr="000000"/>
                          </a:solidFill>
                          <a:effectLst/>
                          <a:latin typeface="Montserrat" panose="00000500000000000000" pitchFamily="2" charset="0"/>
                        </a:rPr>
                        <a:t>28</a:t>
                      </a:r>
                    </a:p>
                  </a:txBody>
                  <a:tcPr marL="6350" marR="6350" marT="635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rowSpan="2">
                  <a:txBody>
                    <a:bodyPr/>
                    <a:lstStyle/>
                    <a:p>
                      <a:pPr algn="ctr" fontAlgn="b"/>
                      <a:r>
                        <a:rPr lang="en-US" sz="1400" b="1" i="0" u="none" strike="noStrike" dirty="0">
                          <a:solidFill>
                            <a:sysClr val="windowText" lastClr="000000"/>
                          </a:solidFill>
                          <a:effectLst/>
                          <a:latin typeface="Montserrat" panose="00000500000000000000" pitchFamily="2" charset="0"/>
                        </a:rPr>
                        <a:t>11</a:t>
                      </a:r>
                    </a:p>
                  </a:txBody>
                  <a:tcPr marL="6350" marR="6350" marT="635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rowSpan="6">
                  <a:txBody>
                    <a:bodyPr/>
                    <a:lstStyle/>
                    <a:p>
                      <a:pPr algn="ctr" fontAlgn="b"/>
                      <a:r>
                        <a:rPr lang="en-US" sz="2000" b="1" i="0" u="none" strike="noStrike" dirty="0">
                          <a:solidFill>
                            <a:sysClr val="windowText" lastClr="000000"/>
                          </a:solidFill>
                          <a:effectLst/>
                          <a:latin typeface="Montserrat" panose="00000500000000000000" pitchFamily="2" charset="0"/>
                        </a:rPr>
                        <a:t>2.37%</a:t>
                      </a:r>
                    </a:p>
                    <a:p>
                      <a:pPr algn="ctr" fontAlgn="b"/>
                      <a:r>
                        <a:rPr lang="en-US" sz="1000" b="0" i="0" u="none" strike="noStrike" dirty="0">
                          <a:solidFill>
                            <a:srgbClr val="FF0000"/>
                          </a:solidFill>
                          <a:effectLst/>
                          <a:latin typeface="Montserrat" panose="00000500000000000000" pitchFamily="2" charset="0"/>
                        </a:rPr>
                        <a:t>91%</a:t>
                      </a:r>
                    </a:p>
                  </a:txBody>
                  <a:tcPr marL="6350" marR="6350" marT="6350" marB="0" anchor="ctr">
                    <a:lnL w="381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0980886"/>
                  </a:ext>
                </a:extLst>
              </a:tr>
              <a:tr h="17792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400" b="1" i="0" u="none" strike="noStrike" dirty="0">
                          <a:solidFill>
                            <a:sysClr val="windowText" lastClr="000000"/>
                          </a:solidFill>
                          <a:effectLst/>
                          <a:latin typeface="Montserrat" panose="00000500000000000000" pitchFamily="2" charset="0"/>
                        </a:rPr>
                        <a:t>11,410</a:t>
                      </a:r>
                    </a:p>
                  </a:txBody>
                  <a:tcPr marL="6350" marR="6350" marT="6350" marB="0" anchor="b">
                    <a:lnL w="12700" cap="flat" cmpd="sng" algn="ctr">
                      <a:solidFill>
                        <a:schemeClr val="tx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400" b="1" i="0" u="none" strike="noStrike" dirty="0">
                          <a:solidFill>
                            <a:sysClr val="windowText" lastClr="000000"/>
                          </a:solidFill>
                          <a:effectLst/>
                          <a:latin typeface="Montserrat" panose="00000500000000000000" pitchFamily="2" charset="0"/>
                        </a:rPr>
                        <a:t>3,471</a:t>
                      </a:r>
                    </a:p>
                  </a:txBody>
                  <a:tcPr marL="6350" marR="6350" marT="6350" marB="0" anchor="b">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400" b="1" i="0" u="none" strike="noStrike" dirty="0">
                          <a:solidFill>
                            <a:sysClr val="windowText" lastClr="000000"/>
                          </a:solidFill>
                          <a:effectLst/>
                          <a:latin typeface="Montserrat" panose="00000500000000000000" pitchFamily="2" charset="0"/>
                        </a:rPr>
                        <a:t>2,057</a:t>
                      </a:r>
                    </a:p>
                  </a:txBody>
                  <a:tcPr marL="6350" marR="6350" marT="6350" marB="0" anchor="b">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400" b="1" i="0" u="none" strike="noStrike" dirty="0">
                          <a:solidFill>
                            <a:sysClr val="windowText" lastClr="000000"/>
                          </a:solidFill>
                          <a:effectLst/>
                          <a:latin typeface="Montserrat" panose="00000500000000000000" pitchFamily="2" charset="0"/>
                        </a:rPr>
                        <a:t>1,365</a:t>
                      </a:r>
                    </a:p>
                  </a:txBody>
                  <a:tcPr marL="6350" marR="6350" marT="6350" marB="0" anchor="b">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2338643049"/>
                  </a:ext>
                </a:extLst>
              </a:tr>
              <a:tr h="254215">
                <a:tc>
                  <a:txBody>
                    <a:bodyPr/>
                    <a:lstStyle/>
                    <a:p>
                      <a:pPr algn="ctr" fontAlgn="b"/>
                      <a:r>
                        <a:rPr lang="en-US" sz="800" b="0" i="0" u="none" strike="noStrike" dirty="0">
                          <a:solidFill>
                            <a:srgbClr val="FF0000"/>
                          </a:solidFill>
                          <a:effectLst/>
                          <a:latin typeface="Montserrat" panose="00000500000000000000" pitchFamily="2" charset="0"/>
                        </a:rPr>
                        <a:t>71%</a:t>
                      </a:r>
                    </a:p>
                  </a:txBody>
                  <a:tcPr marL="6350" marR="6350" marT="6350" marB="0">
                    <a:lnL w="12700" cap="flat" cmpd="sng" algn="ctr">
                      <a:solidFill>
                        <a:schemeClr val="tx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algn="ctr" fontAlgn="b"/>
                      <a:r>
                        <a:rPr lang="en-US" sz="800" b="0" i="0" u="none" strike="noStrike" dirty="0">
                          <a:solidFill>
                            <a:srgbClr val="FF0000"/>
                          </a:solidFill>
                          <a:effectLst/>
                          <a:latin typeface="Montserrat" panose="00000500000000000000" pitchFamily="2" charset="0"/>
                        </a:rPr>
                        <a:t>28%</a:t>
                      </a:r>
                    </a:p>
                  </a:txBody>
                  <a:tcPr marL="6350" marR="6350" marT="6350" marB="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algn="ctr" fontAlgn="b"/>
                      <a:r>
                        <a:rPr lang="en-US" sz="800" b="0" i="0" u="none" strike="noStrike" dirty="0">
                          <a:solidFill>
                            <a:srgbClr val="FF0000"/>
                          </a:solidFill>
                          <a:effectLst/>
                          <a:latin typeface="Montserrat" panose="00000500000000000000" pitchFamily="2" charset="0"/>
                        </a:rPr>
                        <a:t>78%</a:t>
                      </a:r>
                    </a:p>
                  </a:txBody>
                  <a:tcPr marL="6350" marR="6350" marT="6350" marB="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algn="ctr" fontAlgn="b"/>
                      <a:r>
                        <a:rPr lang="en-US" sz="800" b="0" i="0" u="none" strike="noStrike" dirty="0">
                          <a:solidFill>
                            <a:srgbClr val="FF0000"/>
                          </a:solidFill>
                          <a:effectLst/>
                          <a:latin typeface="Montserrat" panose="00000500000000000000" pitchFamily="2" charset="0"/>
                        </a:rPr>
                        <a:t>60%</a:t>
                      </a:r>
                    </a:p>
                  </a:txBody>
                  <a:tcPr marL="6350" marR="6350" marT="6350" marB="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algn="ctr" fontAlgn="b"/>
                      <a:r>
                        <a:rPr lang="en-US" sz="800" b="0" i="0" u="none" strike="noStrike" dirty="0">
                          <a:solidFill>
                            <a:srgbClr val="FF0000"/>
                          </a:solidFill>
                          <a:effectLst/>
                          <a:latin typeface="Montserrat" panose="00000500000000000000" pitchFamily="2" charset="0"/>
                        </a:rPr>
                        <a:t>85%</a:t>
                      </a:r>
                    </a:p>
                  </a:txBody>
                  <a:tcPr marL="6350" marR="6350" marT="6350" marB="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algn="ctr" fontAlgn="b"/>
                      <a:r>
                        <a:rPr lang="en-US" sz="800" b="0" i="0" u="none" strike="noStrike" dirty="0">
                          <a:solidFill>
                            <a:srgbClr val="00B050"/>
                          </a:solidFill>
                          <a:effectLst/>
                          <a:latin typeface="Montserrat" panose="00000500000000000000" pitchFamily="2" charset="0"/>
                        </a:rPr>
                        <a:t>109%</a:t>
                      </a:r>
                    </a:p>
                  </a:txBody>
                  <a:tcPr marL="6350" marR="6350" marT="6350" marB="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vMerge="1">
                  <a:txBody>
                    <a:bodyPr/>
                    <a:lstStyle/>
                    <a:p>
                      <a:pPr algn="ctr" fontAlgn="b"/>
                      <a:endParaRPr lang="en-US" sz="800" b="0" i="0" u="none" strike="noStrike">
                        <a:solidFill>
                          <a:srgbClr val="00B050"/>
                        </a:solidFill>
                        <a:effectLst/>
                        <a:latin typeface="Montserrat" panose="00000500000000000000" pitchFamily="2" charset="0"/>
                      </a:endParaRPr>
                    </a:p>
                  </a:txBody>
                  <a:tcPr marL="6350" marR="6350" marT="6350" marB="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446385758"/>
                  </a:ext>
                </a:extLst>
              </a:tr>
              <a:tr h="254215">
                <a:tc rowSpan="3" gridSpan="2">
                  <a:txBody>
                    <a:bodyPr/>
                    <a:lstStyle/>
                    <a:p>
                      <a:pPr algn="ctr" fontAlgn="b"/>
                      <a:r>
                        <a:rPr lang="en-US" sz="1100" b="0" i="0" u="none" strike="noStrike">
                          <a:solidFill>
                            <a:sysClr val="windowText" lastClr="000000"/>
                          </a:solidFill>
                          <a:effectLst/>
                          <a:latin typeface="Montserrat" panose="00000500000000000000" pitchFamily="2" charset="0"/>
                        </a:rPr>
                        <a:t>Conversion Rates</a:t>
                      </a:r>
                    </a:p>
                  </a:txBody>
                  <a:tcPr marL="6350" marR="6350" marT="6350" marB="0" anchor="ctr">
                    <a:lnL w="12700" cap="flat" cmpd="sng" algn="ctr">
                      <a:solidFill>
                        <a:schemeClr val="tx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85000"/>
                      </a:schemeClr>
                    </a:solidFill>
                  </a:tcPr>
                </a:tc>
                <a:tc rowSpan="3" hMerge="1">
                  <a:txBody>
                    <a:bodyPr/>
                    <a:lstStyle/>
                    <a:p>
                      <a:endParaRPr lang="en-US"/>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gridSpan="2">
                  <a:txBody>
                    <a:bodyPr/>
                    <a:lstStyle/>
                    <a:p>
                      <a:pPr algn="ctr" fontAlgn="b"/>
                      <a:r>
                        <a:rPr lang="en-US" sz="1100" b="0" i="0" u="none" strike="noStrike">
                          <a:solidFill>
                            <a:schemeClr val="bg1"/>
                          </a:solidFill>
                          <a:effectLst/>
                          <a:latin typeface="Montserrat" panose="00000500000000000000" pitchFamily="2" charset="0"/>
                        </a:rPr>
                        <a:t>ENG. VISIT RATE</a:t>
                      </a:r>
                    </a:p>
                  </a:txBody>
                  <a:tcPr marL="6350" marR="6350" marT="635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2">
                        <a:lumMod val="60000"/>
                        <a:lumOff val="40000"/>
                      </a:schemeClr>
                    </a:solidFill>
                  </a:tcPr>
                </a:tc>
                <a:tc hMerge="1">
                  <a:txBody>
                    <a:bodyPr/>
                    <a:lstStyle/>
                    <a:p>
                      <a:endParaRPr lang="en-US"/>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algn="ctr" fontAlgn="b"/>
                      <a:r>
                        <a:rPr lang="en-US" sz="1100" b="0" i="0" u="none" strike="noStrike">
                          <a:solidFill>
                            <a:schemeClr val="bg1"/>
                          </a:solidFill>
                          <a:effectLst/>
                          <a:latin typeface="Montserrat" panose="00000500000000000000" pitchFamily="2" charset="0"/>
                        </a:rPr>
                        <a:t>ENG. TRAFFIC TO LEADS</a:t>
                      </a:r>
                    </a:p>
                  </a:txBody>
                  <a:tcPr marL="6350" marR="6350" marT="635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2">
                        <a:lumMod val="40000"/>
                        <a:lumOff val="60000"/>
                      </a:schemeClr>
                    </a:solidFill>
                  </a:tcPr>
                </a:tc>
                <a:tc>
                  <a:txBody>
                    <a:bodyPr/>
                    <a:lstStyle/>
                    <a:p>
                      <a:pPr algn="ctr" fontAlgn="b"/>
                      <a:r>
                        <a:rPr lang="en-US" sz="1100" b="0" i="0" u="none" strike="noStrike">
                          <a:solidFill>
                            <a:schemeClr val="bg1"/>
                          </a:solidFill>
                          <a:effectLst/>
                          <a:latin typeface="Montserrat" panose="00000500000000000000" pitchFamily="2" charset="0"/>
                        </a:rPr>
                        <a:t>CLOSE RATE</a:t>
                      </a:r>
                    </a:p>
                  </a:txBody>
                  <a:tcPr marL="6350" marR="6350" marT="635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2">
                        <a:lumMod val="40000"/>
                        <a:lumOff val="60000"/>
                      </a:schemeClr>
                    </a:solidFill>
                  </a:tcPr>
                </a:tc>
                <a:tc vMerge="1">
                  <a:txBody>
                    <a:bodyPr/>
                    <a:lstStyle/>
                    <a:p>
                      <a:pPr algn="ctr" fontAlgn="b"/>
                      <a:endParaRPr lang="en-US" sz="1100" b="0" i="0" u="none" strike="noStrike">
                        <a:solidFill>
                          <a:schemeClr val="bg1"/>
                        </a:solidFill>
                        <a:effectLst/>
                        <a:latin typeface="Montserrat" panose="00000500000000000000" pitchFamily="2" charset="0"/>
                      </a:endParaRPr>
                    </a:p>
                  </a:txBody>
                  <a:tcPr marL="6350" marR="6350" marT="635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2"/>
                    </a:solidFill>
                  </a:tcPr>
                </a:tc>
                <a:extLst>
                  <a:ext uri="{0D108BD9-81ED-4DB2-BD59-A6C34878D82A}">
                    <a16:rowId xmlns:a16="http://schemas.microsoft.com/office/drawing/2014/main" val="3813952174"/>
                  </a:ext>
                </a:extLst>
              </a:tr>
              <a:tr h="140896">
                <a:tc gridSpan="2" vMerge="1">
                  <a:txBody>
                    <a:bodyPr/>
                    <a:lstStyle/>
                    <a:p>
                      <a:pPr algn="ctr" fontAlgn="b"/>
                      <a:endParaRPr lang="en-US" sz="1100" b="0" i="0" u="none" strike="noStrike">
                        <a:solidFill>
                          <a:schemeClr val="bg1"/>
                        </a:solidFill>
                        <a:effectLst/>
                        <a:latin typeface="Montserrat" panose="00000500000000000000" pitchFamily="2" charset="0"/>
                      </a:endParaRPr>
                    </a:p>
                  </a:txBody>
                  <a:tcPr marL="6350" marR="6350" marT="635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2"/>
                    </a:solidFill>
                  </a:tcPr>
                </a:tc>
                <a:tc hMerge="1" vMerge="1">
                  <a:txBody>
                    <a:bodyPr/>
                    <a:lstStyle/>
                    <a:p>
                      <a:endParaRPr lang="en-US"/>
                    </a:p>
                  </a:txBody>
                  <a:tcPr/>
                </a:tc>
                <a:tc>
                  <a:txBody>
                    <a:bodyPr/>
                    <a:lstStyle/>
                    <a:p>
                      <a:pPr algn="ctr" fontAlgn="b"/>
                      <a:r>
                        <a:rPr lang="en-US" sz="900" b="0" i="0" u="none" strike="noStrike">
                          <a:solidFill>
                            <a:sysClr val="windowText" lastClr="000000"/>
                          </a:solidFill>
                          <a:effectLst/>
                          <a:latin typeface="Montserrat" panose="00000500000000000000" pitchFamily="2" charset="0"/>
                        </a:rPr>
                        <a:t>Incl. Display</a:t>
                      </a:r>
                    </a:p>
                  </a:txBody>
                  <a:tcPr marL="6350" marR="6350" marT="635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75000"/>
                      </a:schemeClr>
                    </a:solidFill>
                  </a:tcPr>
                </a:tc>
                <a:tc>
                  <a:txBody>
                    <a:bodyPr/>
                    <a:lstStyle/>
                    <a:p>
                      <a:pPr algn="ctr" fontAlgn="b"/>
                      <a:r>
                        <a:rPr lang="en-US" sz="900" b="0" i="0" u="none" strike="noStrike">
                          <a:solidFill>
                            <a:sysClr val="windowText" lastClr="000000"/>
                          </a:solidFill>
                          <a:effectLst/>
                          <a:latin typeface="Montserrat" panose="00000500000000000000" pitchFamily="2" charset="0"/>
                        </a:rPr>
                        <a:t>Excl. Display</a:t>
                      </a:r>
                    </a:p>
                  </a:txBody>
                  <a:tcPr marL="6350" marR="6350" marT="635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75000"/>
                      </a:schemeClr>
                    </a:solidFill>
                  </a:tcPr>
                </a:tc>
                <a:tc>
                  <a:txBody>
                    <a:bodyPr/>
                    <a:lstStyle/>
                    <a:p>
                      <a:pPr algn="ctr" fontAlgn="b"/>
                      <a:endParaRPr lang="en-US" sz="1100" b="0" i="0" u="none" strike="noStrike">
                        <a:solidFill>
                          <a:sysClr val="windowText" lastClr="000000"/>
                        </a:solidFill>
                        <a:effectLst/>
                        <a:latin typeface="Montserrat" panose="00000500000000000000" pitchFamily="2" charset="0"/>
                      </a:endParaRPr>
                    </a:p>
                  </a:txBody>
                  <a:tcPr marL="6350" marR="6350" marT="635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algn="ctr" fontAlgn="b"/>
                      <a:endParaRPr lang="en-US" sz="1100" b="0" i="0" u="none" strike="noStrike">
                        <a:solidFill>
                          <a:sysClr val="windowText" lastClr="000000"/>
                        </a:solidFill>
                        <a:effectLst/>
                        <a:latin typeface="Montserrat" panose="00000500000000000000" pitchFamily="2" charset="0"/>
                      </a:endParaRPr>
                    </a:p>
                  </a:txBody>
                  <a:tcPr marL="6350" marR="6350" marT="635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vMerge="1">
                  <a:txBody>
                    <a:bodyPr/>
                    <a:lstStyle/>
                    <a:p>
                      <a:pPr algn="ctr" fontAlgn="b"/>
                      <a:endParaRPr lang="en-US" sz="1100" b="0" i="0" u="none" strike="noStrike">
                        <a:solidFill>
                          <a:schemeClr val="bg1"/>
                        </a:solidFill>
                        <a:effectLst/>
                        <a:latin typeface="Montserrat" panose="00000500000000000000" pitchFamily="2" charset="0"/>
                      </a:endParaRPr>
                    </a:p>
                  </a:txBody>
                  <a:tcPr marL="6350" marR="6350" marT="635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256558457"/>
                  </a:ext>
                </a:extLst>
              </a:tr>
              <a:tr h="508430">
                <a:tc gridSpan="2" vMerge="1">
                  <a:txBody>
                    <a:bodyPr/>
                    <a:lstStyle/>
                    <a:p>
                      <a:pPr algn="ctr" fontAlgn="b"/>
                      <a:endParaRPr lang="en-US" sz="1100" b="0" i="0" u="none" strike="noStrike">
                        <a:solidFill>
                          <a:schemeClr val="bg1"/>
                        </a:solidFill>
                        <a:effectLst/>
                        <a:latin typeface="Montserrat" panose="00000500000000000000" pitchFamily="2" charset="0"/>
                      </a:endParaRPr>
                    </a:p>
                  </a:txBody>
                  <a:tcPr marL="6350" marR="6350" marT="635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2"/>
                    </a:solidFill>
                  </a:tcPr>
                </a:tc>
                <a:tc hMerge="1" vMerge="1">
                  <a:txBody>
                    <a:bodyPr/>
                    <a:lstStyle/>
                    <a:p>
                      <a:endParaRPr lang="en-US"/>
                    </a:p>
                  </a:txBody>
                  <a:tcPr/>
                </a:tc>
                <a:tc>
                  <a:txBody>
                    <a:bodyPr/>
                    <a:lstStyle/>
                    <a:p>
                      <a:pPr algn="ctr" fontAlgn="b"/>
                      <a:r>
                        <a:rPr lang="en-US" sz="1400" b="1" i="0" u="none" strike="noStrike" dirty="0">
                          <a:solidFill>
                            <a:sysClr val="windowText" lastClr="000000"/>
                          </a:solidFill>
                          <a:effectLst/>
                          <a:latin typeface="Montserrat" panose="00000500000000000000" pitchFamily="2" charset="0"/>
                        </a:rPr>
                        <a:t>18%</a:t>
                      </a:r>
                    </a:p>
                    <a:p>
                      <a:pPr algn="ctr" fontAlgn="b"/>
                      <a:r>
                        <a:rPr lang="en-US" sz="800" b="0" i="0" u="none" strike="noStrike" dirty="0">
                          <a:solidFill>
                            <a:srgbClr val="00B050"/>
                          </a:solidFill>
                          <a:effectLst/>
                          <a:latin typeface="Montserrat" panose="00000500000000000000" pitchFamily="2" charset="0"/>
                        </a:rPr>
                        <a:t>111%</a:t>
                      </a:r>
                      <a:endParaRPr lang="en-US" sz="700" b="0" i="0" u="none" strike="noStrike" dirty="0">
                        <a:solidFill>
                          <a:srgbClr val="00B050"/>
                        </a:solidFill>
                        <a:effectLst/>
                        <a:latin typeface="Montserrat" panose="00000500000000000000" pitchFamily="2" charset="0"/>
                      </a:endParaRPr>
                    </a:p>
                  </a:txBody>
                  <a:tcPr marL="6350" marR="6350" marT="6350" marB="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400" b="1" i="0" u="none" strike="noStrike" dirty="0">
                          <a:solidFill>
                            <a:sysClr val="windowText" lastClr="000000"/>
                          </a:solidFill>
                          <a:effectLst/>
                          <a:latin typeface="Montserrat" panose="00000500000000000000" pitchFamily="2" charset="0"/>
                        </a:rPr>
                        <a:t>39%</a:t>
                      </a:r>
                    </a:p>
                    <a:p>
                      <a:pPr algn="ctr" fontAlgn="b"/>
                      <a:r>
                        <a:rPr lang="en-US" sz="800" b="0" i="0" u="none" strike="noStrike" dirty="0">
                          <a:solidFill>
                            <a:srgbClr val="00B050"/>
                          </a:solidFill>
                          <a:effectLst/>
                          <a:latin typeface="Montserrat" panose="00000500000000000000" pitchFamily="2" charset="0"/>
                        </a:rPr>
                        <a:t>218%</a:t>
                      </a:r>
                      <a:endParaRPr lang="en-US" sz="800" b="1" i="0" u="none" strike="noStrike" dirty="0">
                        <a:solidFill>
                          <a:srgbClr val="00B050"/>
                        </a:solidFill>
                        <a:effectLst/>
                        <a:latin typeface="Montserrat" panose="00000500000000000000" pitchFamily="2" charset="0"/>
                      </a:endParaRPr>
                    </a:p>
                  </a:txBody>
                  <a:tcPr marL="6350" marR="6350" marT="6350" marB="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400" b="1" i="0" u="none" strike="noStrike" dirty="0">
                          <a:solidFill>
                            <a:sysClr val="windowText" lastClr="000000"/>
                          </a:solidFill>
                          <a:effectLst/>
                          <a:latin typeface="Montserrat" panose="00000500000000000000" pitchFamily="2" charset="0"/>
                        </a:rPr>
                        <a:t>2.1%</a:t>
                      </a:r>
                    </a:p>
                    <a:p>
                      <a:pPr algn="ctr" fontAlgn="b"/>
                      <a:r>
                        <a:rPr lang="en-US" sz="800" b="0" i="0" u="none" strike="noStrike" dirty="0">
                          <a:solidFill>
                            <a:srgbClr val="00B050"/>
                          </a:solidFill>
                          <a:effectLst/>
                          <a:latin typeface="Montserrat" panose="00000500000000000000" pitchFamily="2" charset="0"/>
                        </a:rPr>
                        <a:t>140%</a:t>
                      </a:r>
                      <a:endParaRPr lang="en-US" sz="1400" b="0" i="0" u="none" strike="noStrike" dirty="0">
                        <a:solidFill>
                          <a:srgbClr val="00B050"/>
                        </a:solidFill>
                        <a:effectLst/>
                        <a:latin typeface="Montserrat" panose="00000500000000000000" pitchFamily="2" charset="0"/>
                      </a:endParaRPr>
                    </a:p>
                  </a:txBody>
                  <a:tcPr marL="6350" marR="6350" marT="6350" marB="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400" b="1" i="0" u="none" strike="noStrike" dirty="0">
                          <a:solidFill>
                            <a:sysClr val="windowText" lastClr="000000"/>
                          </a:solidFill>
                          <a:effectLst/>
                          <a:latin typeface="Montserrat" panose="00000500000000000000" pitchFamily="2" charset="0"/>
                        </a:rPr>
                        <a:t>13.0%</a:t>
                      </a:r>
                    </a:p>
                    <a:p>
                      <a:pPr algn="ctr" fontAlgn="b"/>
                      <a:r>
                        <a:rPr lang="en-US" sz="800" b="0" i="0" u="none" strike="noStrike" dirty="0">
                          <a:solidFill>
                            <a:srgbClr val="00B050"/>
                          </a:solidFill>
                          <a:effectLst/>
                          <a:latin typeface="Montserrat" panose="00000500000000000000" pitchFamily="2" charset="0"/>
                        </a:rPr>
                        <a:t>148%</a:t>
                      </a:r>
                    </a:p>
                  </a:txBody>
                  <a:tcPr marL="6350" marR="6350" marT="6350" marB="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pPr algn="ctr" fontAlgn="b"/>
                      <a:endParaRPr lang="en-US" sz="800" b="0" i="0" u="none" strike="noStrike">
                        <a:solidFill>
                          <a:srgbClr val="00B050"/>
                        </a:solidFill>
                        <a:effectLst/>
                        <a:latin typeface="Montserrat" panose="00000500000000000000" pitchFamily="2" charset="0"/>
                      </a:endParaRPr>
                    </a:p>
                  </a:txBody>
                  <a:tcPr marL="6350" marR="6350" marT="635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334163469"/>
                  </a:ext>
                </a:extLst>
              </a:tr>
            </a:tbl>
          </a:graphicData>
        </a:graphic>
      </p:graphicFrame>
    </p:spTree>
    <p:extLst>
      <p:ext uri="{BB962C8B-B14F-4D97-AF65-F5344CB8AC3E}">
        <p14:creationId xmlns:p14="http://schemas.microsoft.com/office/powerpoint/2010/main" val="2245105219"/>
      </p:ext>
    </p:extLst>
  </p:cSld>
  <p:clrMapOvr>
    <a:masterClrMapping/>
  </p:clrMapOvr>
  <p:transition spd="med"/>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8718C44-AA0B-5D87-9AD9-DB97FBD7C2C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7" name="think-cell data - do not delete" hidden="1">
                        <a:extLst>
                          <a:ext uri="{FF2B5EF4-FFF2-40B4-BE49-F238E27FC236}">
                            <a16:creationId xmlns:a16="http://schemas.microsoft.com/office/drawing/2014/main" id="{68718C44-AA0B-5D87-9AD9-DB97FBD7C2C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8373D07B-2678-0164-014F-E9DD370807C5}"/>
              </a:ext>
            </a:extLst>
          </p:cNvPr>
          <p:cNvSpPr>
            <a:spLocks noGrp="1"/>
          </p:cNvSpPr>
          <p:nvPr>
            <p:ph type="title"/>
          </p:nvPr>
        </p:nvSpPr>
        <p:spPr/>
        <p:txBody>
          <a:bodyPr vert="horz"/>
          <a:lstStyle/>
          <a:p>
            <a:r>
              <a:rPr lang="en-US"/>
              <a:t>SB Digital Performance</a:t>
            </a:r>
          </a:p>
        </p:txBody>
      </p:sp>
      <p:sp>
        <p:nvSpPr>
          <p:cNvPr id="9" name="Text Placeholder 8">
            <a:extLst>
              <a:ext uri="{FF2B5EF4-FFF2-40B4-BE49-F238E27FC236}">
                <a16:creationId xmlns:a16="http://schemas.microsoft.com/office/drawing/2014/main" id="{FA7366DE-E3BD-3E04-CA57-EE8EDB85C27C}"/>
              </a:ext>
            </a:extLst>
          </p:cNvPr>
          <p:cNvSpPr>
            <a:spLocks noGrp="1"/>
          </p:cNvSpPr>
          <p:nvPr>
            <p:ph type="body" sz="quarter" idx="25"/>
          </p:nvPr>
        </p:nvSpPr>
        <p:spPr/>
        <p:txBody>
          <a:bodyPr/>
          <a:lstStyle/>
          <a:p>
            <a:r>
              <a:rPr lang="en-US" dirty="0"/>
              <a:t>PER DAY PACING PERFORMANCE &amp; MOM INDEXING</a:t>
            </a:r>
          </a:p>
        </p:txBody>
      </p:sp>
      <p:sp>
        <p:nvSpPr>
          <p:cNvPr id="2" name="TextBox 1">
            <a:extLst>
              <a:ext uri="{FF2B5EF4-FFF2-40B4-BE49-F238E27FC236}">
                <a16:creationId xmlns:a16="http://schemas.microsoft.com/office/drawing/2014/main" id="{2FA95787-1D5A-769F-EA15-891644B8CF1A}"/>
              </a:ext>
            </a:extLst>
          </p:cNvPr>
          <p:cNvSpPr txBox="1"/>
          <p:nvPr/>
        </p:nvSpPr>
        <p:spPr>
          <a:xfrm>
            <a:off x="463547" y="6165011"/>
            <a:ext cx="5223353" cy="255668"/>
          </a:xfrm>
          <a:prstGeom prst="rect">
            <a:avLst/>
          </a:prstGeom>
          <a:noFill/>
        </p:spPr>
        <p:txBody>
          <a:bodyPr wrap="square" lIns="0" tIns="0" rIns="0" bIns="0" rtlCol="0">
            <a:noAutofit/>
          </a:bodyPr>
          <a:lstStyle/>
          <a:p>
            <a:pPr algn="l"/>
            <a:r>
              <a:rPr lang="en-US" sz="800"/>
              <a:t>Data Source: CBMA Weekly Leads Summary</a:t>
            </a:r>
          </a:p>
          <a:p>
            <a:pPr algn="l"/>
            <a:r>
              <a:rPr lang="en-US" sz="800"/>
              <a:t>Note: Eng. traffic to leads metric is excluding Display</a:t>
            </a:r>
          </a:p>
        </p:txBody>
      </p:sp>
      <p:sp>
        <p:nvSpPr>
          <p:cNvPr id="26" name="Rectangle 25">
            <a:extLst>
              <a:ext uri="{FF2B5EF4-FFF2-40B4-BE49-F238E27FC236}">
                <a16:creationId xmlns:a16="http://schemas.microsoft.com/office/drawing/2014/main" id="{FF1EAB49-43D6-07F3-F61A-310FE04BC745}"/>
              </a:ext>
            </a:extLst>
          </p:cNvPr>
          <p:cNvSpPr/>
          <p:nvPr/>
        </p:nvSpPr>
        <p:spPr>
          <a:xfrm>
            <a:off x="365560" y="3458496"/>
            <a:ext cx="3611206" cy="2292935"/>
          </a:xfrm>
          <a:prstGeom prst="rect">
            <a:avLst/>
          </a:prstGeom>
          <a:ln w="12700"/>
        </p:spPr>
        <p:style>
          <a:lnRef idx="2">
            <a:schemeClr val="dk1"/>
          </a:lnRef>
          <a:fillRef idx="1">
            <a:schemeClr val="lt1"/>
          </a:fillRef>
          <a:effectRef idx="0">
            <a:schemeClr val="dk1"/>
          </a:effectRef>
          <a:fontRef idx="minor">
            <a:schemeClr val="dk1"/>
          </a:fontRef>
        </p:style>
        <p:txBody>
          <a:bodyPr wrap="square">
            <a:spAutoFit/>
          </a:bodyPr>
          <a:lstStyle/>
          <a:p>
            <a:pPr marL="285750" indent="-285750">
              <a:buFont typeface="Arial" panose="020B0604020202020204" pitchFamily="34" charset="0"/>
              <a:buChar char="•"/>
            </a:pPr>
            <a:r>
              <a:rPr lang="en-US" sz="1100" dirty="0">
                <a:latin typeface="+mn-lt"/>
              </a:rPr>
              <a:t>Lorem ipsum dolor sit </a:t>
            </a:r>
            <a:r>
              <a:rPr lang="en-US" sz="1100" dirty="0" err="1">
                <a:latin typeface="+mn-lt"/>
              </a:rPr>
              <a:t>amet</a:t>
            </a:r>
            <a:r>
              <a:rPr lang="en-US" sz="1100" dirty="0">
                <a:latin typeface="+mn-lt"/>
              </a:rPr>
              <a:t>, </a:t>
            </a:r>
            <a:r>
              <a:rPr lang="en-US" sz="1100" dirty="0" err="1">
                <a:latin typeface="+mn-lt"/>
              </a:rPr>
              <a:t>consectetur</a:t>
            </a:r>
            <a:r>
              <a:rPr lang="en-US" sz="1100" dirty="0">
                <a:latin typeface="+mn-lt"/>
              </a:rPr>
              <a:t> </a:t>
            </a:r>
            <a:r>
              <a:rPr lang="en-US" sz="1100" dirty="0" err="1">
                <a:latin typeface="+mn-lt"/>
              </a:rPr>
              <a:t>adipiscing</a:t>
            </a:r>
            <a:r>
              <a:rPr lang="en-US" sz="1100" dirty="0">
                <a:latin typeface="+mn-lt"/>
              </a:rPr>
              <a:t> </a:t>
            </a:r>
            <a:r>
              <a:rPr lang="en-US" sz="1100" dirty="0" err="1">
                <a:latin typeface="+mn-lt"/>
              </a:rPr>
              <a:t>elit</a:t>
            </a:r>
            <a:r>
              <a:rPr lang="en-US" sz="1100" dirty="0">
                <a:latin typeface="+mn-lt"/>
              </a:rPr>
              <a:t>, sed do </a:t>
            </a:r>
            <a:r>
              <a:rPr lang="en-US" sz="1100" dirty="0" err="1">
                <a:latin typeface="+mn-lt"/>
              </a:rPr>
              <a:t>eiusmod</a:t>
            </a:r>
            <a:r>
              <a:rPr lang="en-US" sz="1100" dirty="0">
                <a:latin typeface="+mn-lt"/>
              </a:rPr>
              <a:t> </a:t>
            </a:r>
            <a:r>
              <a:rPr lang="en-US" sz="1100" dirty="0" err="1">
                <a:latin typeface="+mn-lt"/>
              </a:rPr>
              <a:t>tempor</a:t>
            </a:r>
            <a:r>
              <a:rPr lang="en-US" sz="1100" dirty="0">
                <a:latin typeface="+mn-lt"/>
              </a:rPr>
              <a:t> </a:t>
            </a:r>
            <a:r>
              <a:rPr lang="en-US" sz="1100" dirty="0" err="1">
                <a:latin typeface="+mn-lt"/>
              </a:rPr>
              <a:t>incididunt</a:t>
            </a:r>
            <a:r>
              <a:rPr lang="en-US" sz="1100" dirty="0">
                <a:latin typeface="+mn-lt"/>
              </a:rPr>
              <a:t> </a:t>
            </a:r>
            <a:r>
              <a:rPr lang="en-US" sz="1100" dirty="0" err="1">
                <a:latin typeface="+mn-lt"/>
              </a:rPr>
              <a:t>ut</a:t>
            </a:r>
            <a:r>
              <a:rPr lang="en-US" sz="1100" dirty="0">
                <a:latin typeface="+mn-lt"/>
              </a:rPr>
              <a:t> labore et dolore magna </a:t>
            </a:r>
            <a:r>
              <a:rPr lang="en-US" sz="1100" dirty="0" err="1">
                <a:latin typeface="+mn-lt"/>
              </a:rPr>
              <a:t>aliqua</a:t>
            </a:r>
            <a:r>
              <a:rPr lang="en-US" sz="1100" dirty="0">
                <a:latin typeface="+mn-lt"/>
              </a:rPr>
              <a:t>.</a:t>
            </a:r>
          </a:p>
          <a:p>
            <a:pPr marL="285750" indent="-285750">
              <a:buFont typeface="Arial" panose="020B0604020202020204" pitchFamily="34" charset="0"/>
              <a:buChar char="•"/>
            </a:pPr>
            <a:r>
              <a:rPr lang="en-US" sz="1100" dirty="0">
                <a:latin typeface="+mn-lt"/>
              </a:rPr>
              <a:t>Ut </a:t>
            </a:r>
            <a:r>
              <a:rPr lang="en-US" sz="1100" dirty="0" err="1">
                <a:latin typeface="+mn-lt"/>
              </a:rPr>
              <a:t>enim</a:t>
            </a:r>
            <a:r>
              <a:rPr lang="en-US" sz="1100" dirty="0">
                <a:latin typeface="+mn-lt"/>
              </a:rPr>
              <a:t> ad minim </a:t>
            </a:r>
            <a:r>
              <a:rPr lang="en-US" sz="1100" dirty="0" err="1">
                <a:latin typeface="+mn-lt"/>
              </a:rPr>
              <a:t>veniam</a:t>
            </a:r>
            <a:r>
              <a:rPr lang="en-US" sz="1100" dirty="0">
                <a:latin typeface="+mn-lt"/>
              </a:rPr>
              <a:t>, </a:t>
            </a:r>
            <a:r>
              <a:rPr lang="en-US" sz="1100" dirty="0" err="1">
                <a:latin typeface="+mn-lt"/>
              </a:rPr>
              <a:t>quis</a:t>
            </a:r>
            <a:r>
              <a:rPr lang="en-US" sz="1100" dirty="0">
                <a:latin typeface="+mn-lt"/>
              </a:rPr>
              <a:t> </a:t>
            </a:r>
            <a:r>
              <a:rPr lang="en-US" sz="1100" dirty="0" err="1">
                <a:latin typeface="+mn-lt"/>
              </a:rPr>
              <a:t>nostrud</a:t>
            </a:r>
            <a:r>
              <a:rPr lang="en-US" sz="1100" dirty="0">
                <a:latin typeface="+mn-lt"/>
              </a:rPr>
              <a:t> exercitation </a:t>
            </a:r>
            <a:r>
              <a:rPr lang="en-US" sz="1100" dirty="0" err="1">
                <a:latin typeface="+mn-lt"/>
              </a:rPr>
              <a:t>ullamco</a:t>
            </a:r>
            <a:r>
              <a:rPr lang="en-US" sz="1100" dirty="0">
                <a:latin typeface="+mn-lt"/>
              </a:rPr>
              <a:t> </a:t>
            </a:r>
            <a:r>
              <a:rPr lang="en-US" sz="1100" dirty="0" err="1">
                <a:latin typeface="+mn-lt"/>
              </a:rPr>
              <a:t>laboris</a:t>
            </a:r>
            <a:r>
              <a:rPr lang="en-US" sz="1100" dirty="0">
                <a:latin typeface="+mn-lt"/>
              </a:rPr>
              <a:t> nisi </a:t>
            </a:r>
            <a:r>
              <a:rPr lang="en-US" sz="1100" dirty="0" err="1">
                <a:latin typeface="+mn-lt"/>
              </a:rPr>
              <a:t>ut</a:t>
            </a:r>
            <a:r>
              <a:rPr lang="en-US" sz="1100" dirty="0">
                <a:latin typeface="+mn-lt"/>
              </a:rPr>
              <a:t> </a:t>
            </a:r>
            <a:r>
              <a:rPr lang="en-US" sz="1100" dirty="0" err="1">
                <a:latin typeface="+mn-lt"/>
              </a:rPr>
              <a:t>aliquip</a:t>
            </a:r>
            <a:r>
              <a:rPr lang="en-US" sz="1100" dirty="0">
                <a:latin typeface="+mn-lt"/>
              </a:rPr>
              <a:t> ex </a:t>
            </a:r>
            <a:r>
              <a:rPr lang="en-US" sz="1100" dirty="0" err="1">
                <a:latin typeface="+mn-lt"/>
              </a:rPr>
              <a:t>ea</a:t>
            </a:r>
            <a:r>
              <a:rPr lang="en-US" sz="1100" dirty="0">
                <a:latin typeface="+mn-lt"/>
              </a:rPr>
              <a:t> </a:t>
            </a:r>
            <a:r>
              <a:rPr lang="en-US" sz="1100" dirty="0" err="1">
                <a:latin typeface="+mn-lt"/>
              </a:rPr>
              <a:t>commodo</a:t>
            </a:r>
            <a:r>
              <a:rPr lang="en-US" sz="1100" dirty="0">
                <a:latin typeface="+mn-lt"/>
              </a:rPr>
              <a:t> </a:t>
            </a:r>
            <a:r>
              <a:rPr lang="en-US" sz="1100" dirty="0" err="1">
                <a:latin typeface="+mn-lt"/>
              </a:rPr>
              <a:t>consequat</a:t>
            </a:r>
            <a:r>
              <a:rPr lang="en-US" sz="1100" dirty="0">
                <a:latin typeface="+mn-lt"/>
              </a:rPr>
              <a:t>. </a:t>
            </a:r>
          </a:p>
          <a:p>
            <a:pPr marL="285750" indent="-285750">
              <a:buFont typeface="Arial" panose="020B0604020202020204" pitchFamily="34" charset="0"/>
              <a:buChar char="•"/>
            </a:pPr>
            <a:r>
              <a:rPr lang="en-US" sz="1100" dirty="0">
                <a:latin typeface="+mn-lt"/>
              </a:rPr>
              <a:t>Duis </a:t>
            </a:r>
            <a:r>
              <a:rPr lang="en-US" sz="1100" dirty="0" err="1">
                <a:latin typeface="+mn-lt"/>
              </a:rPr>
              <a:t>aute</a:t>
            </a:r>
            <a:r>
              <a:rPr lang="en-US" sz="1100" dirty="0">
                <a:latin typeface="+mn-lt"/>
              </a:rPr>
              <a:t> </a:t>
            </a:r>
            <a:r>
              <a:rPr lang="en-US" sz="1100" dirty="0" err="1">
                <a:latin typeface="+mn-lt"/>
              </a:rPr>
              <a:t>irure</a:t>
            </a:r>
            <a:r>
              <a:rPr lang="en-US" sz="1100" dirty="0">
                <a:latin typeface="+mn-lt"/>
              </a:rPr>
              <a:t> dolor in </a:t>
            </a:r>
            <a:r>
              <a:rPr lang="en-US" sz="1100" dirty="0" err="1">
                <a:latin typeface="+mn-lt"/>
              </a:rPr>
              <a:t>reprehenderit</a:t>
            </a:r>
            <a:r>
              <a:rPr lang="en-US" sz="1100" dirty="0">
                <a:latin typeface="+mn-lt"/>
              </a:rPr>
              <a:t> in </a:t>
            </a:r>
            <a:r>
              <a:rPr lang="en-US" sz="1100" dirty="0" err="1">
                <a:latin typeface="+mn-lt"/>
              </a:rPr>
              <a:t>voluptate</a:t>
            </a:r>
            <a:r>
              <a:rPr lang="en-US" sz="1100" dirty="0">
                <a:latin typeface="+mn-lt"/>
              </a:rPr>
              <a:t> </a:t>
            </a:r>
            <a:r>
              <a:rPr lang="en-US" sz="1100" dirty="0" err="1">
                <a:latin typeface="+mn-lt"/>
              </a:rPr>
              <a:t>velit</a:t>
            </a:r>
            <a:r>
              <a:rPr lang="en-US" sz="1100" dirty="0">
                <a:latin typeface="+mn-lt"/>
              </a:rPr>
              <a:t> </a:t>
            </a:r>
            <a:r>
              <a:rPr lang="en-US" sz="1100" dirty="0" err="1">
                <a:latin typeface="+mn-lt"/>
              </a:rPr>
              <a:t>esse</a:t>
            </a:r>
            <a:r>
              <a:rPr lang="en-US" sz="1100" dirty="0">
                <a:latin typeface="+mn-lt"/>
              </a:rPr>
              <a:t> </a:t>
            </a:r>
            <a:r>
              <a:rPr lang="en-US" sz="1100" dirty="0" err="1">
                <a:latin typeface="+mn-lt"/>
              </a:rPr>
              <a:t>cillum</a:t>
            </a:r>
            <a:r>
              <a:rPr lang="en-US" sz="1100" dirty="0">
                <a:latin typeface="+mn-lt"/>
              </a:rPr>
              <a:t> dolore </a:t>
            </a:r>
            <a:r>
              <a:rPr lang="en-US" sz="1100" dirty="0" err="1">
                <a:latin typeface="+mn-lt"/>
              </a:rPr>
              <a:t>eu</a:t>
            </a:r>
            <a:r>
              <a:rPr lang="en-US" sz="1100" dirty="0">
                <a:latin typeface="+mn-lt"/>
              </a:rPr>
              <a:t> </a:t>
            </a:r>
            <a:r>
              <a:rPr lang="en-US" sz="1100" dirty="0" err="1">
                <a:latin typeface="+mn-lt"/>
              </a:rPr>
              <a:t>fugiat</a:t>
            </a:r>
            <a:r>
              <a:rPr lang="en-US" sz="1100" dirty="0">
                <a:latin typeface="+mn-lt"/>
              </a:rPr>
              <a:t> </a:t>
            </a:r>
            <a:r>
              <a:rPr lang="en-US" sz="1100" dirty="0" err="1">
                <a:latin typeface="+mn-lt"/>
              </a:rPr>
              <a:t>nulla</a:t>
            </a:r>
            <a:r>
              <a:rPr lang="en-US" sz="1100" dirty="0">
                <a:latin typeface="+mn-lt"/>
              </a:rPr>
              <a:t> </a:t>
            </a:r>
            <a:r>
              <a:rPr lang="en-US" sz="1100" dirty="0" err="1">
                <a:latin typeface="+mn-lt"/>
              </a:rPr>
              <a:t>pariatur</a:t>
            </a:r>
            <a:r>
              <a:rPr lang="en-US" sz="1100" dirty="0">
                <a:latin typeface="+mn-lt"/>
              </a:rPr>
              <a:t>. </a:t>
            </a:r>
          </a:p>
          <a:p>
            <a:pPr marL="285750" indent="-285750">
              <a:buFont typeface="Arial" panose="020B0604020202020204" pitchFamily="34" charset="0"/>
              <a:buChar char="•"/>
            </a:pPr>
            <a:r>
              <a:rPr lang="en-US" sz="1100" dirty="0" err="1">
                <a:latin typeface="+mn-lt"/>
              </a:rPr>
              <a:t>Excepteur</a:t>
            </a:r>
            <a:r>
              <a:rPr lang="en-US" sz="1100" dirty="0">
                <a:latin typeface="+mn-lt"/>
              </a:rPr>
              <a:t> </a:t>
            </a:r>
            <a:r>
              <a:rPr lang="en-US" sz="1100" dirty="0" err="1">
                <a:latin typeface="+mn-lt"/>
              </a:rPr>
              <a:t>sint</a:t>
            </a:r>
            <a:r>
              <a:rPr lang="en-US" sz="1100" dirty="0">
                <a:latin typeface="+mn-lt"/>
              </a:rPr>
              <a:t> </a:t>
            </a:r>
            <a:r>
              <a:rPr lang="en-US" sz="1100" dirty="0" err="1">
                <a:latin typeface="+mn-lt"/>
              </a:rPr>
              <a:t>occaecat</a:t>
            </a:r>
            <a:r>
              <a:rPr lang="en-US" sz="1100" dirty="0">
                <a:latin typeface="+mn-lt"/>
              </a:rPr>
              <a:t> </a:t>
            </a:r>
            <a:r>
              <a:rPr lang="en-US" sz="1100" dirty="0" err="1">
                <a:latin typeface="+mn-lt"/>
              </a:rPr>
              <a:t>cupidatat</a:t>
            </a:r>
            <a:r>
              <a:rPr lang="en-US" sz="1100" dirty="0">
                <a:latin typeface="+mn-lt"/>
              </a:rPr>
              <a:t> non </a:t>
            </a:r>
            <a:r>
              <a:rPr lang="en-US" sz="1100" dirty="0" err="1">
                <a:latin typeface="+mn-lt"/>
              </a:rPr>
              <a:t>proident</a:t>
            </a:r>
            <a:r>
              <a:rPr lang="en-US" sz="1100" dirty="0">
                <a:latin typeface="+mn-lt"/>
              </a:rPr>
              <a:t>, sunt in culpa qui </a:t>
            </a:r>
            <a:r>
              <a:rPr lang="en-US" sz="1100" dirty="0" err="1">
                <a:latin typeface="+mn-lt"/>
              </a:rPr>
              <a:t>officia</a:t>
            </a:r>
            <a:r>
              <a:rPr lang="en-US" sz="1100" dirty="0">
                <a:latin typeface="+mn-lt"/>
              </a:rPr>
              <a:t> </a:t>
            </a:r>
            <a:r>
              <a:rPr lang="en-US" sz="1100" dirty="0" err="1">
                <a:latin typeface="+mn-lt"/>
              </a:rPr>
              <a:t>deserunt</a:t>
            </a:r>
            <a:r>
              <a:rPr lang="en-US" sz="1100" dirty="0">
                <a:latin typeface="+mn-lt"/>
              </a:rPr>
              <a:t> </a:t>
            </a:r>
            <a:r>
              <a:rPr lang="en-US" sz="1100" dirty="0" err="1">
                <a:latin typeface="+mn-lt"/>
              </a:rPr>
              <a:t>mollit</a:t>
            </a:r>
            <a:r>
              <a:rPr lang="en-US" sz="1100" dirty="0">
                <a:latin typeface="+mn-lt"/>
              </a:rPr>
              <a:t> </a:t>
            </a:r>
            <a:r>
              <a:rPr lang="en-US" sz="1100" dirty="0" err="1">
                <a:latin typeface="+mn-lt"/>
              </a:rPr>
              <a:t>anim</a:t>
            </a:r>
            <a:r>
              <a:rPr lang="en-US" sz="1100" dirty="0">
                <a:latin typeface="+mn-lt"/>
              </a:rPr>
              <a:t> id </a:t>
            </a:r>
            <a:r>
              <a:rPr lang="en-US" sz="1100" dirty="0" err="1">
                <a:latin typeface="+mn-lt"/>
              </a:rPr>
              <a:t>est</a:t>
            </a:r>
            <a:r>
              <a:rPr lang="en-US" sz="1100" dirty="0">
                <a:latin typeface="+mn-lt"/>
              </a:rPr>
              <a:t> </a:t>
            </a:r>
            <a:r>
              <a:rPr lang="en-US" sz="1100" dirty="0" err="1">
                <a:latin typeface="+mn-lt"/>
              </a:rPr>
              <a:t>laborum</a:t>
            </a:r>
            <a:r>
              <a:rPr lang="en-US" sz="1100" dirty="0">
                <a:latin typeface="+mn-lt"/>
              </a:rPr>
              <a:t>.</a:t>
            </a:r>
            <a:endParaRPr lang="en-US" sz="1100" dirty="0"/>
          </a:p>
          <a:p>
            <a:pPr marL="285750" indent="-285750">
              <a:buFont typeface="Arial" panose="020B0604020202020204" pitchFamily="34" charset="0"/>
              <a:buChar char="•"/>
            </a:pPr>
            <a:endParaRPr lang="en-US" sz="1100" dirty="0">
              <a:latin typeface="+mn-lt"/>
            </a:endParaRPr>
          </a:p>
        </p:txBody>
      </p:sp>
      <p:sp>
        <p:nvSpPr>
          <p:cNvPr id="28" name="TextBox 27">
            <a:extLst>
              <a:ext uri="{FF2B5EF4-FFF2-40B4-BE49-F238E27FC236}">
                <a16:creationId xmlns:a16="http://schemas.microsoft.com/office/drawing/2014/main" id="{42C46ACC-416D-9ECD-E833-A679B7F64A55}"/>
              </a:ext>
            </a:extLst>
          </p:cNvPr>
          <p:cNvSpPr txBox="1"/>
          <p:nvPr/>
        </p:nvSpPr>
        <p:spPr>
          <a:xfrm rot="5400000">
            <a:off x="1967312" y="1332260"/>
            <a:ext cx="407702" cy="3611206"/>
          </a:xfrm>
          <a:prstGeom prst="round2SameRect">
            <a:avLst>
              <a:gd name="adj1" fmla="val 46466"/>
              <a:gd name="adj2" fmla="val 0"/>
            </a:avLst>
          </a:prstGeom>
          <a:ln w="12700"/>
        </p:spPr>
        <p:style>
          <a:lnRef idx="2">
            <a:schemeClr val="dk1"/>
          </a:lnRef>
          <a:fillRef idx="1">
            <a:schemeClr val="lt1"/>
          </a:fillRef>
          <a:effectRef idx="0">
            <a:schemeClr val="dk1"/>
          </a:effectRef>
          <a:fontRef idx="minor">
            <a:schemeClr val="dk1"/>
          </a:fontRef>
        </p:style>
        <p:txBody>
          <a:bodyPr vert="vert270" wrap="square" lIns="91440" tIns="91440" rIns="91440" bIns="182880" anchor="ctr" anchorCtr="0">
            <a:noAutofit/>
          </a:bodyPr>
          <a:lstStyle/>
          <a:p>
            <a:pPr marL="0" marR="0" lvl="0" indent="0" algn="l" defTabSz="914400" rtl="0" eaLnBrk="0" fontAlgn="base" latinLnBrk="0" hangingPunct="1">
              <a:lnSpc>
                <a:spcPct val="100000"/>
              </a:lnSpc>
              <a:spcBef>
                <a:spcPct val="0"/>
              </a:spcBef>
              <a:spcAft>
                <a:spcPts val="600"/>
              </a:spcAft>
              <a:buClrTx/>
              <a:buSzTx/>
              <a:buFontTx/>
              <a:buNone/>
              <a:tabLst/>
              <a:defRPr/>
            </a:pPr>
            <a:r>
              <a:rPr kumimoji="0" lang="en-US" sz="1800" b="1" i="0" u="none" strike="noStrike" kern="1200" cap="none" spc="0" normalizeH="0" baseline="0" noProof="0">
                <a:ln>
                  <a:noFill/>
                </a:ln>
                <a:solidFill>
                  <a:srgbClr val="112F64"/>
                </a:solidFill>
                <a:effectLst/>
                <a:uLnTx/>
                <a:uFillTx/>
                <a:latin typeface="Montserrat"/>
                <a:ea typeface="+mn-ea"/>
                <a:cs typeface="+mn-cs"/>
              </a:rPr>
              <a:t>Traffic</a:t>
            </a:r>
          </a:p>
        </p:txBody>
      </p:sp>
      <p:sp>
        <p:nvSpPr>
          <p:cNvPr id="31" name="Rectangle 30">
            <a:extLst>
              <a:ext uri="{FF2B5EF4-FFF2-40B4-BE49-F238E27FC236}">
                <a16:creationId xmlns:a16="http://schemas.microsoft.com/office/drawing/2014/main" id="{66C4763C-C77B-84A7-1D96-DA93F3216436}"/>
              </a:ext>
            </a:extLst>
          </p:cNvPr>
          <p:cNvSpPr/>
          <p:nvPr/>
        </p:nvSpPr>
        <p:spPr>
          <a:xfrm>
            <a:off x="4290397" y="3458496"/>
            <a:ext cx="3611206" cy="2292935"/>
          </a:xfrm>
          <a:prstGeom prst="rect">
            <a:avLst/>
          </a:prstGeom>
          <a:ln w="12700"/>
        </p:spPr>
        <p:style>
          <a:lnRef idx="2">
            <a:schemeClr val="dk1"/>
          </a:lnRef>
          <a:fillRef idx="1">
            <a:schemeClr val="lt1"/>
          </a:fillRef>
          <a:effectRef idx="0">
            <a:schemeClr val="dk1"/>
          </a:effectRef>
          <a:fontRef idx="minor">
            <a:schemeClr val="dk1"/>
          </a:fontRef>
        </p:style>
        <p:txBody>
          <a:bodyPr wrap="square">
            <a:spAutoFit/>
          </a:bodyPr>
          <a:lstStyle/>
          <a:p>
            <a:pPr marL="285750" indent="-285750">
              <a:buFont typeface="Arial" panose="020B0604020202020204" pitchFamily="34" charset="0"/>
              <a:buChar char="•"/>
            </a:pPr>
            <a:r>
              <a:rPr lang="en-US" sz="1100" dirty="0">
                <a:latin typeface="+mn-lt"/>
              </a:rPr>
              <a:t>Lorem ipsum dolor sit </a:t>
            </a:r>
            <a:r>
              <a:rPr lang="en-US" sz="1100" dirty="0" err="1">
                <a:latin typeface="+mn-lt"/>
              </a:rPr>
              <a:t>amet</a:t>
            </a:r>
            <a:r>
              <a:rPr lang="en-US" sz="1100" dirty="0">
                <a:latin typeface="+mn-lt"/>
              </a:rPr>
              <a:t>, </a:t>
            </a:r>
            <a:r>
              <a:rPr lang="en-US" sz="1100" dirty="0" err="1">
                <a:latin typeface="+mn-lt"/>
              </a:rPr>
              <a:t>consectetur</a:t>
            </a:r>
            <a:r>
              <a:rPr lang="en-US" sz="1100" dirty="0">
                <a:latin typeface="+mn-lt"/>
              </a:rPr>
              <a:t> </a:t>
            </a:r>
            <a:r>
              <a:rPr lang="en-US" sz="1100" dirty="0" err="1">
                <a:latin typeface="+mn-lt"/>
              </a:rPr>
              <a:t>adipiscing</a:t>
            </a:r>
            <a:r>
              <a:rPr lang="en-US" sz="1100" dirty="0">
                <a:latin typeface="+mn-lt"/>
              </a:rPr>
              <a:t> </a:t>
            </a:r>
            <a:r>
              <a:rPr lang="en-US" sz="1100" dirty="0" err="1">
                <a:latin typeface="+mn-lt"/>
              </a:rPr>
              <a:t>elit</a:t>
            </a:r>
            <a:r>
              <a:rPr lang="en-US" sz="1100" dirty="0">
                <a:latin typeface="+mn-lt"/>
              </a:rPr>
              <a:t>, sed do </a:t>
            </a:r>
            <a:r>
              <a:rPr lang="en-US" sz="1100" dirty="0" err="1">
                <a:latin typeface="+mn-lt"/>
              </a:rPr>
              <a:t>eiusmod</a:t>
            </a:r>
            <a:r>
              <a:rPr lang="en-US" sz="1100" dirty="0">
                <a:latin typeface="+mn-lt"/>
              </a:rPr>
              <a:t> </a:t>
            </a:r>
            <a:r>
              <a:rPr lang="en-US" sz="1100" dirty="0" err="1">
                <a:latin typeface="+mn-lt"/>
              </a:rPr>
              <a:t>tempor</a:t>
            </a:r>
            <a:r>
              <a:rPr lang="en-US" sz="1100" dirty="0">
                <a:latin typeface="+mn-lt"/>
              </a:rPr>
              <a:t> </a:t>
            </a:r>
            <a:r>
              <a:rPr lang="en-US" sz="1100" dirty="0" err="1">
                <a:latin typeface="+mn-lt"/>
              </a:rPr>
              <a:t>incididunt</a:t>
            </a:r>
            <a:r>
              <a:rPr lang="en-US" sz="1100" dirty="0">
                <a:latin typeface="+mn-lt"/>
              </a:rPr>
              <a:t> </a:t>
            </a:r>
            <a:r>
              <a:rPr lang="en-US" sz="1100" dirty="0" err="1">
                <a:latin typeface="+mn-lt"/>
              </a:rPr>
              <a:t>ut</a:t>
            </a:r>
            <a:r>
              <a:rPr lang="en-US" sz="1100" dirty="0">
                <a:latin typeface="+mn-lt"/>
              </a:rPr>
              <a:t> labore et dolore magna </a:t>
            </a:r>
            <a:r>
              <a:rPr lang="en-US" sz="1100" dirty="0" err="1">
                <a:latin typeface="+mn-lt"/>
              </a:rPr>
              <a:t>aliqua</a:t>
            </a:r>
            <a:r>
              <a:rPr lang="en-US" sz="1100" dirty="0">
                <a:latin typeface="+mn-lt"/>
              </a:rPr>
              <a:t>.</a:t>
            </a:r>
          </a:p>
          <a:p>
            <a:pPr marL="285750" indent="-285750">
              <a:buFont typeface="Arial" panose="020B0604020202020204" pitchFamily="34" charset="0"/>
              <a:buChar char="•"/>
            </a:pPr>
            <a:r>
              <a:rPr lang="en-US" sz="1100" dirty="0">
                <a:latin typeface="+mn-lt"/>
              </a:rPr>
              <a:t>Ut </a:t>
            </a:r>
            <a:r>
              <a:rPr lang="en-US" sz="1100" dirty="0" err="1">
                <a:latin typeface="+mn-lt"/>
              </a:rPr>
              <a:t>enim</a:t>
            </a:r>
            <a:r>
              <a:rPr lang="en-US" sz="1100" dirty="0">
                <a:latin typeface="+mn-lt"/>
              </a:rPr>
              <a:t> ad minim </a:t>
            </a:r>
            <a:r>
              <a:rPr lang="en-US" sz="1100" dirty="0" err="1">
                <a:latin typeface="+mn-lt"/>
              </a:rPr>
              <a:t>veniam</a:t>
            </a:r>
            <a:r>
              <a:rPr lang="en-US" sz="1100" dirty="0">
                <a:latin typeface="+mn-lt"/>
              </a:rPr>
              <a:t>, </a:t>
            </a:r>
            <a:r>
              <a:rPr lang="en-US" sz="1100" dirty="0" err="1">
                <a:latin typeface="+mn-lt"/>
              </a:rPr>
              <a:t>quis</a:t>
            </a:r>
            <a:r>
              <a:rPr lang="en-US" sz="1100" dirty="0">
                <a:latin typeface="+mn-lt"/>
              </a:rPr>
              <a:t> </a:t>
            </a:r>
            <a:r>
              <a:rPr lang="en-US" sz="1100" dirty="0" err="1">
                <a:latin typeface="+mn-lt"/>
              </a:rPr>
              <a:t>nostrud</a:t>
            </a:r>
            <a:r>
              <a:rPr lang="en-US" sz="1100" dirty="0">
                <a:latin typeface="+mn-lt"/>
              </a:rPr>
              <a:t> exercitation </a:t>
            </a:r>
            <a:r>
              <a:rPr lang="en-US" sz="1100" dirty="0" err="1">
                <a:latin typeface="+mn-lt"/>
              </a:rPr>
              <a:t>ullamco</a:t>
            </a:r>
            <a:r>
              <a:rPr lang="en-US" sz="1100" dirty="0">
                <a:latin typeface="+mn-lt"/>
              </a:rPr>
              <a:t> </a:t>
            </a:r>
            <a:r>
              <a:rPr lang="en-US" sz="1100" dirty="0" err="1">
                <a:latin typeface="+mn-lt"/>
              </a:rPr>
              <a:t>laboris</a:t>
            </a:r>
            <a:r>
              <a:rPr lang="en-US" sz="1100" dirty="0">
                <a:latin typeface="+mn-lt"/>
              </a:rPr>
              <a:t> nisi </a:t>
            </a:r>
            <a:r>
              <a:rPr lang="en-US" sz="1100" dirty="0" err="1">
                <a:latin typeface="+mn-lt"/>
              </a:rPr>
              <a:t>ut</a:t>
            </a:r>
            <a:r>
              <a:rPr lang="en-US" sz="1100" dirty="0">
                <a:latin typeface="+mn-lt"/>
              </a:rPr>
              <a:t> </a:t>
            </a:r>
            <a:r>
              <a:rPr lang="en-US" sz="1100" dirty="0" err="1">
                <a:latin typeface="+mn-lt"/>
              </a:rPr>
              <a:t>aliquip</a:t>
            </a:r>
            <a:r>
              <a:rPr lang="en-US" sz="1100" dirty="0">
                <a:latin typeface="+mn-lt"/>
              </a:rPr>
              <a:t> ex </a:t>
            </a:r>
            <a:r>
              <a:rPr lang="en-US" sz="1100" dirty="0" err="1">
                <a:latin typeface="+mn-lt"/>
              </a:rPr>
              <a:t>ea</a:t>
            </a:r>
            <a:r>
              <a:rPr lang="en-US" sz="1100" dirty="0">
                <a:latin typeface="+mn-lt"/>
              </a:rPr>
              <a:t> </a:t>
            </a:r>
            <a:r>
              <a:rPr lang="en-US" sz="1100" dirty="0" err="1">
                <a:latin typeface="+mn-lt"/>
              </a:rPr>
              <a:t>commodo</a:t>
            </a:r>
            <a:r>
              <a:rPr lang="en-US" sz="1100" dirty="0">
                <a:latin typeface="+mn-lt"/>
              </a:rPr>
              <a:t> </a:t>
            </a:r>
            <a:r>
              <a:rPr lang="en-US" sz="1100" dirty="0" err="1">
                <a:latin typeface="+mn-lt"/>
              </a:rPr>
              <a:t>consequat</a:t>
            </a:r>
            <a:r>
              <a:rPr lang="en-US" sz="1100" dirty="0">
                <a:latin typeface="+mn-lt"/>
              </a:rPr>
              <a:t>. </a:t>
            </a:r>
          </a:p>
          <a:p>
            <a:pPr marL="285750" indent="-285750">
              <a:buFont typeface="Arial" panose="020B0604020202020204" pitchFamily="34" charset="0"/>
              <a:buChar char="•"/>
            </a:pPr>
            <a:r>
              <a:rPr lang="en-US" sz="1100" dirty="0">
                <a:latin typeface="+mn-lt"/>
              </a:rPr>
              <a:t>Duis </a:t>
            </a:r>
            <a:r>
              <a:rPr lang="en-US" sz="1100" dirty="0" err="1">
                <a:latin typeface="+mn-lt"/>
              </a:rPr>
              <a:t>aute</a:t>
            </a:r>
            <a:r>
              <a:rPr lang="en-US" sz="1100" dirty="0">
                <a:latin typeface="+mn-lt"/>
              </a:rPr>
              <a:t> </a:t>
            </a:r>
            <a:r>
              <a:rPr lang="en-US" sz="1100" dirty="0" err="1">
                <a:latin typeface="+mn-lt"/>
              </a:rPr>
              <a:t>irure</a:t>
            </a:r>
            <a:r>
              <a:rPr lang="en-US" sz="1100" dirty="0">
                <a:latin typeface="+mn-lt"/>
              </a:rPr>
              <a:t> dolor in </a:t>
            </a:r>
            <a:r>
              <a:rPr lang="en-US" sz="1100" dirty="0" err="1">
                <a:latin typeface="+mn-lt"/>
              </a:rPr>
              <a:t>reprehenderit</a:t>
            </a:r>
            <a:r>
              <a:rPr lang="en-US" sz="1100" dirty="0">
                <a:latin typeface="+mn-lt"/>
              </a:rPr>
              <a:t> in </a:t>
            </a:r>
            <a:r>
              <a:rPr lang="en-US" sz="1100" dirty="0" err="1">
                <a:latin typeface="+mn-lt"/>
              </a:rPr>
              <a:t>voluptate</a:t>
            </a:r>
            <a:r>
              <a:rPr lang="en-US" sz="1100" dirty="0">
                <a:latin typeface="+mn-lt"/>
              </a:rPr>
              <a:t> </a:t>
            </a:r>
            <a:r>
              <a:rPr lang="en-US" sz="1100" dirty="0" err="1">
                <a:latin typeface="+mn-lt"/>
              </a:rPr>
              <a:t>velit</a:t>
            </a:r>
            <a:r>
              <a:rPr lang="en-US" sz="1100" dirty="0">
                <a:latin typeface="+mn-lt"/>
              </a:rPr>
              <a:t> </a:t>
            </a:r>
            <a:r>
              <a:rPr lang="en-US" sz="1100" dirty="0" err="1">
                <a:latin typeface="+mn-lt"/>
              </a:rPr>
              <a:t>esse</a:t>
            </a:r>
            <a:r>
              <a:rPr lang="en-US" sz="1100" dirty="0">
                <a:latin typeface="+mn-lt"/>
              </a:rPr>
              <a:t> </a:t>
            </a:r>
            <a:r>
              <a:rPr lang="en-US" sz="1100" dirty="0" err="1">
                <a:latin typeface="+mn-lt"/>
              </a:rPr>
              <a:t>cillum</a:t>
            </a:r>
            <a:r>
              <a:rPr lang="en-US" sz="1100" dirty="0">
                <a:latin typeface="+mn-lt"/>
              </a:rPr>
              <a:t> dolore </a:t>
            </a:r>
            <a:r>
              <a:rPr lang="en-US" sz="1100" dirty="0" err="1">
                <a:latin typeface="+mn-lt"/>
              </a:rPr>
              <a:t>eu</a:t>
            </a:r>
            <a:r>
              <a:rPr lang="en-US" sz="1100" dirty="0">
                <a:latin typeface="+mn-lt"/>
              </a:rPr>
              <a:t> </a:t>
            </a:r>
            <a:r>
              <a:rPr lang="en-US" sz="1100" dirty="0" err="1">
                <a:latin typeface="+mn-lt"/>
              </a:rPr>
              <a:t>fugiat</a:t>
            </a:r>
            <a:r>
              <a:rPr lang="en-US" sz="1100" dirty="0">
                <a:latin typeface="+mn-lt"/>
              </a:rPr>
              <a:t> </a:t>
            </a:r>
            <a:r>
              <a:rPr lang="en-US" sz="1100" dirty="0" err="1">
                <a:latin typeface="+mn-lt"/>
              </a:rPr>
              <a:t>nulla</a:t>
            </a:r>
            <a:r>
              <a:rPr lang="en-US" sz="1100" dirty="0">
                <a:latin typeface="+mn-lt"/>
              </a:rPr>
              <a:t> </a:t>
            </a:r>
            <a:r>
              <a:rPr lang="en-US" sz="1100" dirty="0" err="1">
                <a:latin typeface="+mn-lt"/>
              </a:rPr>
              <a:t>pariatur</a:t>
            </a:r>
            <a:r>
              <a:rPr lang="en-US" sz="1100" dirty="0">
                <a:latin typeface="+mn-lt"/>
              </a:rPr>
              <a:t>. </a:t>
            </a:r>
          </a:p>
          <a:p>
            <a:pPr marL="285750" indent="-285750">
              <a:buFont typeface="Arial" panose="020B0604020202020204" pitchFamily="34" charset="0"/>
              <a:buChar char="•"/>
            </a:pPr>
            <a:r>
              <a:rPr lang="en-US" sz="1100" dirty="0" err="1">
                <a:latin typeface="+mn-lt"/>
              </a:rPr>
              <a:t>Excepteur</a:t>
            </a:r>
            <a:r>
              <a:rPr lang="en-US" sz="1100" dirty="0">
                <a:latin typeface="+mn-lt"/>
              </a:rPr>
              <a:t> </a:t>
            </a:r>
            <a:r>
              <a:rPr lang="en-US" sz="1100" dirty="0" err="1">
                <a:latin typeface="+mn-lt"/>
              </a:rPr>
              <a:t>sint</a:t>
            </a:r>
            <a:r>
              <a:rPr lang="en-US" sz="1100" dirty="0">
                <a:latin typeface="+mn-lt"/>
              </a:rPr>
              <a:t> </a:t>
            </a:r>
            <a:r>
              <a:rPr lang="en-US" sz="1100" dirty="0" err="1">
                <a:latin typeface="+mn-lt"/>
              </a:rPr>
              <a:t>occaecat</a:t>
            </a:r>
            <a:r>
              <a:rPr lang="en-US" sz="1100" dirty="0">
                <a:latin typeface="+mn-lt"/>
              </a:rPr>
              <a:t> </a:t>
            </a:r>
            <a:r>
              <a:rPr lang="en-US" sz="1100" dirty="0" err="1">
                <a:latin typeface="+mn-lt"/>
              </a:rPr>
              <a:t>cupidatat</a:t>
            </a:r>
            <a:r>
              <a:rPr lang="en-US" sz="1100" dirty="0">
                <a:latin typeface="+mn-lt"/>
              </a:rPr>
              <a:t> non </a:t>
            </a:r>
            <a:r>
              <a:rPr lang="en-US" sz="1100" dirty="0" err="1">
                <a:latin typeface="+mn-lt"/>
              </a:rPr>
              <a:t>proident</a:t>
            </a:r>
            <a:r>
              <a:rPr lang="en-US" sz="1100" dirty="0">
                <a:latin typeface="+mn-lt"/>
              </a:rPr>
              <a:t>, sunt in culpa qui </a:t>
            </a:r>
            <a:r>
              <a:rPr lang="en-US" sz="1100" dirty="0" err="1">
                <a:latin typeface="+mn-lt"/>
              </a:rPr>
              <a:t>officia</a:t>
            </a:r>
            <a:r>
              <a:rPr lang="en-US" sz="1100" dirty="0">
                <a:latin typeface="+mn-lt"/>
              </a:rPr>
              <a:t> </a:t>
            </a:r>
            <a:r>
              <a:rPr lang="en-US" sz="1100" dirty="0" err="1">
                <a:latin typeface="+mn-lt"/>
              </a:rPr>
              <a:t>deserunt</a:t>
            </a:r>
            <a:r>
              <a:rPr lang="en-US" sz="1100" dirty="0">
                <a:latin typeface="+mn-lt"/>
              </a:rPr>
              <a:t> </a:t>
            </a:r>
            <a:r>
              <a:rPr lang="en-US" sz="1100" dirty="0" err="1">
                <a:latin typeface="+mn-lt"/>
              </a:rPr>
              <a:t>mollit</a:t>
            </a:r>
            <a:r>
              <a:rPr lang="en-US" sz="1100" dirty="0">
                <a:latin typeface="+mn-lt"/>
              </a:rPr>
              <a:t> </a:t>
            </a:r>
            <a:r>
              <a:rPr lang="en-US" sz="1100" dirty="0" err="1">
                <a:latin typeface="+mn-lt"/>
              </a:rPr>
              <a:t>anim</a:t>
            </a:r>
            <a:r>
              <a:rPr lang="en-US" sz="1100" dirty="0">
                <a:latin typeface="+mn-lt"/>
              </a:rPr>
              <a:t> id </a:t>
            </a:r>
            <a:r>
              <a:rPr lang="en-US" sz="1100" dirty="0" err="1">
                <a:latin typeface="+mn-lt"/>
              </a:rPr>
              <a:t>est</a:t>
            </a:r>
            <a:r>
              <a:rPr lang="en-US" sz="1100" dirty="0">
                <a:latin typeface="+mn-lt"/>
              </a:rPr>
              <a:t> </a:t>
            </a:r>
            <a:r>
              <a:rPr lang="en-US" sz="1100" dirty="0" err="1">
                <a:latin typeface="+mn-lt"/>
              </a:rPr>
              <a:t>laborum</a:t>
            </a:r>
            <a:r>
              <a:rPr lang="en-US" sz="1100" dirty="0">
                <a:latin typeface="+mn-lt"/>
              </a:rPr>
              <a:t>.</a:t>
            </a:r>
            <a:endParaRPr lang="en-US" sz="1100" dirty="0"/>
          </a:p>
          <a:p>
            <a:pPr marL="171450" indent="-171450">
              <a:buFont typeface="Arial" panose="020B0604020202020204" pitchFamily="34" charset="0"/>
              <a:buChar char="•"/>
            </a:pPr>
            <a:endParaRPr lang="en-US" sz="1100" dirty="0">
              <a:highlight>
                <a:srgbClr val="FFFF00"/>
              </a:highlight>
            </a:endParaRPr>
          </a:p>
        </p:txBody>
      </p:sp>
      <p:sp>
        <p:nvSpPr>
          <p:cNvPr id="32" name="TextBox 31">
            <a:extLst>
              <a:ext uri="{FF2B5EF4-FFF2-40B4-BE49-F238E27FC236}">
                <a16:creationId xmlns:a16="http://schemas.microsoft.com/office/drawing/2014/main" id="{39BFAA5F-B75E-4281-5D19-26AEE1983937}"/>
              </a:ext>
            </a:extLst>
          </p:cNvPr>
          <p:cNvSpPr txBox="1"/>
          <p:nvPr/>
        </p:nvSpPr>
        <p:spPr>
          <a:xfrm rot="5400000">
            <a:off x="5892149" y="1331501"/>
            <a:ext cx="407702" cy="3611206"/>
          </a:xfrm>
          <a:prstGeom prst="round2SameRect">
            <a:avLst>
              <a:gd name="adj1" fmla="val 46466"/>
              <a:gd name="adj2" fmla="val 0"/>
            </a:avLst>
          </a:prstGeom>
          <a:ln w="12700"/>
        </p:spPr>
        <p:style>
          <a:lnRef idx="2">
            <a:schemeClr val="dk1"/>
          </a:lnRef>
          <a:fillRef idx="1">
            <a:schemeClr val="lt1"/>
          </a:fillRef>
          <a:effectRef idx="0">
            <a:schemeClr val="dk1"/>
          </a:effectRef>
          <a:fontRef idx="minor">
            <a:schemeClr val="dk1"/>
          </a:fontRef>
        </p:style>
        <p:txBody>
          <a:bodyPr vert="vert270" wrap="square" lIns="91440" tIns="91440" rIns="91440" bIns="182880" anchor="ctr" anchorCtr="0">
            <a:noAutofit/>
          </a:bodyPr>
          <a:lstStyle/>
          <a:p>
            <a:pPr marL="0" marR="0" lvl="0" indent="0" algn="l" defTabSz="914400" rtl="0" eaLnBrk="0" fontAlgn="base" latinLnBrk="0" hangingPunct="1">
              <a:lnSpc>
                <a:spcPct val="100000"/>
              </a:lnSpc>
              <a:spcBef>
                <a:spcPct val="0"/>
              </a:spcBef>
              <a:spcAft>
                <a:spcPts val="600"/>
              </a:spcAft>
              <a:buClrTx/>
              <a:buSzTx/>
              <a:buFontTx/>
              <a:buNone/>
              <a:tabLst/>
              <a:defRPr/>
            </a:pPr>
            <a:r>
              <a:rPr lang="en-US" b="1" dirty="0">
                <a:solidFill>
                  <a:srgbClr val="112F64"/>
                </a:solidFill>
                <a:latin typeface="Montserrat"/>
              </a:rPr>
              <a:t>Demand</a:t>
            </a:r>
            <a:endParaRPr kumimoji="0" lang="en-US" sz="1800" b="1" i="0" u="none" strike="noStrike" kern="1200" cap="none" spc="0" normalizeH="0" baseline="0" noProof="0" dirty="0">
              <a:ln>
                <a:noFill/>
              </a:ln>
              <a:solidFill>
                <a:srgbClr val="112F64"/>
              </a:solidFill>
              <a:effectLst/>
              <a:uLnTx/>
              <a:uFillTx/>
              <a:latin typeface="Montserrat"/>
              <a:ea typeface="+mn-ea"/>
              <a:cs typeface="+mn-cs"/>
            </a:endParaRPr>
          </a:p>
        </p:txBody>
      </p:sp>
      <p:sp>
        <p:nvSpPr>
          <p:cNvPr id="35" name="Rectangle 34">
            <a:extLst>
              <a:ext uri="{FF2B5EF4-FFF2-40B4-BE49-F238E27FC236}">
                <a16:creationId xmlns:a16="http://schemas.microsoft.com/office/drawing/2014/main" id="{3F6EB51D-8ACB-3F75-4137-3F7FBFE148C6}"/>
              </a:ext>
            </a:extLst>
          </p:cNvPr>
          <p:cNvSpPr/>
          <p:nvPr/>
        </p:nvSpPr>
        <p:spPr>
          <a:xfrm>
            <a:off x="8215233" y="3458497"/>
            <a:ext cx="3611206" cy="2292935"/>
          </a:xfrm>
          <a:prstGeom prst="rect">
            <a:avLst/>
          </a:prstGeom>
          <a:ln w="12700"/>
        </p:spPr>
        <p:style>
          <a:lnRef idx="2">
            <a:schemeClr val="dk1"/>
          </a:lnRef>
          <a:fillRef idx="1">
            <a:schemeClr val="lt1"/>
          </a:fillRef>
          <a:effectRef idx="0">
            <a:schemeClr val="dk1"/>
          </a:effectRef>
          <a:fontRef idx="minor">
            <a:schemeClr val="dk1"/>
          </a:fontRef>
        </p:style>
        <p:txBody>
          <a:bodyPr wrap="square">
            <a:spAutoFit/>
          </a:bodyPr>
          <a:lstStyle/>
          <a:p>
            <a:pPr marL="285750" indent="-285750">
              <a:buFont typeface="Arial" panose="020B0604020202020204" pitchFamily="34" charset="0"/>
              <a:buChar char="•"/>
            </a:pPr>
            <a:r>
              <a:rPr lang="en-US" sz="1100" dirty="0">
                <a:latin typeface="+mn-lt"/>
              </a:rPr>
              <a:t>Lorem ipsum dolor sit </a:t>
            </a:r>
            <a:r>
              <a:rPr lang="en-US" sz="1100" dirty="0" err="1">
                <a:latin typeface="+mn-lt"/>
              </a:rPr>
              <a:t>amet</a:t>
            </a:r>
            <a:r>
              <a:rPr lang="en-US" sz="1100" dirty="0">
                <a:latin typeface="+mn-lt"/>
              </a:rPr>
              <a:t>, </a:t>
            </a:r>
            <a:r>
              <a:rPr lang="en-US" sz="1100" dirty="0" err="1">
                <a:latin typeface="+mn-lt"/>
              </a:rPr>
              <a:t>consectetur</a:t>
            </a:r>
            <a:r>
              <a:rPr lang="en-US" sz="1100" dirty="0">
                <a:latin typeface="+mn-lt"/>
              </a:rPr>
              <a:t> </a:t>
            </a:r>
            <a:r>
              <a:rPr lang="en-US" sz="1100" dirty="0" err="1">
                <a:latin typeface="+mn-lt"/>
              </a:rPr>
              <a:t>adipiscing</a:t>
            </a:r>
            <a:r>
              <a:rPr lang="en-US" sz="1100" dirty="0">
                <a:latin typeface="+mn-lt"/>
              </a:rPr>
              <a:t> </a:t>
            </a:r>
            <a:r>
              <a:rPr lang="en-US" sz="1100" dirty="0" err="1">
                <a:latin typeface="+mn-lt"/>
              </a:rPr>
              <a:t>elit</a:t>
            </a:r>
            <a:r>
              <a:rPr lang="en-US" sz="1100" dirty="0">
                <a:latin typeface="+mn-lt"/>
              </a:rPr>
              <a:t>, sed do </a:t>
            </a:r>
            <a:r>
              <a:rPr lang="en-US" sz="1100" dirty="0" err="1">
                <a:latin typeface="+mn-lt"/>
              </a:rPr>
              <a:t>eiusmod</a:t>
            </a:r>
            <a:r>
              <a:rPr lang="en-US" sz="1100" dirty="0">
                <a:latin typeface="+mn-lt"/>
              </a:rPr>
              <a:t> </a:t>
            </a:r>
            <a:r>
              <a:rPr lang="en-US" sz="1100" dirty="0" err="1">
                <a:latin typeface="+mn-lt"/>
              </a:rPr>
              <a:t>tempor</a:t>
            </a:r>
            <a:r>
              <a:rPr lang="en-US" sz="1100" dirty="0">
                <a:latin typeface="+mn-lt"/>
              </a:rPr>
              <a:t> </a:t>
            </a:r>
            <a:r>
              <a:rPr lang="en-US" sz="1100" dirty="0" err="1">
                <a:latin typeface="+mn-lt"/>
              </a:rPr>
              <a:t>incididunt</a:t>
            </a:r>
            <a:r>
              <a:rPr lang="en-US" sz="1100" dirty="0">
                <a:latin typeface="+mn-lt"/>
              </a:rPr>
              <a:t> </a:t>
            </a:r>
            <a:r>
              <a:rPr lang="en-US" sz="1100" dirty="0" err="1">
                <a:latin typeface="+mn-lt"/>
              </a:rPr>
              <a:t>ut</a:t>
            </a:r>
            <a:r>
              <a:rPr lang="en-US" sz="1100" dirty="0">
                <a:latin typeface="+mn-lt"/>
              </a:rPr>
              <a:t> labore et dolore magna </a:t>
            </a:r>
            <a:r>
              <a:rPr lang="en-US" sz="1100" dirty="0" err="1">
                <a:latin typeface="+mn-lt"/>
              </a:rPr>
              <a:t>aliqua</a:t>
            </a:r>
            <a:r>
              <a:rPr lang="en-US" sz="1100" dirty="0">
                <a:latin typeface="+mn-lt"/>
              </a:rPr>
              <a:t>.</a:t>
            </a:r>
          </a:p>
          <a:p>
            <a:pPr marL="285750" indent="-285750">
              <a:buFont typeface="Arial" panose="020B0604020202020204" pitchFamily="34" charset="0"/>
              <a:buChar char="•"/>
            </a:pPr>
            <a:r>
              <a:rPr lang="en-US" sz="1100" dirty="0">
                <a:latin typeface="+mn-lt"/>
              </a:rPr>
              <a:t>Ut </a:t>
            </a:r>
            <a:r>
              <a:rPr lang="en-US" sz="1100" dirty="0" err="1">
                <a:latin typeface="+mn-lt"/>
              </a:rPr>
              <a:t>enim</a:t>
            </a:r>
            <a:r>
              <a:rPr lang="en-US" sz="1100" dirty="0">
                <a:latin typeface="+mn-lt"/>
              </a:rPr>
              <a:t> ad minim </a:t>
            </a:r>
            <a:r>
              <a:rPr lang="en-US" sz="1100" dirty="0" err="1">
                <a:latin typeface="+mn-lt"/>
              </a:rPr>
              <a:t>veniam</a:t>
            </a:r>
            <a:r>
              <a:rPr lang="en-US" sz="1100" dirty="0">
                <a:latin typeface="+mn-lt"/>
              </a:rPr>
              <a:t>, </a:t>
            </a:r>
            <a:r>
              <a:rPr lang="en-US" sz="1100" dirty="0" err="1">
                <a:latin typeface="+mn-lt"/>
              </a:rPr>
              <a:t>quis</a:t>
            </a:r>
            <a:r>
              <a:rPr lang="en-US" sz="1100" dirty="0">
                <a:latin typeface="+mn-lt"/>
              </a:rPr>
              <a:t> </a:t>
            </a:r>
            <a:r>
              <a:rPr lang="en-US" sz="1100" dirty="0" err="1">
                <a:latin typeface="+mn-lt"/>
              </a:rPr>
              <a:t>nostrud</a:t>
            </a:r>
            <a:r>
              <a:rPr lang="en-US" sz="1100" dirty="0">
                <a:latin typeface="+mn-lt"/>
              </a:rPr>
              <a:t> exercitation </a:t>
            </a:r>
            <a:r>
              <a:rPr lang="en-US" sz="1100" dirty="0" err="1">
                <a:latin typeface="+mn-lt"/>
              </a:rPr>
              <a:t>ullamco</a:t>
            </a:r>
            <a:r>
              <a:rPr lang="en-US" sz="1100" dirty="0">
                <a:latin typeface="+mn-lt"/>
              </a:rPr>
              <a:t> </a:t>
            </a:r>
            <a:r>
              <a:rPr lang="en-US" sz="1100" dirty="0" err="1">
                <a:latin typeface="+mn-lt"/>
              </a:rPr>
              <a:t>laboris</a:t>
            </a:r>
            <a:r>
              <a:rPr lang="en-US" sz="1100" dirty="0">
                <a:latin typeface="+mn-lt"/>
              </a:rPr>
              <a:t> nisi </a:t>
            </a:r>
            <a:r>
              <a:rPr lang="en-US" sz="1100" dirty="0" err="1">
                <a:latin typeface="+mn-lt"/>
              </a:rPr>
              <a:t>ut</a:t>
            </a:r>
            <a:r>
              <a:rPr lang="en-US" sz="1100" dirty="0">
                <a:latin typeface="+mn-lt"/>
              </a:rPr>
              <a:t> </a:t>
            </a:r>
            <a:r>
              <a:rPr lang="en-US" sz="1100" dirty="0" err="1">
                <a:latin typeface="+mn-lt"/>
              </a:rPr>
              <a:t>aliquip</a:t>
            </a:r>
            <a:r>
              <a:rPr lang="en-US" sz="1100" dirty="0">
                <a:latin typeface="+mn-lt"/>
              </a:rPr>
              <a:t> ex </a:t>
            </a:r>
            <a:r>
              <a:rPr lang="en-US" sz="1100" dirty="0" err="1">
                <a:latin typeface="+mn-lt"/>
              </a:rPr>
              <a:t>ea</a:t>
            </a:r>
            <a:r>
              <a:rPr lang="en-US" sz="1100" dirty="0">
                <a:latin typeface="+mn-lt"/>
              </a:rPr>
              <a:t> </a:t>
            </a:r>
            <a:r>
              <a:rPr lang="en-US" sz="1100" dirty="0" err="1">
                <a:latin typeface="+mn-lt"/>
              </a:rPr>
              <a:t>commodo</a:t>
            </a:r>
            <a:r>
              <a:rPr lang="en-US" sz="1100" dirty="0">
                <a:latin typeface="+mn-lt"/>
              </a:rPr>
              <a:t> </a:t>
            </a:r>
            <a:r>
              <a:rPr lang="en-US" sz="1100" dirty="0" err="1">
                <a:latin typeface="+mn-lt"/>
              </a:rPr>
              <a:t>consequat</a:t>
            </a:r>
            <a:r>
              <a:rPr lang="en-US" sz="1100" dirty="0">
                <a:latin typeface="+mn-lt"/>
              </a:rPr>
              <a:t>. </a:t>
            </a:r>
          </a:p>
          <a:p>
            <a:pPr marL="285750" indent="-285750">
              <a:buFont typeface="Arial" panose="020B0604020202020204" pitchFamily="34" charset="0"/>
              <a:buChar char="•"/>
            </a:pPr>
            <a:r>
              <a:rPr lang="en-US" sz="1100" dirty="0">
                <a:latin typeface="+mn-lt"/>
              </a:rPr>
              <a:t>Duis </a:t>
            </a:r>
            <a:r>
              <a:rPr lang="en-US" sz="1100" dirty="0" err="1">
                <a:latin typeface="+mn-lt"/>
              </a:rPr>
              <a:t>aute</a:t>
            </a:r>
            <a:r>
              <a:rPr lang="en-US" sz="1100" dirty="0">
                <a:latin typeface="+mn-lt"/>
              </a:rPr>
              <a:t> </a:t>
            </a:r>
            <a:r>
              <a:rPr lang="en-US" sz="1100" dirty="0" err="1">
                <a:latin typeface="+mn-lt"/>
              </a:rPr>
              <a:t>irure</a:t>
            </a:r>
            <a:r>
              <a:rPr lang="en-US" sz="1100" dirty="0">
                <a:latin typeface="+mn-lt"/>
              </a:rPr>
              <a:t> dolor in </a:t>
            </a:r>
            <a:r>
              <a:rPr lang="en-US" sz="1100" dirty="0" err="1">
                <a:latin typeface="+mn-lt"/>
              </a:rPr>
              <a:t>reprehenderit</a:t>
            </a:r>
            <a:r>
              <a:rPr lang="en-US" sz="1100" dirty="0">
                <a:latin typeface="+mn-lt"/>
              </a:rPr>
              <a:t> in </a:t>
            </a:r>
            <a:r>
              <a:rPr lang="en-US" sz="1100" dirty="0" err="1">
                <a:latin typeface="+mn-lt"/>
              </a:rPr>
              <a:t>voluptate</a:t>
            </a:r>
            <a:r>
              <a:rPr lang="en-US" sz="1100" dirty="0">
                <a:latin typeface="+mn-lt"/>
              </a:rPr>
              <a:t> </a:t>
            </a:r>
            <a:r>
              <a:rPr lang="en-US" sz="1100" dirty="0" err="1">
                <a:latin typeface="+mn-lt"/>
              </a:rPr>
              <a:t>velit</a:t>
            </a:r>
            <a:r>
              <a:rPr lang="en-US" sz="1100" dirty="0">
                <a:latin typeface="+mn-lt"/>
              </a:rPr>
              <a:t> </a:t>
            </a:r>
            <a:r>
              <a:rPr lang="en-US" sz="1100" dirty="0" err="1">
                <a:latin typeface="+mn-lt"/>
              </a:rPr>
              <a:t>esse</a:t>
            </a:r>
            <a:r>
              <a:rPr lang="en-US" sz="1100" dirty="0">
                <a:latin typeface="+mn-lt"/>
              </a:rPr>
              <a:t> </a:t>
            </a:r>
            <a:r>
              <a:rPr lang="en-US" sz="1100" dirty="0" err="1">
                <a:latin typeface="+mn-lt"/>
              </a:rPr>
              <a:t>cillum</a:t>
            </a:r>
            <a:r>
              <a:rPr lang="en-US" sz="1100" dirty="0">
                <a:latin typeface="+mn-lt"/>
              </a:rPr>
              <a:t> dolore </a:t>
            </a:r>
            <a:r>
              <a:rPr lang="en-US" sz="1100" dirty="0" err="1">
                <a:latin typeface="+mn-lt"/>
              </a:rPr>
              <a:t>eu</a:t>
            </a:r>
            <a:r>
              <a:rPr lang="en-US" sz="1100" dirty="0">
                <a:latin typeface="+mn-lt"/>
              </a:rPr>
              <a:t> </a:t>
            </a:r>
            <a:r>
              <a:rPr lang="en-US" sz="1100" dirty="0" err="1">
                <a:latin typeface="+mn-lt"/>
              </a:rPr>
              <a:t>fugiat</a:t>
            </a:r>
            <a:r>
              <a:rPr lang="en-US" sz="1100" dirty="0">
                <a:latin typeface="+mn-lt"/>
              </a:rPr>
              <a:t> </a:t>
            </a:r>
            <a:r>
              <a:rPr lang="en-US" sz="1100" dirty="0" err="1">
                <a:latin typeface="+mn-lt"/>
              </a:rPr>
              <a:t>nulla</a:t>
            </a:r>
            <a:r>
              <a:rPr lang="en-US" sz="1100" dirty="0">
                <a:latin typeface="+mn-lt"/>
              </a:rPr>
              <a:t> </a:t>
            </a:r>
            <a:r>
              <a:rPr lang="en-US" sz="1100" dirty="0" err="1">
                <a:latin typeface="+mn-lt"/>
              </a:rPr>
              <a:t>pariatur</a:t>
            </a:r>
            <a:r>
              <a:rPr lang="en-US" sz="1100" dirty="0">
                <a:latin typeface="+mn-lt"/>
              </a:rPr>
              <a:t>. </a:t>
            </a:r>
          </a:p>
          <a:p>
            <a:pPr marL="285750" indent="-285750">
              <a:buFont typeface="Arial" panose="020B0604020202020204" pitchFamily="34" charset="0"/>
              <a:buChar char="•"/>
            </a:pPr>
            <a:r>
              <a:rPr lang="en-US" sz="1100" dirty="0" err="1">
                <a:latin typeface="+mn-lt"/>
              </a:rPr>
              <a:t>Excepteur</a:t>
            </a:r>
            <a:r>
              <a:rPr lang="en-US" sz="1100" dirty="0">
                <a:latin typeface="+mn-lt"/>
              </a:rPr>
              <a:t> </a:t>
            </a:r>
            <a:r>
              <a:rPr lang="en-US" sz="1100" dirty="0" err="1">
                <a:latin typeface="+mn-lt"/>
              </a:rPr>
              <a:t>sint</a:t>
            </a:r>
            <a:r>
              <a:rPr lang="en-US" sz="1100" dirty="0">
                <a:latin typeface="+mn-lt"/>
              </a:rPr>
              <a:t> </a:t>
            </a:r>
            <a:r>
              <a:rPr lang="en-US" sz="1100" dirty="0" err="1">
                <a:latin typeface="+mn-lt"/>
              </a:rPr>
              <a:t>occaecat</a:t>
            </a:r>
            <a:r>
              <a:rPr lang="en-US" sz="1100" dirty="0">
                <a:latin typeface="+mn-lt"/>
              </a:rPr>
              <a:t> </a:t>
            </a:r>
            <a:r>
              <a:rPr lang="en-US" sz="1100" dirty="0" err="1">
                <a:latin typeface="+mn-lt"/>
              </a:rPr>
              <a:t>cupidatat</a:t>
            </a:r>
            <a:r>
              <a:rPr lang="en-US" sz="1100" dirty="0">
                <a:latin typeface="+mn-lt"/>
              </a:rPr>
              <a:t> non </a:t>
            </a:r>
            <a:r>
              <a:rPr lang="en-US" sz="1100" dirty="0" err="1">
                <a:latin typeface="+mn-lt"/>
              </a:rPr>
              <a:t>proident</a:t>
            </a:r>
            <a:r>
              <a:rPr lang="en-US" sz="1100" dirty="0">
                <a:latin typeface="+mn-lt"/>
              </a:rPr>
              <a:t>, sunt in culpa qui </a:t>
            </a:r>
            <a:r>
              <a:rPr lang="en-US" sz="1100" dirty="0" err="1">
                <a:latin typeface="+mn-lt"/>
              </a:rPr>
              <a:t>officia</a:t>
            </a:r>
            <a:r>
              <a:rPr lang="en-US" sz="1100" dirty="0">
                <a:latin typeface="+mn-lt"/>
              </a:rPr>
              <a:t> </a:t>
            </a:r>
            <a:r>
              <a:rPr lang="en-US" sz="1100" dirty="0" err="1">
                <a:latin typeface="+mn-lt"/>
              </a:rPr>
              <a:t>deserunt</a:t>
            </a:r>
            <a:r>
              <a:rPr lang="en-US" sz="1100" dirty="0">
                <a:latin typeface="+mn-lt"/>
              </a:rPr>
              <a:t> </a:t>
            </a:r>
            <a:r>
              <a:rPr lang="en-US" sz="1100" dirty="0" err="1">
                <a:latin typeface="+mn-lt"/>
              </a:rPr>
              <a:t>mollit</a:t>
            </a:r>
            <a:r>
              <a:rPr lang="en-US" sz="1100" dirty="0">
                <a:latin typeface="+mn-lt"/>
              </a:rPr>
              <a:t> </a:t>
            </a:r>
            <a:r>
              <a:rPr lang="en-US" sz="1100" dirty="0" err="1">
                <a:latin typeface="+mn-lt"/>
              </a:rPr>
              <a:t>anim</a:t>
            </a:r>
            <a:r>
              <a:rPr lang="en-US" sz="1100" dirty="0">
                <a:latin typeface="+mn-lt"/>
              </a:rPr>
              <a:t> id </a:t>
            </a:r>
            <a:r>
              <a:rPr lang="en-US" sz="1100" dirty="0" err="1">
                <a:latin typeface="+mn-lt"/>
              </a:rPr>
              <a:t>est</a:t>
            </a:r>
            <a:r>
              <a:rPr lang="en-US" sz="1100" dirty="0">
                <a:latin typeface="+mn-lt"/>
              </a:rPr>
              <a:t> </a:t>
            </a:r>
            <a:r>
              <a:rPr lang="en-US" sz="1100" dirty="0" err="1">
                <a:latin typeface="+mn-lt"/>
              </a:rPr>
              <a:t>laborum</a:t>
            </a:r>
            <a:r>
              <a:rPr lang="en-US" sz="1100" dirty="0">
                <a:latin typeface="+mn-lt"/>
              </a:rPr>
              <a:t>.</a:t>
            </a:r>
            <a:endParaRPr lang="en-US" sz="1100" dirty="0"/>
          </a:p>
          <a:p>
            <a:pPr marL="171450" indent="-171450">
              <a:buFont typeface="Arial" panose="020B0604020202020204" pitchFamily="34" charset="0"/>
              <a:buChar char="•"/>
            </a:pPr>
            <a:endParaRPr lang="en-US" sz="1100" dirty="0"/>
          </a:p>
        </p:txBody>
      </p:sp>
      <p:sp>
        <p:nvSpPr>
          <p:cNvPr id="36" name="TextBox 35">
            <a:extLst>
              <a:ext uri="{FF2B5EF4-FFF2-40B4-BE49-F238E27FC236}">
                <a16:creationId xmlns:a16="http://schemas.microsoft.com/office/drawing/2014/main" id="{5AA26005-ABE7-DC5F-A0AF-BF8647C2E1E1}"/>
              </a:ext>
            </a:extLst>
          </p:cNvPr>
          <p:cNvSpPr txBox="1"/>
          <p:nvPr/>
        </p:nvSpPr>
        <p:spPr>
          <a:xfrm rot="5400000">
            <a:off x="9816986" y="1329203"/>
            <a:ext cx="407701" cy="3611206"/>
          </a:xfrm>
          <a:prstGeom prst="round2SameRect">
            <a:avLst>
              <a:gd name="adj1" fmla="val 46466"/>
              <a:gd name="adj2" fmla="val 0"/>
            </a:avLst>
          </a:prstGeom>
          <a:ln w="12700"/>
        </p:spPr>
        <p:style>
          <a:lnRef idx="2">
            <a:schemeClr val="dk1"/>
          </a:lnRef>
          <a:fillRef idx="1">
            <a:schemeClr val="lt1"/>
          </a:fillRef>
          <a:effectRef idx="0">
            <a:schemeClr val="dk1"/>
          </a:effectRef>
          <a:fontRef idx="minor">
            <a:schemeClr val="dk1"/>
          </a:fontRef>
        </p:style>
        <p:txBody>
          <a:bodyPr vert="vert270" wrap="square" lIns="91440" tIns="91440" rIns="91440" bIns="182880" anchor="ctr" anchorCtr="0">
            <a:noAutofit/>
          </a:bodyPr>
          <a:lstStyle/>
          <a:p>
            <a:pPr eaLnBrk="0" fontAlgn="base">
              <a:spcBef>
                <a:spcPct val="0"/>
              </a:spcBef>
              <a:spcAft>
                <a:spcPts val="600"/>
              </a:spcAft>
              <a:defRPr/>
            </a:pPr>
            <a:r>
              <a:rPr lang="en-US" b="1" dirty="0">
                <a:solidFill>
                  <a:srgbClr val="112F64"/>
                </a:solidFill>
                <a:latin typeface="Montserrat"/>
              </a:rPr>
              <a:t>Sales</a:t>
            </a:r>
          </a:p>
        </p:txBody>
      </p:sp>
      <p:graphicFrame>
        <p:nvGraphicFramePr>
          <p:cNvPr id="5" name="Table 4">
            <a:extLst>
              <a:ext uri="{FF2B5EF4-FFF2-40B4-BE49-F238E27FC236}">
                <a16:creationId xmlns:a16="http://schemas.microsoft.com/office/drawing/2014/main" id="{9070F467-8D72-CEDA-FBAA-B5946F9FD775}"/>
              </a:ext>
            </a:extLst>
          </p:cNvPr>
          <p:cNvGraphicFramePr>
            <a:graphicFrameLocks noGrp="1"/>
          </p:cNvGraphicFramePr>
          <p:nvPr>
            <p:extLst>
              <p:ext uri="{D42A27DB-BD31-4B8C-83A1-F6EECF244321}">
                <p14:modId xmlns:p14="http://schemas.microsoft.com/office/powerpoint/2010/main" val="262558741"/>
              </p:ext>
            </p:extLst>
          </p:nvPr>
        </p:nvGraphicFramePr>
        <p:xfrm>
          <a:off x="365560" y="1002828"/>
          <a:ext cx="11460879" cy="1808285"/>
        </p:xfrm>
        <a:graphic>
          <a:graphicData uri="http://schemas.openxmlformats.org/drawingml/2006/table">
            <a:tbl>
              <a:tblPr/>
              <a:tblGrid>
                <a:gridCol w="1279675">
                  <a:extLst>
                    <a:ext uri="{9D8B030D-6E8A-4147-A177-3AD203B41FA5}">
                      <a16:colId xmlns:a16="http://schemas.microsoft.com/office/drawing/2014/main" val="2353769120"/>
                    </a:ext>
                  </a:extLst>
                </a:gridCol>
                <a:gridCol w="1277631">
                  <a:extLst>
                    <a:ext uri="{9D8B030D-6E8A-4147-A177-3AD203B41FA5}">
                      <a16:colId xmlns:a16="http://schemas.microsoft.com/office/drawing/2014/main" val="3752234645"/>
                    </a:ext>
                  </a:extLst>
                </a:gridCol>
                <a:gridCol w="1277631">
                  <a:extLst>
                    <a:ext uri="{9D8B030D-6E8A-4147-A177-3AD203B41FA5}">
                      <a16:colId xmlns:a16="http://schemas.microsoft.com/office/drawing/2014/main" val="732008374"/>
                    </a:ext>
                  </a:extLst>
                </a:gridCol>
                <a:gridCol w="1277631">
                  <a:extLst>
                    <a:ext uri="{9D8B030D-6E8A-4147-A177-3AD203B41FA5}">
                      <a16:colId xmlns:a16="http://schemas.microsoft.com/office/drawing/2014/main" val="3535027843"/>
                    </a:ext>
                  </a:extLst>
                </a:gridCol>
                <a:gridCol w="1979667">
                  <a:extLst>
                    <a:ext uri="{9D8B030D-6E8A-4147-A177-3AD203B41FA5}">
                      <a16:colId xmlns:a16="http://schemas.microsoft.com/office/drawing/2014/main" val="172320807"/>
                    </a:ext>
                  </a:extLst>
                </a:gridCol>
                <a:gridCol w="2524539">
                  <a:extLst>
                    <a:ext uri="{9D8B030D-6E8A-4147-A177-3AD203B41FA5}">
                      <a16:colId xmlns:a16="http://schemas.microsoft.com/office/drawing/2014/main" val="481788938"/>
                    </a:ext>
                  </a:extLst>
                </a:gridCol>
                <a:gridCol w="1844105">
                  <a:extLst>
                    <a:ext uri="{9D8B030D-6E8A-4147-A177-3AD203B41FA5}">
                      <a16:colId xmlns:a16="http://schemas.microsoft.com/office/drawing/2014/main" val="2117491772"/>
                    </a:ext>
                  </a:extLst>
                </a:gridCol>
              </a:tblGrid>
              <a:tr h="254215">
                <a:tc gridSpan="2">
                  <a:txBody>
                    <a:bodyPr/>
                    <a:lstStyle/>
                    <a:p>
                      <a:pPr algn="ctr" fontAlgn="b"/>
                      <a:r>
                        <a:rPr lang="en-US" sz="1100" b="0" i="0" u="none" strike="noStrike" dirty="0">
                          <a:solidFill>
                            <a:schemeClr val="bg1"/>
                          </a:solidFill>
                          <a:effectLst/>
                          <a:latin typeface="Montserrat" panose="00000500000000000000" pitchFamily="2" charset="0"/>
                        </a:rPr>
                        <a:t>RAW TRAFFIC</a:t>
                      </a:r>
                    </a:p>
                  </a:txBody>
                  <a:tcPr marL="6350" marR="6350" marT="6350" marB="0" anchor="ctr">
                    <a:lnL w="12700" cap="flat" cmpd="sng" algn="ctr">
                      <a:solidFill>
                        <a:schemeClr val="tx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2"/>
                    </a:solidFill>
                  </a:tcPr>
                </a:tc>
                <a:tc hMerge="1">
                  <a:txBody>
                    <a:bodyPr/>
                    <a:lstStyle/>
                    <a:p>
                      <a:endParaRPr lang="en-US"/>
                    </a:p>
                  </a:txBody>
                  <a:tcPr/>
                </a:tc>
                <a:tc gridSpan="2">
                  <a:txBody>
                    <a:bodyPr/>
                    <a:lstStyle/>
                    <a:p>
                      <a:pPr algn="ctr" fontAlgn="b"/>
                      <a:r>
                        <a:rPr lang="en-US" sz="1100" b="0" i="0" u="none" strike="noStrike" dirty="0">
                          <a:solidFill>
                            <a:schemeClr val="bg1"/>
                          </a:solidFill>
                          <a:effectLst/>
                          <a:latin typeface="Montserrat" panose="00000500000000000000" pitchFamily="2" charset="0"/>
                        </a:rPr>
                        <a:t>ENGAGED TRAFFIC</a:t>
                      </a:r>
                    </a:p>
                  </a:txBody>
                  <a:tcPr marL="6350" marR="6350" marT="635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2"/>
                    </a:solidFill>
                  </a:tcPr>
                </a:tc>
                <a:tc hMerge="1">
                  <a:txBody>
                    <a:bodyPr/>
                    <a:lstStyle/>
                    <a:p>
                      <a:endParaRPr lang="en-US"/>
                    </a:p>
                  </a:txBody>
                  <a:tcPr/>
                </a:tc>
                <a:tc>
                  <a:txBody>
                    <a:bodyPr/>
                    <a:lstStyle/>
                    <a:p>
                      <a:pPr algn="ctr" fontAlgn="b"/>
                      <a:r>
                        <a:rPr lang="en-US" sz="1100" b="0" i="0" u="none" strike="noStrike" dirty="0">
                          <a:solidFill>
                            <a:schemeClr val="bg1"/>
                          </a:solidFill>
                          <a:effectLst/>
                          <a:latin typeface="Montserrat" panose="00000500000000000000" pitchFamily="2" charset="0"/>
                        </a:rPr>
                        <a:t>LEADS</a:t>
                      </a:r>
                    </a:p>
                  </a:txBody>
                  <a:tcPr marL="6350" marR="6350" marT="635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en-US" sz="1100" b="0" i="0" u="none" strike="noStrike" dirty="0">
                          <a:solidFill>
                            <a:schemeClr val="bg1"/>
                          </a:solidFill>
                          <a:effectLst/>
                          <a:latin typeface="Montserrat" panose="00000500000000000000" pitchFamily="2" charset="0"/>
                        </a:rPr>
                        <a:t>DIGITAL SALES</a:t>
                      </a:r>
                    </a:p>
                  </a:txBody>
                  <a:tcPr marL="6350" marR="6350" marT="635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en-US" sz="1100" b="0" i="0" u="none" strike="noStrike" dirty="0">
                          <a:solidFill>
                            <a:schemeClr val="tx1"/>
                          </a:solidFill>
                          <a:effectLst/>
                          <a:latin typeface="Montserrat" panose="00000500000000000000" pitchFamily="2" charset="0"/>
                        </a:rPr>
                        <a:t>DIGITAL SHARE</a:t>
                      </a:r>
                    </a:p>
                  </a:txBody>
                  <a:tcPr marL="6350" marR="6350" marT="6350" marB="0" anchor="ctr">
                    <a:lnL w="381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3"/>
                    </a:solidFill>
                  </a:tcPr>
                </a:tc>
                <a:extLst>
                  <a:ext uri="{0D108BD9-81ED-4DB2-BD59-A6C34878D82A}">
                    <a16:rowId xmlns:a16="http://schemas.microsoft.com/office/drawing/2014/main" val="1976009538"/>
                  </a:ext>
                </a:extLst>
              </a:tr>
              <a:tr h="127108">
                <a:tc>
                  <a:txBody>
                    <a:bodyPr/>
                    <a:lstStyle/>
                    <a:p>
                      <a:pPr algn="ctr" fontAlgn="b"/>
                      <a:r>
                        <a:rPr lang="en-US" sz="900" b="0" i="0" u="none" strike="noStrike">
                          <a:solidFill>
                            <a:schemeClr val="tx1"/>
                          </a:solidFill>
                          <a:effectLst/>
                          <a:latin typeface="Montserrat" panose="00000500000000000000" pitchFamily="2" charset="0"/>
                        </a:rPr>
                        <a:t>Incl. Display</a:t>
                      </a:r>
                    </a:p>
                  </a:txBody>
                  <a:tcPr marL="6350" marR="6350" marT="6350" marB="0" anchor="ctr">
                    <a:lnL w="12700" cap="flat" cmpd="sng" algn="ctr">
                      <a:solidFill>
                        <a:schemeClr val="tx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75000"/>
                      </a:schemeClr>
                    </a:solidFill>
                  </a:tcPr>
                </a:tc>
                <a:tc>
                  <a:txBody>
                    <a:bodyPr/>
                    <a:lstStyle/>
                    <a:p>
                      <a:pPr algn="ctr" fontAlgn="b"/>
                      <a:r>
                        <a:rPr lang="en-US" sz="900" b="0" i="0" u="none" strike="noStrike" dirty="0">
                          <a:solidFill>
                            <a:schemeClr val="tx1"/>
                          </a:solidFill>
                          <a:effectLst/>
                          <a:latin typeface="Montserrat" panose="00000500000000000000" pitchFamily="2" charset="0"/>
                        </a:rPr>
                        <a:t>Excl. Display</a:t>
                      </a:r>
                    </a:p>
                  </a:txBody>
                  <a:tcPr marL="6350" marR="6350" marT="635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75000"/>
                      </a:schemeClr>
                    </a:solidFill>
                  </a:tcPr>
                </a:tc>
                <a:tc>
                  <a:txBody>
                    <a:bodyPr/>
                    <a:lstStyle/>
                    <a:p>
                      <a:pPr algn="ctr" fontAlgn="b"/>
                      <a:r>
                        <a:rPr lang="en-US" sz="900" b="0" i="0" u="none" strike="noStrike">
                          <a:solidFill>
                            <a:schemeClr val="tx1"/>
                          </a:solidFill>
                          <a:effectLst/>
                          <a:latin typeface="Montserrat" panose="00000500000000000000" pitchFamily="2" charset="0"/>
                        </a:rPr>
                        <a:t>Incl. Display</a:t>
                      </a:r>
                    </a:p>
                  </a:txBody>
                  <a:tcPr marL="6350" marR="6350" marT="635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75000"/>
                      </a:schemeClr>
                    </a:solidFill>
                  </a:tcPr>
                </a:tc>
                <a:tc>
                  <a:txBody>
                    <a:bodyPr/>
                    <a:lstStyle/>
                    <a:p>
                      <a:pPr algn="ctr" fontAlgn="b"/>
                      <a:r>
                        <a:rPr lang="en-US" sz="900" b="0" i="0" u="none" strike="noStrike">
                          <a:solidFill>
                            <a:schemeClr val="tx1"/>
                          </a:solidFill>
                          <a:effectLst/>
                          <a:latin typeface="Montserrat" panose="00000500000000000000" pitchFamily="2" charset="0"/>
                        </a:rPr>
                        <a:t>Excl. Display</a:t>
                      </a:r>
                    </a:p>
                  </a:txBody>
                  <a:tcPr marL="6350" marR="6350" marT="635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75000"/>
                      </a:schemeClr>
                    </a:solidFill>
                  </a:tcPr>
                </a:tc>
                <a:tc rowSpan="2">
                  <a:txBody>
                    <a:bodyPr/>
                    <a:lstStyle/>
                    <a:p>
                      <a:pPr algn="ctr" fontAlgn="b"/>
                      <a:r>
                        <a:rPr lang="en-US" sz="1400" b="1" i="0" u="none" strike="noStrike" dirty="0">
                          <a:solidFill>
                            <a:sysClr val="windowText" lastClr="000000"/>
                          </a:solidFill>
                          <a:effectLst/>
                          <a:latin typeface="Montserrat" panose="00000500000000000000" pitchFamily="2" charset="0"/>
                        </a:rPr>
                        <a:t>1,009</a:t>
                      </a:r>
                    </a:p>
                  </a:txBody>
                  <a:tcPr marL="6350" marR="6350" marT="635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rowSpan="2">
                  <a:txBody>
                    <a:bodyPr/>
                    <a:lstStyle/>
                    <a:p>
                      <a:pPr algn="ctr" fontAlgn="b"/>
                      <a:r>
                        <a:rPr lang="en-US" sz="1400" b="1" i="0" u="none" strike="noStrike" dirty="0">
                          <a:solidFill>
                            <a:sysClr val="windowText" lastClr="000000"/>
                          </a:solidFill>
                          <a:effectLst/>
                          <a:latin typeface="Montserrat" panose="00000500000000000000" pitchFamily="2" charset="0"/>
                        </a:rPr>
                        <a:t>278</a:t>
                      </a:r>
                    </a:p>
                  </a:txBody>
                  <a:tcPr marL="6350" marR="6350" marT="635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rowSpan="6">
                  <a:txBody>
                    <a:bodyPr/>
                    <a:lstStyle/>
                    <a:p>
                      <a:pPr algn="ctr" fontAlgn="b"/>
                      <a:r>
                        <a:rPr lang="en-US" sz="2000" b="1" i="0" u="none" strike="noStrike" dirty="0">
                          <a:solidFill>
                            <a:sysClr val="windowText" lastClr="000000"/>
                          </a:solidFill>
                          <a:effectLst/>
                          <a:latin typeface="Montserrat" panose="00000500000000000000" pitchFamily="2" charset="0"/>
                        </a:rPr>
                        <a:t>22.2%</a:t>
                      </a:r>
                    </a:p>
                    <a:p>
                      <a:pPr algn="ctr" fontAlgn="b"/>
                      <a:r>
                        <a:rPr lang="en-US" sz="1000" b="0" i="0" u="none" strike="noStrike" dirty="0">
                          <a:solidFill>
                            <a:srgbClr val="00B050"/>
                          </a:solidFill>
                          <a:effectLst/>
                          <a:latin typeface="Montserrat" panose="00000500000000000000" pitchFamily="2" charset="0"/>
                        </a:rPr>
                        <a:t>95%</a:t>
                      </a:r>
                    </a:p>
                  </a:txBody>
                  <a:tcPr marL="6350" marR="6350" marT="6350" marB="0" anchor="ctr">
                    <a:lnL w="381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0980886"/>
                  </a:ext>
                </a:extLst>
              </a:tr>
              <a:tr h="17792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400" b="1" i="0" u="none" strike="noStrike" dirty="0">
                          <a:solidFill>
                            <a:sysClr val="windowText" lastClr="000000"/>
                          </a:solidFill>
                          <a:effectLst/>
                          <a:latin typeface="Montserrat" panose="00000500000000000000" pitchFamily="2" charset="0"/>
                        </a:rPr>
                        <a:t>112,010</a:t>
                      </a:r>
                    </a:p>
                  </a:txBody>
                  <a:tcPr marL="6350" marR="6350" marT="6350" marB="0" anchor="b">
                    <a:lnL w="12700" cap="flat" cmpd="sng" algn="ctr">
                      <a:solidFill>
                        <a:schemeClr val="tx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400" b="1" i="0" u="none" strike="noStrike" dirty="0">
                          <a:solidFill>
                            <a:sysClr val="windowText" lastClr="000000"/>
                          </a:solidFill>
                          <a:effectLst/>
                          <a:latin typeface="Montserrat" panose="00000500000000000000" pitchFamily="2" charset="0"/>
                        </a:rPr>
                        <a:t>68,276</a:t>
                      </a:r>
                    </a:p>
                  </a:txBody>
                  <a:tcPr marL="6350" marR="6350" marT="6350" marB="0" anchor="b">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400" b="1" i="0" u="none" strike="noStrike" dirty="0">
                          <a:solidFill>
                            <a:sysClr val="windowText" lastClr="000000"/>
                          </a:solidFill>
                          <a:effectLst/>
                          <a:latin typeface="Montserrat" panose="00000500000000000000" pitchFamily="2" charset="0"/>
                        </a:rPr>
                        <a:t>22,750</a:t>
                      </a:r>
                    </a:p>
                  </a:txBody>
                  <a:tcPr marL="6350" marR="6350" marT="6350" marB="0" anchor="b">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400" b="1" i="0" u="none" strike="noStrike" dirty="0">
                          <a:solidFill>
                            <a:sysClr val="windowText" lastClr="000000"/>
                          </a:solidFill>
                          <a:effectLst/>
                          <a:latin typeface="Montserrat" panose="00000500000000000000" pitchFamily="2" charset="0"/>
                        </a:rPr>
                        <a:t>19,150</a:t>
                      </a:r>
                    </a:p>
                  </a:txBody>
                  <a:tcPr marL="6350" marR="6350" marT="6350" marB="0" anchor="b">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2338643049"/>
                  </a:ext>
                </a:extLst>
              </a:tr>
              <a:tr h="254215">
                <a:tc>
                  <a:txBody>
                    <a:bodyPr/>
                    <a:lstStyle/>
                    <a:p>
                      <a:pPr algn="ctr" fontAlgn="b"/>
                      <a:r>
                        <a:rPr lang="en-US" sz="800" b="0" i="0" u="none" strike="noStrike" dirty="0">
                          <a:solidFill>
                            <a:srgbClr val="00B050"/>
                          </a:solidFill>
                          <a:effectLst/>
                          <a:latin typeface="Montserrat" panose="00000500000000000000" pitchFamily="2" charset="0"/>
                        </a:rPr>
                        <a:t>101%</a:t>
                      </a:r>
                    </a:p>
                  </a:txBody>
                  <a:tcPr marL="6350" marR="6350" marT="6350" marB="0">
                    <a:lnL w="12700" cap="flat" cmpd="sng" algn="ctr">
                      <a:solidFill>
                        <a:schemeClr val="tx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algn="ctr" fontAlgn="b"/>
                      <a:r>
                        <a:rPr lang="en-US" sz="800" b="0" i="0" u="none" strike="noStrike" dirty="0">
                          <a:solidFill>
                            <a:srgbClr val="00B050"/>
                          </a:solidFill>
                          <a:effectLst/>
                          <a:latin typeface="Montserrat" panose="00000500000000000000" pitchFamily="2" charset="0"/>
                        </a:rPr>
                        <a:t>100%</a:t>
                      </a:r>
                    </a:p>
                  </a:txBody>
                  <a:tcPr marL="6350" marR="6350" marT="6350" marB="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algn="ctr" fontAlgn="b"/>
                      <a:r>
                        <a:rPr lang="en-US" sz="800" b="0" i="0" u="none" strike="noStrike" dirty="0">
                          <a:solidFill>
                            <a:srgbClr val="FF0000"/>
                          </a:solidFill>
                          <a:effectLst/>
                          <a:latin typeface="Montserrat" panose="00000500000000000000" pitchFamily="2" charset="0"/>
                        </a:rPr>
                        <a:t>96%</a:t>
                      </a:r>
                    </a:p>
                  </a:txBody>
                  <a:tcPr marL="6350" marR="6350" marT="6350" marB="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algn="ctr" fontAlgn="b"/>
                      <a:r>
                        <a:rPr lang="en-US" sz="800" b="0" i="0" u="none" strike="noStrike" dirty="0">
                          <a:solidFill>
                            <a:srgbClr val="FF0000"/>
                          </a:solidFill>
                          <a:effectLst/>
                          <a:latin typeface="Montserrat" panose="00000500000000000000" pitchFamily="2" charset="0"/>
                        </a:rPr>
                        <a:t>96%</a:t>
                      </a:r>
                    </a:p>
                  </a:txBody>
                  <a:tcPr marL="6350" marR="6350" marT="6350" marB="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algn="ctr" fontAlgn="b"/>
                      <a:r>
                        <a:rPr lang="en-US" sz="800" b="0" i="0" u="none" strike="noStrike" dirty="0">
                          <a:solidFill>
                            <a:srgbClr val="FFC000"/>
                          </a:solidFill>
                          <a:effectLst/>
                          <a:latin typeface="Montserrat" panose="00000500000000000000" pitchFamily="2" charset="0"/>
                        </a:rPr>
                        <a:t>91%</a:t>
                      </a:r>
                    </a:p>
                  </a:txBody>
                  <a:tcPr marL="6350" marR="6350" marT="6350" marB="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algn="ctr" fontAlgn="b"/>
                      <a:r>
                        <a:rPr lang="en-US" sz="800" b="0" i="0" u="none" strike="noStrike" dirty="0">
                          <a:solidFill>
                            <a:srgbClr val="FF0000"/>
                          </a:solidFill>
                          <a:effectLst/>
                          <a:latin typeface="Montserrat" panose="00000500000000000000" pitchFamily="2" charset="0"/>
                        </a:rPr>
                        <a:t>99%</a:t>
                      </a:r>
                    </a:p>
                  </a:txBody>
                  <a:tcPr marL="6350" marR="6350" marT="6350" marB="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vMerge="1">
                  <a:txBody>
                    <a:bodyPr/>
                    <a:lstStyle/>
                    <a:p>
                      <a:pPr algn="ctr" fontAlgn="b"/>
                      <a:endParaRPr lang="en-US" sz="800" b="0" i="0" u="none" strike="noStrike">
                        <a:solidFill>
                          <a:srgbClr val="00B050"/>
                        </a:solidFill>
                        <a:effectLst/>
                        <a:latin typeface="Montserrat" panose="00000500000000000000" pitchFamily="2" charset="0"/>
                      </a:endParaRPr>
                    </a:p>
                  </a:txBody>
                  <a:tcPr marL="6350" marR="6350" marT="6350" marB="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446385758"/>
                  </a:ext>
                </a:extLst>
              </a:tr>
              <a:tr h="254215">
                <a:tc rowSpan="3" gridSpan="2">
                  <a:txBody>
                    <a:bodyPr/>
                    <a:lstStyle/>
                    <a:p>
                      <a:pPr algn="ctr" fontAlgn="b"/>
                      <a:r>
                        <a:rPr lang="en-US" sz="1100" b="0" i="0" u="none" strike="noStrike">
                          <a:solidFill>
                            <a:sysClr val="windowText" lastClr="000000"/>
                          </a:solidFill>
                          <a:effectLst/>
                          <a:latin typeface="Montserrat" panose="00000500000000000000" pitchFamily="2" charset="0"/>
                        </a:rPr>
                        <a:t>Conversion Rates</a:t>
                      </a:r>
                    </a:p>
                  </a:txBody>
                  <a:tcPr marL="6350" marR="6350" marT="6350" marB="0" anchor="ctr">
                    <a:lnL w="12700" cap="flat" cmpd="sng" algn="ctr">
                      <a:solidFill>
                        <a:schemeClr val="tx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85000"/>
                      </a:schemeClr>
                    </a:solidFill>
                  </a:tcPr>
                </a:tc>
                <a:tc rowSpan="3" hMerge="1">
                  <a:txBody>
                    <a:bodyPr/>
                    <a:lstStyle/>
                    <a:p>
                      <a:endParaRPr lang="en-US"/>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gridSpan="2">
                  <a:txBody>
                    <a:bodyPr/>
                    <a:lstStyle/>
                    <a:p>
                      <a:pPr algn="ctr" fontAlgn="b"/>
                      <a:r>
                        <a:rPr lang="en-US" sz="1100" b="0" i="0" u="none" strike="noStrike" dirty="0">
                          <a:solidFill>
                            <a:schemeClr val="bg1"/>
                          </a:solidFill>
                          <a:effectLst/>
                          <a:latin typeface="Montserrat" panose="00000500000000000000" pitchFamily="2" charset="0"/>
                        </a:rPr>
                        <a:t>ENG. VISIT RATE</a:t>
                      </a:r>
                    </a:p>
                  </a:txBody>
                  <a:tcPr marL="6350" marR="6350" marT="635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2"/>
                    </a:solidFill>
                  </a:tcPr>
                </a:tc>
                <a:tc hMerge="1">
                  <a:txBody>
                    <a:bodyPr/>
                    <a:lstStyle/>
                    <a:p>
                      <a:endParaRPr lang="en-US"/>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algn="ctr" fontAlgn="b"/>
                      <a:r>
                        <a:rPr lang="en-US" sz="1100" b="0" i="0" u="none" strike="noStrike" dirty="0">
                          <a:solidFill>
                            <a:schemeClr val="bg1"/>
                          </a:solidFill>
                          <a:effectLst/>
                          <a:latin typeface="Montserrat" panose="00000500000000000000" pitchFamily="2" charset="0"/>
                        </a:rPr>
                        <a:t>ENG. TRAFFIC TO LEADS</a:t>
                      </a:r>
                    </a:p>
                  </a:txBody>
                  <a:tcPr marL="6350" marR="6350" marT="635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en-US" sz="1100" b="0" i="0" u="none" strike="noStrike" dirty="0">
                          <a:solidFill>
                            <a:schemeClr val="bg1"/>
                          </a:solidFill>
                          <a:effectLst/>
                          <a:latin typeface="Montserrat" panose="00000500000000000000" pitchFamily="2" charset="0"/>
                        </a:rPr>
                        <a:t>CLOSE RATE</a:t>
                      </a:r>
                    </a:p>
                  </a:txBody>
                  <a:tcPr marL="6350" marR="6350" marT="635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vMerge="1">
                  <a:txBody>
                    <a:bodyPr/>
                    <a:lstStyle/>
                    <a:p>
                      <a:pPr algn="ctr" fontAlgn="b"/>
                      <a:endParaRPr lang="en-US" sz="1100" b="0" i="0" u="none" strike="noStrike">
                        <a:solidFill>
                          <a:schemeClr val="bg1"/>
                        </a:solidFill>
                        <a:effectLst/>
                        <a:latin typeface="Montserrat" panose="00000500000000000000" pitchFamily="2" charset="0"/>
                      </a:endParaRPr>
                    </a:p>
                  </a:txBody>
                  <a:tcPr marL="6350" marR="6350" marT="635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2"/>
                    </a:solidFill>
                  </a:tcPr>
                </a:tc>
                <a:extLst>
                  <a:ext uri="{0D108BD9-81ED-4DB2-BD59-A6C34878D82A}">
                    <a16:rowId xmlns:a16="http://schemas.microsoft.com/office/drawing/2014/main" val="3813952174"/>
                  </a:ext>
                </a:extLst>
              </a:tr>
              <a:tr h="140896">
                <a:tc gridSpan="2" vMerge="1">
                  <a:txBody>
                    <a:bodyPr/>
                    <a:lstStyle/>
                    <a:p>
                      <a:pPr algn="ctr" fontAlgn="b"/>
                      <a:endParaRPr lang="en-US" sz="1100" b="0" i="0" u="none" strike="noStrike">
                        <a:solidFill>
                          <a:schemeClr val="bg1"/>
                        </a:solidFill>
                        <a:effectLst/>
                        <a:latin typeface="Montserrat" panose="00000500000000000000" pitchFamily="2" charset="0"/>
                      </a:endParaRPr>
                    </a:p>
                  </a:txBody>
                  <a:tcPr marL="6350" marR="6350" marT="635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2"/>
                    </a:solidFill>
                  </a:tcPr>
                </a:tc>
                <a:tc hMerge="1" vMerge="1">
                  <a:txBody>
                    <a:bodyPr/>
                    <a:lstStyle/>
                    <a:p>
                      <a:endParaRPr lang="en-US"/>
                    </a:p>
                  </a:txBody>
                  <a:tcPr/>
                </a:tc>
                <a:tc>
                  <a:txBody>
                    <a:bodyPr/>
                    <a:lstStyle/>
                    <a:p>
                      <a:pPr algn="ctr" fontAlgn="b"/>
                      <a:r>
                        <a:rPr lang="en-US" sz="900" b="0" i="0" u="none" strike="noStrike">
                          <a:solidFill>
                            <a:sysClr val="windowText" lastClr="000000"/>
                          </a:solidFill>
                          <a:effectLst/>
                          <a:latin typeface="Montserrat" panose="00000500000000000000" pitchFamily="2" charset="0"/>
                        </a:rPr>
                        <a:t>Incl. Display</a:t>
                      </a:r>
                    </a:p>
                  </a:txBody>
                  <a:tcPr marL="6350" marR="6350" marT="635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75000"/>
                      </a:schemeClr>
                    </a:solidFill>
                  </a:tcPr>
                </a:tc>
                <a:tc>
                  <a:txBody>
                    <a:bodyPr/>
                    <a:lstStyle/>
                    <a:p>
                      <a:pPr algn="ctr" fontAlgn="b"/>
                      <a:r>
                        <a:rPr lang="en-US" sz="900" b="0" i="0" u="none" strike="noStrike">
                          <a:solidFill>
                            <a:sysClr val="windowText" lastClr="000000"/>
                          </a:solidFill>
                          <a:effectLst/>
                          <a:latin typeface="Montserrat" panose="00000500000000000000" pitchFamily="2" charset="0"/>
                        </a:rPr>
                        <a:t>Excl. Display</a:t>
                      </a:r>
                    </a:p>
                  </a:txBody>
                  <a:tcPr marL="6350" marR="6350" marT="635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75000"/>
                      </a:schemeClr>
                    </a:solidFill>
                  </a:tcPr>
                </a:tc>
                <a:tc>
                  <a:txBody>
                    <a:bodyPr/>
                    <a:lstStyle/>
                    <a:p>
                      <a:pPr algn="ctr" fontAlgn="b"/>
                      <a:endParaRPr lang="en-US" sz="1100" b="0" i="0" u="none" strike="noStrike">
                        <a:solidFill>
                          <a:sysClr val="windowText" lastClr="000000"/>
                        </a:solidFill>
                        <a:effectLst/>
                        <a:latin typeface="Montserrat" panose="00000500000000000000" pitchFamily="2" charset="0"/>
                      </a:endParaRPr>
                    </a:p>
                  </a:txBody>
                  <a:tcPr marL="6350" marR="6350" marT="635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algn="ctr" fontAlgn="b"/>
                      <a:endParaRPr lang="en-US" sz="1100" b="0" i="0" u="none" strike="noStrike">
                        <a:solidFill>
                          <a:sysClr val="windowText" lastClr="000000"/>
                        </a:solidFill>
                        <a:effectLst/>
                        <a:latin typeface="Montserrat" panose="00000500000000000000" pitchFamily="2" charset="0"/>
                      </a:endParaRPr>
                    </a:p>
                  </a:txBody>
                  <a:tcPr marL="6350" marR="6350" marT="635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vMerge="1">
                  <a:txBody>
                    <a:bodyPr/>
                    <a:lstStyle/>
                    <a:p>
                      <a:pPr algn="ctr" fontAlgn="b"/>
                      <a:endParaRPr lang="en-US" sz="1100" b="0" i="0" u="none" strike="noStrike">
                        <a:solidFill>
                          <a:schemeClr val="bg1"/>
                        </a:solidFill>
                        <a:effectLst/>
                        <a:latin typeface="Montserrat" panose="00000500000000000000" pitchFamily="2" charset="0"/>
                      </a:endParaRPr>
                    </a:p>
                  </a:txBody>
                  <a:tcPr marL="6350" marR="6350" marT="635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256558457"/>
                  </a:ext>
                </a:extLst>
              </a:tr>
              <a:tr h="508430">
                <a:tc gridSpan="2" vMerge="1">
                  <a:txBody>
                    <a:bodyPr/>
                    <a:lstStyle/>
                    <a:p>
                      <a:pPr algn="ctr" fontAlgn="b"/>
                      <a:endParaRPr lang="en-US" sz="1100" b="0" i="0" u="none" strike="noStrike">
                        <a:solidFill>
                          <a:schemeClr val="bg1"/>
                        </a:solidFill>
                        <a:effectLst/>
                        <a:latin typeface="Montserrat" panose="00000500000000000000" pitchFamily="2" charset="0"/>
                      </a:endParaRPr>
                    </a:p>
                  </a:txBody>
                  <a:tcPr marL="6350" marR="6350" marT="635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2"/>
                    </a:solidFill>
                  </a:tcPr>
                </a:tc>
                <a:tc hMerge="1" vMerge="1">
                  <a:txBody>
                    <a:bodyPr/>
                    <a:lstStyle/>
                    <a:p>
                      <a:endParaRPr lang="en-US"/>
                    </a:p>
                  </a:txBody>
                  <a:tcPr/>
                </a:tc>
                <a:tc>
                  <a:txBody>
                    <a:bodyPr/>
                    <a:lstStyle/>
                    <a:p>
                      <a:pPr algn="ctr" fontAlgn="b"/>
                      <a:r>
                        <a:rPr lang="en-US" sz="1400" b="1" i="0" u="none" strike="noStrike" dirty="0">
                          <a:solidFill>
                            <a:sysClr val="windowText" lastClr="000000"/>
                          </a:solidFill>
                          <a:effectLst/>
                          <a:latin typeface="Montserrat" panose="00000500000000000000" pitchFamily="2" charset="0"/>
                        </a:rPr>
                        <a:t>20.3%</a:t>
                      </a:r>
                    </a:p>
                    <a:p>
                      <a:pPr algn="ctr" fontAlgn="b"/>
                      <a:r>
                        <a:rPr lang="en-US" sz="800" b="0" i="0" u="none" strike="noStrike" dirty="0">
                          <a:solidFill>
                            <a:srgbClr val="FF0000"/>
                          </a:solidFill>
                          <a:effectLst/>
                          <a:latin typeface="Montserrat" panose="00000500000000000000" pitchFamily="2" charset="0"/>
                        </a:rPr>
                        <a:t>95%</a:t>
                      </a:r>
                      <a:endParaRPr lang="en-US" sz="700" b="0" i="0" u="none" strike="noStrike" dirty="0">
                        <a:solidFill>
                          <a:srgbClr val="FF0000"/>
                        </a:solidFill>
                        <a:effectLst/>
                        <a:latin typeface="Montserrat" panose="00000500000000000000" pitchFamily="2" charset="0"/>
                      </a:endParaRPr>
                    </a:p>
                  </a:txBody>
                  <a:tcPr marL="6350" marR="6350" marT="6350" marB="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400" b="1" i="0" u="none" strike="noStrike" dirty="0">
                          <a:solidFill>
                            <a:sysClr val="windowText" lastClr="000000"/>
                          </a:solidFill>
                          <a:effectLst/>
                          <a:latin typeface="Montserrat" panose="00000500000000000000" pitchFamily="2" charset="0"/>
                        </a:rPr>
                        <a:t>28%</a:t>
                      </a:r>
                    </a:p>
                    <a:p>
                      <a:pPr algn="ctr" fontAlgn="b"/>
                      <a:r>
                        <a:rPr lang="en-US" sz="800" b="0" i="0" u="none" strike="noStrike" dirty="0">
                          <a:solidFill>
                            <a:srgbClr val="FF0000"/>
                          </a:solidFill>
                          <a:effectLst/>
                          <a:latin typeface="Montserrat" panose="00000500000000000000" pitchFamily="2" charset="0"/>
                        </a:rPr>
                        <a:t>96%</a:t>
                      </a:r>
                      <a:endParaRPr lang="en-US" sz="800" b="1" i="0" u="none" strike="noStrike" dirty="0">
                        <a:solidFill>
                          <a:srgbClr val="FF0000"/>
                        </a:solidFill>
                        <a:effectLst/>
                        <a:latin typeface="Montserrat" panose="00000500000000000000" pitchFamily="2" charset="0"/>
                      </a:endParaRPr>
                    </a:p>
                  </a:txBody>
                  <a:tcPr marL="6350" marR="6350" marT="6350" marB="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400" b="1" i="0" u="none" strike="noStrike" dirty="0">
                          <a:solidFill>
                            <a:sysClr val="windowText" lastClr="000000"/>
                          </a:solidFill>
                          <a:effectLst/>
                          <a:latin typeface="Montserrat" panose="00000500000000000000" pitchFamily="2" charset="0"/>
                        </a:rPr>
                        <a:t>5.3%</a:t>
                      </a:r>
                    </a:p>
                    <a:p>
                      <a:pPr algn="ctr" fontAlgn="b"/>
                      <a:r>
                        <a:rPr lang="en-US" sz="800" b="0" i="0" u="none" strike="noStrike" dirty="0">
                          <a:solidFill>
                            <a:srgbClr val="00B050"/>
                          </a:solidFill>
                          <a:effectLst/>
                          <a:latin typeface="Montserrat" panose="00000500000000000000" pitchFamily="2" charset="0"/>
                        </a:rPr>
                        <a:t>94%</a:t>
                      </a:r>
                      <a:endParaRPr lang="en-US" sz="1400" b="0" i="0" u="none" strike="noStrike" dirty="0">
                        <a:solidFill>
                          <a:srgbClr val="00B050"/>
                        </a:solidFill>
                        <a:effectLst/>
                        <a:latin typeface="Montserrat" panose="00000500000000000000" pitchFamily="2" charset="0"/>
                      </a:endParaRPr>
                    </a:p>
                  </a:txBody>
                  <a:tcPr marL="6350" marR="6350" marT="6350" marB="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400" b="1" i="0" u="none" strike="noStrike" dirty="0">
                          <a:solidFill>
                            <a:sysClr val="windowText" lastClr="000000"/>
                          </a:solidFill>
                          <a:effectLst/>
                          <a:latin typeface="Montserrat" panose="00000500000000000000" pitchFamily="2" charset="0"/>
                        </a:rPr>
                        <a:t>27.6%</a:t>
                      </a:r>
                    </a:p>
                    <a:p>
                      <a:pPr algn="ctr" fontAlgn="b"/>
                      <a:r>
                        <a:rPr lang="en-US" sz="800" b="0" i="0" u="none" strike="noStrike" dirty="0">
                          <a:solidFill>
                            <a:srgbClr val="FF0000"/>
                          </a:solidFill>
                          <a:effectLst/>
                          <a:latin typeface="Montserrat" panose="00000500000000000000" pitchFamily="2" charset="0"/>
                        </a:rPr>
                        <a:t>109%</a:t>
                      </a:r>
                    </a:p>
                  </a:txBody>
                  <a:tcPr marL="6350" marR="6350" marT="6350" marB="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pPr algn="ctr" fontAlgn="b"/>
                      <a:endParaRPr lang="en-US" sz="800" b="0" i="0" u="none" strike="noStrike">
                        <a:solidFill>
                          <a:srgbClr val="00B050"/>
                        </a:solidFill>
                        <a:effectLst/>
                        <a:latin typeface="Montserrat" panose="00000500000000000000" pitchFamily="2" charset="0"/>
                      </a:endParaRPr>
                    </a:p>
                  </a:txBody>
                  <a:tcPr marL="6350" marR="6350" marT="635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334163469"/>
                  </a:ext>
                </a:extLst>
              </a:tr>
            </a:tbl>
          </a:graphicData>
        </a:graphic>
      </p:graphicFrame>
    </p:spTree>
    <p:extLst>
      <p:ext uri="{BB962C8B-B14F-4D97-AF65-F5344CB8AC3E}">
        <p14:creationId xmlns:p14="http://schemas.microsoft.com/office/powerpoint/2010/main" val="4180726248"/>
      </p:ext>
    </p:extLst>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37480E6-E559-4F76-AF62-08CFD224694D}"/>
              </a:ext>
            </a:extLst>
          </p:cNvPr>
          <p:cNvGraphicFramePr>
            <a:graphicFrameLocks noChangeAspect="1"/>
          </p:cNvGraphicFramePr>
          <p:nvPr>
            <p:custDataLst>
              <p:tags r:id="rId1"/>
            </p:custDataLst>
            <p:extLst>
              <p:ext uri="{D42A27DB-BD31-4B8C-83A1-F6EECF244321}">
                <p14:modId xmlns:p14="http://schemas.microsoft.com/office/powerpoint/2010/main" val="96156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6" imgW="317" imgH="318" progId="TCLayout.ActiveDocument.1">
                  <p:embed/>
                </p:oleObj>
              </mc:Choice>
              <mc:Fallback>
                <p:oleObj name="think-cell Slide" r:id="rId46" imgW="317" imgH="318" progId="TCLayout.ActiveDocument.1">
                  <p:embed/>
                  <p:pic>
                    <p:nvPicPr>
                      <p:cNvPr id="6" name="think-cell data - do not delete" hidden="1">
                        <a:extLst>
                          <a:ext uri="{FF2B5EF4-FFF2-40B4-BE49-F238E27FC236}">
                            <a16:creationId xmlns:a16="http://schemas.microsoft.com/office/drawing/2014/main" id="{837480E6-E559-4F76-AF62-08CFD224694D}"/>
                          </a:ext>
                        </a:extLst>
                      </p:cNvPr>
                      <p:cNvPicPr/>
                      <p:nvPr/>
                    </p:nvPicPr>
                    <p:blipFill>
                      <a:blip r:embed="rId47"/>
                      <a:stretch>
                        <a:fillRect/>
                      </a:stretch>
                    </p:blipFill>
                    <p:spPr>
                      <a:xfrm>
                        <a:off x="1588" y="1588"/>
                        <a:ext cx="1588" cy="1588"/>
                      </a:xfrm>
                      <a:prstGeom prst="rect">
                        <a:avLst/>
                      </a:prstGeom>
                    </p:spPr>
                  </p:pic>
                </p:oleObj>
              </mc:Fallback>
            </mc:AlternateContent>
          </a:graphicData>
        </a:graphic>
      </p:graphicFrame>
      <p:sp>
        <p:nvSpPr>
          <p:cNvPr id="34" name="Text Placeholder 15">
            <a:extLst>
              <a:ext uri="{FF2B5EF4-FFF2-40B4-BE49-F238E27FC236}">
                <a16:creationId xmlns:a16="http://schemas.microsoft.com/office/drawing/2014/main" id="{EB30DE7F-4B4F-23C5-348D-24D5C4E2D451}"/>
              </a:ext>
            </a:extLst>
          </p:cNvPr>
          <p:cNvSpPr>
            <a:spLocks noGrp="1"/>
          </p:cNvSpPr>
          <p:nvPr>
            <p:ph type="body" sz="quarter" idx="26"/>
          </p:nvPr>
        </p:nvSpPr>
        <p:spPr>
          <a:xfrm>
            <a:off x="454025" y="868836"/>
            <a:ext cx="11271250" cy="261466"/>
          </a:xfrm>
        </p:spPr>
        <p:txBody>
          <a:bodyPr/>
          <a:lstStyle/>
          <a:p>
            <a:r>
              <a:rPr lang="en-US" sz="1400" dirty="0"/>
              <a:t>Increases in raw traffic performance driven by Organic traffic (117% MoM), </a:t>
            </a:r>
            <a:r>
              <a:rPr lang="en-US" sz="1400" dirty="0">
                <a:highlight>
                  <a:srgbClr val="FFFF00"/>
                </a:highlight>
              </a:rPr>
              <a:t>with over 1/3 of those visits entering on the Comcast Business App landing page.</a:t>
            </a:r>
          </a:p>
        </p:txBody>
      </p:sp>
      <p:sp>
        <p:nvSpPr>
          <p:cNvPr id="3" name="Title 2">
            <a:extLst>
              <a:ext uri="{FF2B5EF4-FFF2-40B4-BE49-F238E27FC236}">
                <a16:creationId xmlns:a16="http://schemas.microsoft.com/office/drawing/2014/main" id="{552BC261-C02D-46AB-91BF-A8AB02AC8AAC}"/>
              </a:ext>
            </a:extLst>
          </p:cNvPr>
          <p:cNvSpPr>
            <a:spLocks noGrp="1"/>
          </p:cNvSpPr>
          <p:nvPr>
            <p:ph type="title"/>
          </p:nvPr>
        </p:nvSpPr>
        <p:spPr>
          <a:xfrm>
            <a:off x="463548" y="514928"/>
            <a:ext cx="11271251" cy="365760"/>
          </a:xfrm>
        </p:spPr>
        <p:txBody>
          <a:bodyPr vert="horz"/>
          <a:lstStyle/>
          <a:p>
            <a:r>
              <a:rPr lang="en-US" dirty="0"/>
              <a:t>SB Raw Traffic 101% MoM; Eng. Visit Rate 95% MoM</a:t>
            </a:r>
          </a:p>
        </p:txBody>
      </p:sp>
      <p:graphicFrame>
        <p:nvGraphicFramePr>
          <p:cNvPr id="7" name="Chart 6">
            <a:extLst>
              <a:ext uri="{FF2B5EF4-FFF2-40B4-BE49-F238E27FC236}">
                <a16:creationId xmlns:a16="http://schemas.microsoft.com/office/drawing/2014/main" id="{F0BB70A5-65DB-A68F-91E3-FC065EC3DC09}"/>
              </a:ext>
            </a:extLst>
          </p:cNvPr>
          <p:cNvGraphicFramePr/>
          <p:nvPr>
            <p:custDataLst>
              <p:tags r:id="rId2"/>
            </p:custDataLst>
            <p:extLst>
              <p:ext uri="{D42A27DB-BD31-4B8C-83A1-F6EECF244321}">
                <p14:modId xmlns:p14="http://schemas.microsoft.com/office/powerpoint/2010/main" val="3645346307"/>
              </p:ext>
            </p:extLst>
          </p:nvPr>
        </p:nvGraphicFramePr>
        <p:xfrm>
          <a:off x="1363663" y="1327150"/>
          <a:ext cx="10663237" cy="4451350"/>
        </p:xfrm>
        <a:graphic>
          <a:graphicData uri="http://schemas.openxmlformats.org/drawingml/2006/chart">
            <c:chart xmlns:c="http://schemas.openxmlformats.org/drawingml/2006/chart" xmlns:r="http://schemas.openxmlformats.org/officeDocument/2006/relationships" r:id="rId48"/>
          </a:graphicData>
        </a:graphic>
      </p:graphicFrame>
      <p:cxnSp>
        <p:nvCxnSpPr>
          <p:cNvPr id="3777" name="Straight Connector 3776">
            <a:extLst>
              <a:ext uri="{FF2B5EF4-FFF2-40B4-BE49-F238E27FC236}">
                <a16:creationId xmlns:a16="http://schemas.microsoft.com/office/drawing/2014/main" id="{23236CAD-E845-1107-3C2E-D46F4E46DBD7}"/>
              </a:ext>
            </a:extLst>
          </p:cNvPr>
          <p:cNvCxnSpPr/>
          <p:nvPr>
            <p:custDataLst>
              <p:tags r:id="rId3"/>
            </p:custDataLst>
          </p:nvPr>
        </p:nvCxnSpPr>
        <p:spPr bwMode="auto">
          <a:xfrm>
            <a:off x="5886450" y="2062163"/>
            <a:ext cx="0" cy="2381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3" name="Text Placeholder 2">
            <a:extLst>
              <a:ext uri="{FF2B5EF4-FFF2-40B4-BE49-F238E27FC236}">
                <a16:creationId xmlns:a16="http://schemas.microsoft.com/office/drawing/2014/main" id="{AD23648E-4B26-4C01-A249-371F73ADE948}"/>
              </a:ext>
            </a:extLst>
          </p:cNvPr>
          <p:cNvSpPr>
            <a:spLocks noGrp="1" noChangeArrowheads="1"/>
          </p:cNvSpPr>
          <p:nvPr>
            <p:custDataLst>
              <p:tags r:id="rId4"/>
            </p:custDataLst>
          </p:nvPr>
        </p:nvSpPr>
        <p:spPr bwMode="auto">
          <a:xfrm>
            <a:off x="1711325" y="5595938"/>
            <a:ext cx="276225"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943DD42C-E1A5-4DEB-A019-48B805F66831}" type="datetime'''''''''M''''''''''a''''y'''''''''''''''''">
              <a:rPr lang="en-US" altLang="en-US" sz="1000" smtClean="0"/>
              <a:pPr marL="0" lvl="0" indent="0" algn="ctr">
                <a:spcBef>
                  <a:spcPct val="0"/>
                </a:spcBef>
                <a:buNone/>
              </a:pPr>
              <a:t>May</a:t>
            </a:fld>
            <a:endParaRPr lang="en-US" altLang="en-US" sz="1000"/>
          </a:p>
        </p:txBody>
      </p:sp>
      <p:sp>
        <p:nvSpPr>
          <p:cNvPr id="94" name="Text Placeholder 2">
            <a:extLst>
              <a:ext uri="{FF2B5EF4-FFF2-40B4-BE49-F238E27FC236}">
                <a16:creationId xmlns:a16="http://schemas.microsoft.com/office/drawing/2014/main" id="{B752CB7A-8F0E-4680-841A-2725D44B7EDB}"/>
              </a:ext>
            </a:extLst>
          </p:cNvPr>
          <p:cNvSpPr>
            <a:spLocks noGrp="1" noChangeArrowheads="1"/>
          </p:cNvSpPr>
          <p:nvPr>
            <p:custDataLst>
              <p:tags r:id="rId5"/>
            </p:custDataLst>
          </p:nvPr>
        </p:nvSpPr>
        <p:spPr bwMode="auto">
          <a:xfrm>
            <a:off x="2532063" y="5595938"/>
            <a:ext cx="247650"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B6EBCA8A-3BD6-4ABD-B040-E5177EECAFD6}" type="datetime'''''''''''''''''''''''''''J''''''''''''''''''''''un'''''''">
              <a:rPr lang="en-US" altLang="en-US" sz="1000" smtClean="0"/>
              <a:pPr marL="0" lvl="0" indent="0" algn="ctr">
                <a:spcBef>
                  <a:spcPct val="0"/>
                </a:spcBef>
                <a:buNone/>
              </a:pPr>
              <a:t>Jun</a:t>
            </a:fld>
            <a:endParaRPr lang="en-US" altLang="en-US" sz="1000"/>
          </a:p>
        </p:txBody>
      </p:sp>
      <p:sp>
        <p:nvSpPr>
          <p:cNvPr id="95" name="Text Placeholder 2">
            <a:extLst>
              <a:ext uri="{FF2B5EF4-FFF2-40B4-BE49-F238E27FC236}">
                <a16:creationId xmlns:a16="http://schemas.microsoft.com/office/drawing/2014/main" id="{ABF42534-D62A-4538-BB0B-96AB4C5E19FF}"/>
              </a:ext>
            </a:extLst>
          </p:cNvPr>
          <p:cNvSpPr>
            <a:spLocks noGrp="1" noChangeArrowheads="1"/>
          </p:cNvSpPr>
          <p:nvPr>
            <p:custDataLst>
              <p:tags r:id="rId6"/>
            </p:custDataLst>
          </p:nvPr>
        </p:nvSpPr>
        <p:spPr bwMode="auto">
          <a:xfrm>
            <a:off x="3365500" y="5595938"/>
            <a:ext cx="196850"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3F5AA174-B546-49F0-BEAF-EBE3B266F84E}" type="datetime'''''''''J''''''''''''''''''''''''''''''u''''''''''l'''''">
              <a:rPr lang="en-US" altLang="en-US" sz="1000" smtClean="0"/>
              <a:pPr marL="0" lvl="0" indent="0" algn="ctr">
                <a:spcBef>
                  <a:spcPct val="0"/>
                </a:spcBef>
                <a:buNone/>
              </a:pPr>
              <a:t>Jul</a:t>
            </a:fld>
            <a:endParaRPr lang="en-US" altLang="en-US" sz="1000"/>
          </a:p>
        </p:txBody>
      </p:sp>
      <p:sp>
        <p:nvSpPr>
          <p:cNvPr id="157" name="Text Placeholder 2">
            <a:extLst>
              <a:ext uri="{FF2B5EF4-FFF2-40B4-BE49-F238E27FC236}">
                <a16:creationId xmlns:a16="http://schemas.microsoft.com/office/drawing/2014/main" id="{558C8C79-C21C-3B57-AB51-B7B4CEA9233A}"/>
              </a:ext>
            </a:extLst>
          </p:cNvPr>
          <p:cNvSpPr>
            <a:spLocks noGrp="1" noChangeArrowheads="1"/>
          </p:cNvSpPr>
          <p:nvPr>
            <p:custDataLst>
              <p:tags r:id="rId7"/>
            </p:custDataLst>
          </p:nvPr>
        </p:nvSpPr>
        <p:spPr bwMode="auto">
          <a:xfrm>
            <a:off x="4133850" y="5595938"/>
            <a:ext cx="276225"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37D8B2FD-56BF-4D02-A183-802F3C5EC15F}" type="datetime'''''''''''''A''''''''''''''''''''''u''''''''''''''''''''''g'''">
              <a:rPr lang="en-US" altLang="en-US" sz="1000" smtClean="0"/>
              <a:pPr marL="0" lvl="0" indent="0" algn="ctr">
                <a:spcBef>
                  <a:spcPct val="0"/>
                </a:spcBef>
                <a:buNone/>
              </a:pPr>
              <a:t>Aug</a:t>
            </a:fld>
            <a:endParaRPr lang="en-US" altLang="en-US" sz="1000"/>
          </a:p>
        </p:txBody>
      </p:sp>
      <p:sp>
        <p:nvSpPr>
          <p:cNvPr id="13" name="Text Placeholder 2">
            <a:extLst>
              <a:ext uri="{FF2B5EF4-FFF2-40B4-BE49-F238E27FC236}">
                <a16:creationId xmlns:a16="http://schemas.microsoft.com/office/drawing/2014/main" id="{FDDE2178-A972-9BF8-E6C6-AC3F0699408E}"/>
              </a:ext>
            </a:extLst>
          </p:cNvPr>
          <p:cNvSpPr>
            <a:spLocks noGrp="1" noChangeArrowheads="1"/>
          </p:cNvSpPr>
          <p:nvPr>
            <p:custDataLst>
              <p:tags r:id="rId8"/>
            </p:custDataLst>
          </p:nvPr>
        </p:nvSpPr>
        <p:spPr bwMode="auto">
          <a:xfrm>
            <a:off x="4953000" y="5595938"/>
            <a:ext cx="252413"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5E706CA0-49C8-4C62-B7B8-BD153A1A756A}" type="datetime'''''''''''''S''''''''''ep'''''''''''''''''''''''''''''">
              <a:rPr lang="en-US" altLang="en-US" sz="1000" smtClean="0"/>
              <a:pPr marL="0" lvl="0" indent="0" algn="ctr">
                <a:spcBef>
                  <a:spcPct val="0"/>
                </a:spcBef>
                <a:buNone/>
              </a:pPr>
              <a:t>Sep</a:t>
            </a:fld>
            <a:endParaRPr lang="en-US" altLang="en-US" sz="1000"/>
          </a:p>
        </p:txBody>
      </p:sp>
      <p:sp>
        <p:nvSpPr>
          <p:cNvPr id="2" name="Text Placeholder 2">
            <a:extLst>
              <a:ext uri="{FF2B5EF4-FFF2-40B4-BE49-F238E27FC236}">
                <a16:creationId xmlns:a16="http://schemas.microsoft.com/office/drawing/2014/main" id="{6540A56E-EE2D-F3BF-EBB7-CF0ABA49A398}"/>
              </a:ext>
            </a:extLst>
          </p:cNvPr>
          <p:cNvSpPr>
            <a:spLocks noGrp="1" noChangeArrowheads="1"/>
          </p:cNvSpPr>
          <p:nvPr>
            <p:custDataLst>
              <p:tags r:id="rId9"/>
            </p:custDataLst>
          </p:nvPr>
        </p:nvSpPr>
        <p:spPr bwMode="auto">
          <a:xfrm>
            <a:off x="5765800" y="5595938"/>
            <a:ext cx="241300"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58E3A965-781F-49F9-B5E5-E99D35553962}" type="datetime'''O''''''c''''''''t'''''">
              <a:rPr lang="en-US" altLang="en-US" sz="1000" smtClean="0"/>
              <a:pPr marL="0" lvl="0" indent="0" algn="ctr">
                <a:spcBef>
                  <a:spcPct val="0"/>
                </a:spcBef>
                <a:buNone/>
              </a:pPr>
              <a:t>Oct</a:t>
            </a:fld>
            <a:endParaRPr lang="en-US" altLang="en-US" sz="1000"/>
          </a:p>
        </p:txBody>
      </p:sp>
      <p:sp>
        <p:nvSpPr>
          <p:cNvPr id="5" name="Text Placeholder 2">
            <a:extLst>
              <a:ext uri="{FF2B5EF4-FFF2-40B4-BE49-F238E27FC236}">
                <a16:creationId xmlns:a16="http://schemas.microsoft.com/office/drawing/2014/main" id="{518A6B09-538F-5A58-5318-B1C4B79BA99F}"/>
              </a:ext>
            </a:extLst>
          </p:cNvPr>
          <p:cNvSpPr>
            <a:spLocks noGrp="1" noChangeArrowheads="1"/>
          </p:cNvSpPr>
          <p:nvPr>
            <p:custDataLst>
              <p:tags r:id="rId10"/>
            </p:custDataLst>
          </p:nvPr>
        </p:nvSpPr>
        <p:spPr bwMode="auto">
          <a:xfrm>
            <a:off x="6562725" y="5595938"/>
            <a:ext cx="263525"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AF5AFB26-62B8-4166-B5E5-7934ACFE6766}" type="datetime'N''''''''''''''''''''''''''''''o''''''''''''''v'">
              <a:rPr lang="en-US" altLang="en-US" sz="1000" smtClean="0"/>
              <a:pPr marL="0" lvl="0" indent="0" algn="ctr">
                <a:spcBef>
                  <a:spcPct val="0"/>
                </a:spcBef>
                <a:buNone/>
              </a:pPr>
              <a:t>Nov</a:t>
            </a:fld>
            <a:endParaRPr lang="en-US" altLang="en-US" sz="1000"/>
          </a:p>
        </p:txBody>
      </p:sp>
      <p:sp>
        <p:nvSpPr>
          <p:cNvPr id="12" name="Text Placeholder 2">
            <a:extLst>
              <a:ext uri="{FF2B5EF4-FFF2-40B4-BE49-F238E27FC236}">
                <a16:creationId xmlns:a16="http://schemas.microsoft.com/office/drawing/2014/main" id="{05294495-F750-B9D1-042E-F002ADA90326}"/>
              </a:ext>
            </a:extLst>
          </p:cNvPr>
          <p:cNvSpPr>
            <a:spLocks noGrp="1" noChangeArrowheads="1"/>
          </p:cNvSpPr>
          <p:nvPr>
            <p:custDataLst>
              <p:tags r:id="rId11"/>
            </p:custDataLst>
          </p:nvPr>
        </p:nvSpPr>
        <p:spPr bwMode="auto">
          <a:xfrm>
            <a:off x="7370763" y="5595938"/>
            <a:ext cx="265113"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688AB810-B057-49CD-BCF3-CBFC26B0C737}" type="datetime'''''''''''''''''''''''''''''D''''''e''''''''''c'''''">
              <a:rPr lang="en-US" altLang="en-US" sz="1000" smtClean="0"/>
              <a:pPr marL="0" lvl="0" indent="0" algn="ctr">
                <a:spcBef>
                  <a:spcPct val="0"/>
                </a:spcBef>
                <a:buNone/>
              </a:pPr>
              <a:t>Dec</a:t>
            </a:fld>
            <a:endParaRPr lang="en-US" altLang="en-US" sz="1000"/>
          </a:p>
        </p:txBody>
      </p:sp>
      <p:sp>
        <p:nvSpPr>
          <p:cNvPr id="43" name="Text Placeholder 2">
            <a:extLst>
              <a:ext uri="{FF2B5EF4-FFF2-40B4-BE49-F238E27FC236}">
                <a16:creationId xmlns:a16="http://schemas.microsoft.com/office/drawing/2014/main" id="{7C245A03-C66F-EC7C-DF5F-C2130BE62C33}"/>
              </a:ext>
            </a:extLst>
          </p:cNvPr>
          <p:cNvSpPr>
            <a:spLocks noGrp="1" noChangeArrowheads="1"/>
          </p:cNvSpPr>
          <p:nvPr>
            <p:custDataLst>
              <p:tags r:id="rId12"/>
            </p:custDataLst>
          </p:nvPr>
        </p:nvSpPr>
        <p:spPr bwMode="auto">
          <a:xfrm>
            <a:off x="8099425" y="5595938"/>
            <a:ext cx="419100"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364C4A51-A655-45C1-AA75-02B684A75404}" type="datetime'''''''''''''J''''''''''''a''''''n''’24'''''''''''''''">
              <a:rPr lang="en-US" altLang="en-US" sz="1000" smtClean="0"/>
              <a:pPr marL="0" lvl="0" indent="0" algn="ctr">
                <a:spcBef>
                  <a:spcPct val="0"/>
                </a:spcBef>
                <a:buNone/>
              </a:pPr>
              <a:t>Jan’24</a:t>
            </a:fld>
            <a:endParaRPr lang="en-US" altLang="en-US" sz="1000"/>
          </a:p>
        </p:txBody>
      </p:sp>
      <p:sp>
        <p:nvSpPr>
          <p:cNvPr id="9" name="Text Placeholder 2">
            <a:extLst>
              <a:ext uri="{FF2B5EF4-FFF2-40B4-BE49-F238E27FC236}">
                <a16:creationId xmlns:a16="http://schemas.microsoft.com/office/drawing/2014/main" id="{F496B0F8-06A6-E50F-A5F0-BDBD85785A7C}"/>
              </a:ext>
            </a:extLst>
          </p:cNvPr>
          <p:cNvSpPr>
            <a:spLocks noGrp="1" noChangeArrowheads="1"/>
          </p:cNvSpPr>
          <p:nvPr>
            <p:custDataLst>
              <p:tags r:id="rId13"/>
            </p:custDataLst>
          </p:nvPr>
        </p:nvSpPr>
        <p:spPr bwMode="auto">
          <a:xfrm>
            <a:off x="8897938" y="5595938"/>
            <a:ext cx="438150"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4B12EB18-2C47-4BF4-B251-DA4416630F49}" type="datetime'''F''''e''b''''''''''''’2''''4'''''''''''''''''''''">
              <a:rPr lang="en-US" altLang="en-US" sz="1000" smtClean="0"/>
              <a:pPr marL="0" lvl="0" indent="0" algn="ctr">
                <a:spcBef>
                  <a:spcPct val="0"/>
                </a:spcBef>
                <a:buNone/>
              </a:pPr>
              <a:t>Feb’24</a:t>
            </a:fld>
            <a:endParaRPr lang="en-US" altLang="en-US" sz="1000"/>
          </a:p>
        </p:txBody>
      </p:sp>
      <p:sp>
        <p:nvSpPr>
          <p:cNvPr id="15" name="Text Placeholder 2">
            <a:extLst>
              <a:ext uri="{FF2B5EF4-FFF2-40B4-BE49-F238E27FC236}">
                <a16:creationId xmlns:a16="http://schemas.microsoft.com/office/drawing/2014/main" id="{7C6ADF59-4DA7-CA16-1386-88BC9F077905}"/>
              </a:ext>
            </a:extLst>
          </p:cNvPr>
          <p:cNvSpPr>
            <a:spLocks noGrp="1" noChangeArrowheads="1"/>
          </p:cNvSpPr>
          <p:nvPr>
            <p:custDataLst>
              <p:tags r:id="rId14"/>
            </p:custDataLst>
          </p:nvPr>
        </p:nvSpPr>
        <p:spPr bwMode="auto">
          <a:xfrm>
            <a:off x="9704388" y="5595938"/>
            <a:ext cx="441325"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9DB422D7-1EB9-4C1E-8BAA-A512910AD265}" type="datetime'''''''''''M''''''ar''’''''''''''''''''''''2''''''4'''''''''">
              <a:rPr lang="en-US" altLang="en-US" sz="1000" smtClean="0"/>
              <a:pPr/>
              <a:t>Mar’24</a:t>
            </a:fld>
            <a:endParaRPr lang="en-US" altLang="en-US" sz="1000"/>
          </a:p>
        </p:txBody>
      </p:sp>
      <p:sp>
        <p:nvSpPr>
          <p:cNvPr id="8" name="Text Placeholder 2">
            <a:extLst>
              <a:ext uri="{FF2B5EF4-FFF2-40B4-BE49-F238E27FC236}">
                <a16:creationId xmlns:a16="http://schemas.microsoft.com/office/drawing/2014/main" id="{48E04CB1-2114-597D-A939-8FF3981A71BA}"/>
              </a:ext>
            </a:extLst>
          </p:cNvPr>
          <p:cNvSpPr>
            <a:spLocks noGrp="1" noChangeArrowheads="1"/>
          </p:cNvSpPr>
          <p:nvPr>
            <p:custDataLst>
              <p:tags r:id="rId15"/>
            </p:custDataLst>
          </p:nvPr>
        </p:nvSpPr>
        <p:spPr bwMode="auto">
          <a:xfrm>
            <a:off x="10520363" y="5595938"/>
            <a:ext cx="422275"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4ED78600-0CC3-49EB-9FF8-D62EC62904E8}" type="datetime'''''''A''''''''''''''''''''''p''''r’2''4'''">
              <a:rPr lang="en-US" altLang="en-US" sz="1000" smtClean="0"/>
              <a:pPr/>
              <a:t>Apr’24</a:t>
            </a:fld>
            <a:endParaRPr lang="en-US" altLang="en-US" sz="1000"/>
          </a:p>
        </p:txBody>
      </p:sp>
      <p:sp>
        <p:nvSpPr>
          <p:cNvPr id="46" name="Text Placeholder 2">
            <a:extLst>
              <a:ext uri="{FF2B5EF4-FFF2-40B4-BE49-F238E27FC236}">
                <a16:creationId xmlns:a16="http://schemas.microsoft.com/office/drawing/2014/main" id="{D2572903-8705-13C6-E13A-C53C02F55862}"/>
              </a:ext>
            </a:extLst>
          </p:cNvPr>
          <p:cNvSpPr>
            <a:spLocks noGrp="1" noChangeArrowheads="1"/>
          </p:cNvSpPr>
          <p:nvPr>
            <p:custDataLst>
              <p:tags r:id="rId16"/>
            </p:custDataLst>
          </p:nvPr>
        </p:nvSpPr>
        <p:spPr bwMode="auto">
          <a:xfrm>
            <a:off x="11310937" y="5595938"/>
            <a:ext cx="458788"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0FC3111B-F2BE-4303-AD92-D7D8E4B3CFC3}" type="datetime'''''''''''''''''''''''''M''''''''''''''''ay’2''''4'''''''''''">
              <a:rPr lang="en-US" altLang="en-US" sz="1000" smtClean="0"/>
              <a:pPr/>
              <a:t>May’24</a:t>
            </a:fld>
            <a:endParaRPr lang="en-US" altLang="en-US" sz="1000"/>
          </a:p>
        </p:txBody>
      </p:sp>
      <p:sp>
        <p:nvSpPr>
          <p:cNvPr id="3981" name="Rectangle 3980">
            <a:extLst>
              <a:ext uri="{FF2B5EF4-FFF2-40B4-BE49-F238E27FC236}">
                <a16:creationId xmlns:a16="http://schemas.microsoft.com/office/drawing/2014/main" id="{03FBDC89-EDE1-AE3F-4B2B-242BC7669015}"/>
              </a:ext>
            </a:extLst>
          </p:cNvPr>
          <p:cNvSpPr/>
          <p:nvPr>
            <p:custDataLst>
              <p:tags r:id="rId17"/>
            </p:custDataLst>
          </p:nvPr>
        </p:nvSpPr>
        <p:spPr bwMode="gray">
          <a:xfrm>
            <a:off x="1614488" y="3227388"/>
            <a:ext cx="471488"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D192FB18-D11C-412E-8269-3BC7F744BFA6}" type="datetime'''''''''''''''''1''01,''''''''''''''''''''''42''''''''9'">
              <a:rPr lang="en-US" altLang="en-US" sz="1000" smtClean="0">
                <a:solidFill>
                  <a:schemeClr val="tx1"/>
                </a:solidFill>
                <a:effectLst/>
              </a:rPr>
              <a:pPr algn="ctr">
                <a:lnSpc>
                  <a:spcPct val="90000"/>
                </a:lnSpc>
                <a:spcBef>
                  <a:spcPct val="0"/>
                </a:spcBef>
                <a:spcAft>
                  <a:spcPct val="0"/>
                </a:spcAft>
              </a:pPr>
              <a:t>101,429</a:t>
            </a:fld>
            <a:endParaRPr lang="en-US" sz="1000">
              <a:solidFill>
                <a:schemeClr val="tx1"/>
              </a:solidFill>
            </a:endParaRPr>
          </a:p>
        </p:txBody>
      </p:sp>
      <p:sp>
        <p:nvSpPr>
          <p:cNvPr id="3982" name="Rectangle 3981">
            <a:extLst>
              <a:ext uri="{FF2B5EF4-FFF2-40B4-BE49-F238E27FC236}">
                <a16:creationId xmlns:a16="http://schemas.microsoft.com/office/drawing/2014/main" id="{A2ECBB9A-92AA-E0D3-E9F0-743486C70592}"/>
              </a:ext>
            </a:extLst>
          </p:cNvPr>
          <p:cNvSpPr/>
          <p:nvPr>
            <p:custDataLst>
              <p:tags r:id="rId18"/>
            </p:custDataLst>
          </p:nvPr>
        </p:nvSpPr>
        <p:spPr bwMode="gray">
          <a:xfrm>
            <a:off x="2409825" y="3144838"/>
            <a:ext cx="49371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72B20FBE-5703-4995-98A2-CFE4EFC90CAB}" type="datetime'''1''''''''''''''0''''''''''5'''''''',''''''34''''''7'">
              <a:rPr lang="en-US" altLang="en-US" sz="1000" smtClean="0">
                <a:solidFill>
                  <a:schemeClr val="tx1"/>
                </a:solidFill>
                <a:effectLst/>
              </a:rPr>
              <a:pPr algn="ctr">
                <a:lnSpc>
                  <a:spcPct val="90000"/>
                </a:lnSpc>
                <a:spcBef>
                  <a:spcPct val="0"/>
                </a:spcBef>
                <a:spcAft>
                  <a:spcPct val="0"/>
                </a:spcAft>
              </a:pPr>
              <a:t>105,347</a:t>
            </a:fld>
            <a:endParaRPr lang="en-US" sz="1000">
              <a:solidFill>
                <a:schemeClr val="tx1"/>
              </a:solidFill>
            </a:endParaRPr>
          </a:p>
        </p:txBody>
      </p:sp>
      <p:sp>
        <p:nvSpPr>
          <p:cNvPr id="3983" name="Rectangle 3982">
            <a:extLst>
              <a:ext uri="{FF2B5EF4-FFF2-40B4-BE49-F238E27FC236}">
                <a16:creationId xmlns:a16="http://schemas.microsoft.com/office/drawing/2014/main" id="{4499DC53-4013-1C8C-0074-30381CDBB94B}"/>
              </a:ext>
            </a:extLst>
          </p:cNvPr>
          <p:cNvSpPr/>
          <p:nvPr>
            <p:custDataLst>
              <p:tags r:id="rId19"/>
            </p:custDataLst>
          </p:nvPr>
        </p:nvSpPr>
        <p:spPr bwMode="gray">
          <a:xfrm>
            <a:off x="3232150" y="3290888"/>
            <a:ext cx="46355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D3ACC5F6-DDD8-4D3C-BA87-04D57FE2CBB9}" type="datetime'''''''''9''''''''''''''''8,''''''4''''74'''">
              <a:rPr lang="en-US" altLang="en-US" sz="1000" smtClean="0">
                <a:solidFill>
                  <a:schemeClr val="tx1"/>
                </a:solidFill>
                <a:effectLst/>
              </a:rPr>
              <a:pPr algn="ctr">
                <a:lnSpc>
                  <a:spcPct val="90000"/>
                </a:lnSpc>
                <a:spcBef>
                  <a:spcPct val="0"/>
                </a:spcBef>
                <a:spcAft>
                  <a:spcPct val="0"/>
                </a:spcAft>
              </a:pPr>
              <a:t>98,474</a:t>
            </a:fld>
            <a:endParaRPr lang="en-US" sz="1000">
              <a:solidFill>
                <a:schemeClr val="tx1"/>
              </a:solidFill>
            </a:endParaRPr>
          </a:p>
        </p:txBody>
      </p:sp>
      <p:sp>
        <p:nvSpPr>
          <p:cNvPr id="3984" name="Rectangle 3983">
            <a:extLst>
              <a:ext uri="{FF2B5EF4-FFF2-40B4-BE49-F238E27FC236}">
                <a16:creationId xmlns:a16="http://schemas.microsoft.com/office/drawing/2014/main" id="{7BB4B2BE-41D9-025B-E2FF-9632D11CE477}"/>
              </a:ext>
            </a:extLst>
          </p:cNvPr>
          <p:cNvSpPr/>
          <p:nvPr>
            <p:custDataLst>
              <p:tags r:id="rId20"/>
            </p:custDataLst>
          </p:nvPr>
        </p:nvSpPr>
        <p:spPr bwMode="gray">
          <a:xfrm>
            <a:off x="4040188" y="2835275"/>
            <a:ext cx="465138"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2F4624DE-CC17-4D4D-9B10-C7438250498F}" type="datetime'''''''''''''''''1''''1''''''9,''''8''3''''''''''''''''''8'">
              <a:rPr lang="en-US" altLang="en-US" sz="1000" smtClean="0">
                <a:solidFill>
                  <a:schemeClr val="tx1"/>
                </a:solidFill>
                <a:effectLst/>
              </a:rPr>
              <a:pPr algn="ctr">
                <a:lnSpc>
                  <a:spcPct val="90000"/>
                </a:lnSpc>
                <a:spcBef>
                  <a:spcPct val="0"/>
                </a:spcBef>
                <a:spcAft>
                  <a:spcPct val="0"/>
                </a:spcAft>
              </a:pPr>
              <a:t>119,838</a:t>
            </a:fld>
            <a:endParaRPr lang="en-US" sz="1000">
              <a:solidFill>
                <a:schemeClr val="tx1"/>
              </a:solidFill>
            </a:endParaRPr>
          </a:p>
        </p:txBody>
      </p:sp>
      <p:sp>
        <p:nvSpPr>
          <p:cNvPr id="3985" name="Rectangle 3984">
            <a:extLst>
              <a:ext uri="{FF2B5EF4-FFF2-40B4-BE49-F238E27FC236}">
                <a16:creationId xmlns:a16="http://schemas.microsoft.com/office/drawing/2014/main" id="{F129C4E6-877B-293C-AF55-6C881CBDAB69}"/>
              </a:ext>
            </a:extLst>
          </p:cNvPr>
          <p:cNvSpPr/>
          <p:nvPr>
            <p:custDataLst>
              <p:tags r:id="rId21"/>
            </p:custDataLst>
          </p:nvPr>
        </p:nvSpPr>
        <p:spPr bwMode="gray">
          <a:xfrm>
            <a:off x="4833938" y="2640013"/>
            <a:ext cx="490538"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4A27863F-2A5F-4023-90FA-CB9AF671EC46}" type="datetime'''''''12''8'''''',9''''''''''''''83'''''''''">
              <a:rPr lang="en-US" altLang="en-US" sz="1000" smtClean="0">
                <a:solidFill>
                  <a:schemeClr val="tx1"/>
                </a:solidFill>
                <a:effectLst/>
              </a:rPr>
              <a:pPr algn="ctr">
                <a:lnSpc>
                  <a:spcPct val="90000"/>
                </a:lnSpc>
                <a:spcBef>
                  <a:spcPct val="0"/>
                </a:spcBef>
                <a:spcAft>
                  <a:spcPct val="0"/>
                </a:spcAft>
              </a:pPr>
              <a:t>128,983</a:t>
            </a:fld>
            <a:endParaRPr lang="en-US" sz="1000">
              <a:solidFill>
                <a:schemeClr val="tx1"/>
              </a:solidFill>
            </a:endParaRPr>
          </a:p>
        </p:txBody>
      </p:sp>
      <p:sp>
        <p:nvSpPr>
          <p:cNvPr id="3986" name="Rectangle 3985">
            <a:extLst>
              <a:ext uri="{FF2B5EF4-FFF2-40B4-BE49-F238E27FC236}">
                <a16:creationId xmlns:a16="http://schemas.microsoft.com/office/drawing/2014/main" id="{B9AE2E79-DE85-8103-0778-1A7B29E38BB8}"/>
              </a:ext>
            </a:extLst>
          </p:cNvPr>
          <p:cNvSpPr/>
          <p:nvPr>
            <p:custDataLst>
              <p:tags r:id="rId22"/>
            </p:custDataLst>
          </p:nvPr>
        </p:nvSpPr>
        <p:spPr bwMode="gray">
          <a:xfrm>
            <a:off x="5662613" y="2798763"/>
            <a:ext cx="44926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913F10BD-2D18-4962-9674-DE45672DDFC9}" type="datetime'''''12''''1'',''''''''''''''5''8''2'''''''''''''''''''''''''">
              <a:rPr lang="en-US" altLang="en-US" sz="1000" smtClean="0">
                <a:solidFill>
                  <a:schemeClr val="tx1"/>
                </a:solidFill>
              </a:rPr>
              <a:pPr algn="ctr">
                <a:lnSpc>
                  <a:spcPct val="90000"/>
                </a:lnSpc>
                <a:spcBef>
                  <a:spcPct val="0"/>
                </a:spcBef>
                <a:spcAft>
                  <a:spcPct val="0"/>
                </a:spcAft>
              </a:pPr>
              <a:t>121,582</a:t>
            </a:fld>
            <a:endParaRPr lang="en-US" sz="1000">
              <a:solidFill>
                <a:schemeClr val="tx1"/>
              </a:solidFill>
            </a:endParaRPr>
          </a:p>
        </p:txBody>
      </p:sp>
      <p:sp>
        <p:nvSpPr>
          <p:cNvPr id="3987" name="Rectangle 3986">
            <a:extLst>
              <a:ext uri="{FF2B5EF4-FFF2-40B4-BE49-F238E27FC236}">
                <a16:creationId xmlns:a16="http://schemas.microsoft.com/office/drawing/2014/main" id="{F57B4FC9-4F4F-89CE-1A1A-4B7027FAC4C2}"/>
              </a:ext>
            </a:extLst>
          </p:cNvPr>
          <p:cNvSpPr/>
          <p:nvPr>
            <p:custDataLst>
              <p:tags r:id="rId23"/>
            </p:custDataLst>
          </p:nvPr>
        </p:nvSpPr>
        <p:spPr bwMode="gray">
          <a:xfrm>
            <a:off x="6451600" y="3089275"/>
            <a:ext cx="48736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20653020-3A3E-4CE2-8E98-6F101C9AD7DF}" type="datetime'''''''''1''0''''''''''7'''''''''''',''93''5'''''''''''">
              <a:rPr lang="en-US" altLang="en-US" sz="1000" smtClean="0">
                <a:solidFill>
                  <a:schemeClr val="tx1"/>
                </a:solidFill>
                <a:effectLst/>
              </a:rPr>
              <a:pPr algn="ctr">
                <a:lnSpc>
                  <a:spcPct val="90000"/>
                </a:lnSpc>
                <a:spcBef>
                  <a:spcPct val="0"/>
                </a:spcBef>
                <a:spcAft>
                  <a:spcPct val="0"/>
                </a:spcAft>
              </a:pPr>
              <a:t>107,935</a:t>
            </a:fld>
            <a:endParaRPr lang="en-US" sz="1000">
              <a:solidFill>
                <a:schemeClr val="tx1"/>
              </a:solidFill>
            </a:endParaRPr>
          </a:p>
        </p:txBody>
      </p:sp>
      <p:sp>
        <p:nvSpPr>
          <p:cNvPr id="3988" name="Rectangle 3987">
            <a:extLst>
              <a:ext uri="{FF2B5EF4-FFF2-40B4-BE49-F238E27FC236}">
                <a16:creationId xmlns:a16="http://schemas.microsoft.com/office/drawing/2014/main" id="{79311D7E-805F-AB6A-5F75-FB6C18758C70}"/>
              </a:ext>
            </a:extLst>
          </p:cNvPr>
          <p:cNvSpPr/>
          <p:nvPr>
            <p:custDataLst>
              <p:tags r:id="rId24"/>
            </p:custDataLst>
          </p:nvPr>
        </p:nvSpPr>
        <p:spPr bwMode="gray">
          <a:xfrm>
            <a:off x="7269163" y="3217863"/>
            <a:ext cx="46831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3A586822-E395-4867-AA0E-0272F1D3E6F3}" type="datetime'1''0''''''''''''''''''''1'''',''''''''8''''7''''''''7'''''">
              <a:rPr lang="en-US" altLang="en-US" sz="1000" smtClean="0">
                <a:solidFill>
                  <a:schemeClr val="tx1"/>
                </a:solidFill>
                <a:effectLst/>
              </a:rPr>
              <a:pPr algn="ctr">
                <a:lnSpc>
                  <a:spcPct val="90000"/>
                </a:lnSpc>
                <a:spcBef>
                  <a:spcPct val="0"/>
                </a:spcBef>
                <a:spcAft>
                  <a:spcPct val="0"/>
                </a:spcAft>
              </a:pPr>
              <a:t>101,877</a:t>
            </a:fld>
            <a:endParaRPr lang="en-US" sz="1000">
              <a:solidFill>
                <a:schemeClr val="tx1"/>
              </a:solidFill>
            </a:endParaRPr>
          </a:p>
        </p:txBody>
      </p:sp>
      <p:sp>
        <p:nvSpPr>
          <p:cNvPr id="3989" name="Rectangle 3988">
            <a:extLst>
              <a:ext uri="{FF2B5EF4-FFF2-40B4-BE49-F238E27FC236}">
                <a16:creationId xmlns:a16="http://schemas.microsoft.com/office/drawing/2014/main" id="{804D1F0C-E2EB-1910-A968-43231BDB1D57}"/>
              </a:ext>
            </a:extLst>
          </p:cNvPr>
          <p:cNvSpPr/>
          <p:nvPr>
            <p:custDataLst>
              <p:tags r:id="rId25"/>
            </p:custDataLst>
          </p:nvPr>
        </p:nvSpPr>
        <p:spPr bwMode="gray">
          <a:xfrm>
            <a:off x="8089900" y="3008313"/>
            <a:ext cx="439738"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4724BF41-5EAD-4B30-BEE2-ED3C5A7E5330}" type="datetime'''''''1''''''''''''11'''''''''''''''',7''0''8'''">
              <a:rPr lang="en-US" altLang="en-US" sz="1000" smtClean="0">
                <a:solidFill>
                  <a:schemeClr val="tx1"/>
                </a:solidFill>
                <a:effectLst/>
              </a:rPr>
              <a:pPr algn="ctr">
                <a:lnSpc>
                  <a:spcPct val="90000"/>
                </a:lnSpc>
                <a:spcBef>
                  <a:spcPct val="0"/>
                </a:spcBef>
                <a:spcAft>
                  <a:spcPct val="0"/>
                </a:spcAft>
              </a:pPr>
              <a:t>111,708</a:t>
            </a:fld>
            <a:endParaRPr lang="en-US" sz="1000">
              <a:solidFill>
                <a:schemeClr val="tx1"/>
              </a:solidFill>
            </a:endParaRPr>
          </a:p>
        </p:txBody>
      </p:sp>
      <p:sp>
        <p:nvSpPr>
          <p:cNvPr id="3990" name="Rectangle 3989">
            <a:extLst>
              <a:ext uri="{FF2B5EF4-FFF2-40B4-BE49-F238E27FC236}">
                <a16:creationId xmlns:a16="http://schemas.microsoft.com/office/drawing/2014/main" id="{84A8CB46-4E50-B9E5-3A2D-748346A663CC}"/>
              </a:ext>
            </a:extLst>
          </p:cNvPr>
          <p:cNvSpPr/>
          <p:nvPr>
            <p:custDataLst>
              <p:tags r:id="rId26"/>
            </p:custDataLst>
          </p:nvPr>
        </p:nvSpPr>
        <p:spPr bwMode="gray">
          <a:xfrm>
            <a:off x="8888413" y="3378200"/>
            <a:ext cx="45720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DED7EE6E-CC3F-49E9-B096-99FAB7E6FAB7}" type="datetime'''''''''''''9''''''''''4,''''''''''''''''''''39''''''4'''">
              <a:rPr lang="en-US" altLang="en-US" sz="1000" smtClean="0">
                <a:solidFill>
                  <a:schemeClr val="tx1"/>
                </a:solidFill>
                <a:effectLst/>
              </a:rPr>
              <a:pPr algn="ctr">
                <a:lnSpc>
                  <a:spcPct val="90000"/>
                </a:lnSpc>
                <a:spcBef>
                  <a:spcPct val="0"/>
                </a:spcBef>
                <a:spcAft>
                  <a:spcPct val="0"/>
                </a:spcAft>
              </a:pPr>
              <a:t>94,394</a:t>
            </a:fld>
            <a:endParaRPr lang="en-US" sz="1000">
              <a:solidFill>
                <a:schemeClr val="tx1"/>
              </a:solidFill>
            </a:endParaRPr>
          </a:p>
        </p:txBody>
      </p:sp>
      <p:sp>
        <p:nvSpPr>
          <p:cNvPr id="16" name="Rectangle 15">
            <a:extLst>
              <a:ext uri="{FF2B5EF4-FFF2-40B4-BE49-F238E27FC236}">
                <a16:creationId xmlns:a16="http://schemas.microsoft.com/office/drawing/2014/main" id="{53FC2730-A8A3-B330-86F6-2CE3F991BE6F}"/>
              </a:ext>
            </a:extLst>
          </p:cNvPr>
          <p:cNvSpPr/>
          <p:nvPr>
            <p:custDataLst>
              <p:tags r:id="rId27"/>
            </p:custDataLst>
          </p:nvPr>
        </p:nvSpPr>
        <p:spPr bwMode="gray">
          <a:xfrm>
            <a:off x="9674225" y="3073400"/>
            <a:ext cx="503238"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4794DBDB-8B2F-4C2F-9C44-3149088C7068}" type="datetime'''''1''0''8'''''',7''''''0''''''''''''''''''''''2'''">
              <a:rPr lang="en-US" altLang="en-US" sz="1000" smtClean="0">
                <a:solidFill>
                  <a:schemeClr val="tx1"/>
                </a:solidFill>
              </a:rPr>
              <a:pPr/>
              <a:t>108,702</a:t>
            </a:fld>
            <a:endParaRPr lang="en-US" sz="1000">
              <a:solidFill>
                <a:schemeClr val="tx1"/>
              </a:solidFill>
            </a:endParaRPr>
          </a:p>
        </p:txBody>
      </p:sp>
      <p:sp>
        <p:nvSpPr>
          <p:cNvPr id="30" name="Rectangle 29">
            <a:extLst>
              <a:ext uri="{FF2B5EF4-FFF2-40B4-BE49-F238E27FC236}">
                <a16:creationId xmlns:a16="http://schemas.microsoft.com/office/drawing/2014/main" id="{6A1348DF-3F63-042E-F660-304F2C5A6DD6}"/>
              </a:ext>
            </a:extLst>
          </p:cNvPr>
          <p:cNvSpPr/>
          <p:nvPr>
            <p:custDataLst>
              <p:tags r:id="rId28"/>
            </p:custDataLst>
          </p:nvPr>
        </p:nvSpPr>
        <p:spPr bwMode="gray">
          <a:xfrm>
            <a:off x="10507663" y="3027363"/>
            <a:ext cx="44926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31D7EDB4-3C6C-4022-BA7D-A3CAD4E57245}" type="datetime'''11''0'''''''''''',''8''4''''''''''''1'''''''''''''">
              <a:rPr lang="en-US" altLang="en-US" sz="1000" smtClean="0">
                <a:solidFill>
                  <a:schemeClr val="tx1"/>
                </a:solidFill>
              </a:rPr>
              <a:pPr/>
              <a:t>110,841</a:t>
            </a:fld>
            <a:endParaRPr lang="en-US" sz="1000">
              <a:solidFill>
                <a:schemeClr val="tx1"/>
              </a:solidFill>
            </a:endParaRPr>
          </a:p>
        </p:txBody>
      </p:sp>
      <p:sp>
        <p:nvSpPr>
          <p:cNvPr id="49" name="Rectangle 48">
            <a:extLst>
              <a:ext uri="{FF2B5EF4-FFF2-40B4-BE49-F238E27FC236}">
                <a16:creationId xmlns:a16="http://schemas.microsoft.com/office/drawing/2014/main" id="{BF9AAB93-459F-C361-F8F2-DA437F914310}"/>
              </a:ext>
            </a:extLst>
          </p:cNvPr>
          <p:cNvSpPr/>
          <p:nvPr>
            <p:custDataLst>
              <p:tags r:id="rId29"/>
            </p:custDataLst>
          </p:nvPr>
        </p:nvSpPr>
        <p:spPr bwMode="gray">
          <a:xfrm>
            <a:off x="11320463" y="3001963"/>
            <a:ext cx="439738"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86BADD9B-C07E-4356-B8C9-2E0BCE4901E8}" type="datetime'''''''''11''2'''''''''''',''''''''''''''01''''''0'''''''''''''">
              <a:rPr lang="en-US" altLang="en-US" sz="1000" smtClean="0">
                <a:solidFill>
                  <a:schemeClr val="tx1"/>
                </a:solidFill>
              </a:rPr>
              <a:pPr/>
              <a:t>112,010</a:t>
            </a:fld>
            <a:endParaRPr lang="en-US" sz="1000">
              <a:solidFill>
                <a:schemeClr val="tx1"/>
              </a:solidFill>
            </a:endParaRPr>
          </a:p>
        </p:txBody>
      </p:sp>
      <mc:AlternateContent xmlns:mc="http://schemas.openxmlformats.org/markup-compatibility/2006" xmlns:p14="http://schemas.microsoft.com/office/powerpoint/2010/main">
        <mc:Choice Requires="p14">
          <p:contentPart p14:bwMode="auto" r:id="rId49">
            <p14:nvContentPartPr>
              <p14:cNvPr id="11" name="Ink 10">
                <a:extLst>
                  <a:ext uri="{FF2B5EF4-FFF2-40B4-BE49-F238E27FC236}">
                    <a16:creationId xmlns:a16="http://schemas.microsoft.com/office/drawing/2014/main" id="{A1717E1F-5CAE-4EB7-079D-DF353316C1AF}"/>
                  </a:ext>
                </a:extLst>
              </p14:cNvPr>
              <p14:cNvContentPartPr/>
              <p14:nvPr/>
            </p14:nvContentPartPr>
            <p14:xfrm>
              <a:off x="-444500" y="6036400"/>
              <a:ext cx="0" cy="360"/>
            </p14:xfrm>
          </p:contentPart>
        </mc:Choice>
        <mc:Fallback xmlns="">
          <p:pic>
            <p:nvPicPr>
              <p:cNvPr id="11" name="Ink 10">
                <a:extLst>
                  <a:ext uri="{FF2B5EF4-FFF2-40B4-BE49-F238E27FC236}">
                    <a16:creationId xmlns:a16="http://schemas.microsoft.com/office/drawing/2014/main" id="{A1717E1F-5CAE-4EB7-079D-DF353316C1AF}"/>
                  </a:ext>
                </a:extLst>
              </p:cNvPr>
              <p:cNvPicPr/>
              <p:nvPr/>
            </p:nvPicPr>
            <p:blipFill>
              <a:blip r:embed="rId57"/>
              <a:stretch>
                <a:fillRect/>
              </a:stretch>
            </p:blipFill>
            <p:spPr>
              <a:xfrm>
                <a:off x="-444500" y="6027400"/>
                <a:ext cx="0" cy="18000"/>
              </a:xfrm>
              <a:prstGeom prst="rect">
                <a:avLst/>
              </a:prstGeom>
            </p:spPr>
          </p:pic>
        </mc:Fallback>
      </mc:AlternateContent>
      <p:graphicFrame>
        <p:nvGraphicFramePr>
          <p:cNvPr id="611" name="Table 610">
            <a:extLst>
              <a:ext uri="{FF2B5EF4-FFF2-40B4-BE49-F238E27FC236}">
                <a16:creationId xmlns:a16="http://schemas.microsoft.com/office/drawing/2014/main" id="{04340CDA-A6B0-3E67-5236-D669C22F6FC1}"/>
              </a:ext>
            </a:extLst>
          </p:cNvPr>
          <p:cNvGraphicFramePr>
            <a:graphicFrameLocks noGrp="1"/>
          </p:cNvGraphicFramePr>
          <p:nvPr/>
        </p:nvGraphicFramePr>
        <p:xfrm>
          <a:off x="-311746" y="5836477"/>
          <a:ext cx="12255312" cy="243840"/>
        </p:xfrm>
        <a:graphic>
          <a:graphicData uri="http://schemas.openxmlformats.org/drawingml/2006/table">
            <a:tbl>
              <a:tblPr firstRow="1" bandRow="1">
                <a:tableStyleId>{5C22544A-7EE6-4342-B048-85BDC9FD1C3A}</a:tableStyleId>
              </a:tblPr>
              <a:tblGrid>
                <a:gridCol w="1752885">
                  <a:extLst>
                    <a:ext uri="{9D8B030D-6E8A-4147-A177-3AD203B41FA5}">
                      <a16:colId xmlns:a16="http://schemas.microsoft.com/office/drawing/2014/main" val="2997376671"/>
                    </a:ext>
                  </a:extLst>
                </a:gridCol>
                <a:gridCol w="807879">
                  <a:extLst>
                    <a:ext uri="{9D8B030D-6E8A-4147-A177-3AD203B41FA5}">
                      <a16:colId xmlns:a16="http://schemas.microsoft.com/office/drawing/2014/main" val="1238834530"/>
                    </a:ext>
                  </a:extLst>
                </a:gridCol>
                <a:gridCol w="807879">
                  <a:extLst>
                    <a:ext uri="{9D8B030D-6E8A-4147-A177-3AD203B41FA5}">
                      <a16:colId xmlns:a16="http://schemas.microsoft.com/office/drawing/2014/main" val="3401552384"/>
                    </a:ext>
                  </a:extLst>
                </a:gridCol>
                <a:gridCol w="807879">
                  <a:extLst>
                    <a:ext uri="{9D8B030D-6E8A-4147-A177-3AD203B41FA5}">
                      <a16:colId xmlns:a16="http://schemas.microsoft.com/office/drawing/2014/main" val="2546961156"/>
                    </a:ext>
                  </a:extLst>
                </a:gridCol>
                <a:gridCol w="807879">
                  <a:extLst>
                    <a:ext uri="{9D8B030D-6E8A-4147-A177-3AD203B41FA5}">
                      <a16:colId xmlns:a16="http://schemas.microsoft.com/office/drawing/2014/main" val="880873670"/>
                    </a:ext>
                  </a:extLst>
                </a:gridCol>
                <a:gridCol w="807879">
                  <a:extLst>
                    <a:ext uri="{9D8B030D-6E8A-4147-A177-3AD203B41FA5}">
                      <a16:colId xmlns:a16="http://schemas.microsoft.com/office/drawing/2014/main" val="2540011566"/>
                    </a:ext>
                  </a:extLst>
                </a:gridCol>
                <a:gridCol w="807879">
                  <a:extLst>
                    <a:ext uri="{9D8B030D-6E8A-4147-A177-3AD203B41FA5}">
                      <a16:colId xmlns:a16="http://schemas.microsoft.com/office/drawing/2014/main" val="3595651951"/>
                    </a:ext>
                  </a:extLst>
                </a:gridCol>
                <a:gridCol w="807879">
                  <a:extLst>
                    <a:ext uri="{9D8B030D-6E8A-4147-A177-3AD203B41FA5}">
                      <a16:colId xmlns:a16="http://schemas.microsoft.com/office/drawing/2014/main" val="2172065342"/>
                    </a:ext>
                  </a:extLst>
                </a:gridCol>
                <a:gridCol w="807879">
                  <a:extLst>
                    <a:ext uri="{9D8B030D-6E8A-4147-A177-3AD203B41FA5}">
                      <a16:colId xmlns:a16="http://schemas.microsoft.com/office/drawing/2014/main" val="2884502692"/>
                    </a:ext>
                  </a:extLst>
                </a:gridCol>
                <a:gridCol w="807879">
                  <a:extLst>
                    <a:ext uri="{9D8B030D-6E8A-4147-A177-3AD203B41FA5}">
                      <a16:colId xmlns:a16="http://schemas.microsoft.com/office/drawing/2014/main" val="3644145503"/>
                    </a:ext>
                  </a:extLst>
                </a:gridCol>
                <a:gridCol w="807879">
                  <a:extLst>
                    <a:ext uri="{9D8B030D-6E8A-4147-A177-3AD203B41FA5}">
                      <a16:colId xmlns:a16="http://schemas.microsoft.com/office/drawing/2014/main" val="2896418738"/>
                    </a:ext>
                  </a:extLst>
                </a:gridCol>
                <a:gridCol w="807879">
                  <a:extLst>
                    <a:ext uri="{9D8B030D-6E8A-4147-A177-3AD203B41FA5}">
                      <a16:colId xmlns:a16="http://schemas.microsoft.com/office/drawing/2014/main" val="3153156177"/>
                    </a:ext>
                  </a:extLst>
                </a:gridCol>
                <a:gridCol w="807879">
                  <a:extLst>
                    <a:ext uri="{9D8B030D-6E8A-4147-A177-3AD203B41FA5}">
                      <a16:colId xmlns:a16="http://schemas.microsoft.com/office/drawing/2014/main" val="3492790880"/>
                    </a:ext>
                  </a:extLst>
                </a:gridCol>
                <a:gridCol w="807879">
                  <a:extLst>
                    <a:ext uri="{9D8B030D-6E8A-4147-A177-3AD203B41FA5}">
                      <a16:colId xmlns:a16="http://schemas.microsoft.com/office/drawing/2014/main" val="3455624599"/>
                    </a:ext>
                  </a:extLst>
                </a:gridCol>
              </a:tblGrid>
              <a:tr h="209936">
                <a:tc>
                  <a:txBody>
                    <a:bodyPr/>
                    <a:lstStyle/>
                    <a:p>
                      <a:pPr algn="r"/>
                      <a:r>
                        <a:rPr lang="en-US" sz="1000" b="1" i="0">
                          <a:solidFill>
                            <a:schemeClr val="tx1"/>
                          </a:solidFill>
                          <a:latin typeface="+mn-lt"/>
                        </a:rPr>
                        <a:t>SMB Media $</a:t>
                      </a:r>
                    </a:p>
                  </a:txBody>
                  <a:tcPr anchor="ctr">
                    <a:lnL w="12700" cmpd="sng">
                      <a:noFill/>
                    </a:lnL>
                    <a:lnR w="12700" cmpd="sng">
                      <a:noFill/>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000" b="1" i="0" u="none" strike="noStrike">
                          <a:solidFill>
                            <a:srgbClr val="000000"/>
                          </a:solidFill>
                          <a:effectLst/>
                          <a:latin typeface="+mn-lt"/>
                        </a:rPr>
                        <a:t>$16.2</a:t>
                      </a:r>
                      <a:endParaRPr lang="en-US" sz="1000" b="1" i="0" u="none" strike="noStrike" dirty="0">
                        <a:solidFill>
                          <a:srgbClr val="000000"/>
                        </a:solidFill>
                        <a:effectLst/>
                        <a:latin typeface="+mn-lt"/>
                      </a:endParaRPr>
                    </a:p>
                  </a:txBody>
                  <a:tcPr marL="7620" marR="7620" marT="7620" marB="0" anchor="ctr">
                    <a:lnL w="12700" cmpd="sng">
                      <a:noFill/>
                    </a:lnL>
                    <a:lnR w="12700" cmpd="sng">
                      <a:noFill/>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000" b="1" i="0" u="none" strike="noStrike">
                          <a:solidFill>
                            <a:srgbClr val="000000"/>
                          </a:solidFill>
                          <a:effectLst/>
                          <a:latin typeface="+mn-lt"/>
                        </a:rPr>
                        <a:t>$14.7</a:t>
                      </a:r>
                      <a:endParaRPr lang="en-US" sz="1000" b="1" i="0" u="none" strike="noStrike" dirty="0">
                        <a:solidFill>
                          <a:srgbClr val="000000"/>
                        </a:solidFill>
                        <a:effectLst/>
                        <a:latin typeface="+mn-lt"/>
                      </a:endParaRPr>
                    </a:p>
                  </a:txBody>
                  <a:tcPr marL="7620" marR="7620" marT="7620" marB="0" anchor="ctr">
                    <a:lnL w="12700" cmpd="sng">
                      <a:noFill/>
                    </a:lnL>
                    <a:lnR w="12700" cmpd="sng">
                      <a:noFill/>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000" b="1" i="0" u="none" strike="noStrike">
                          <a:solidFill>
                            <a:srgbClr val="000000"/>
                          </a:solidFill>
                          <a:effectLst/>
                          <a:latin typeface="+mn-lt"/>
                        </a:rPr>
                        <a:t>$13.6</a:t>
                      </a:r>
                      <a:endParaRPr lang="en-US" sz="1000" b="1" i="0" u="none" strike="noStrike" dirty="0">
                        <a:solidFill>
                          <a:srgbClr val="000000"/>
                        </a:solidFill>
                        <a:effectLst/>
                        <a:latin typeface="+mn-lt"/>
                      </a:endParaRPr>
                    </a:p>
                  </a:txBody>
                  <a:tcPr marL="7620" marR="7620" marT="7620" marB="0" anchor="ctr">
                    <a:lnL w="12700" cmpd="sng">
                      <a:noFill/>
                    </a:lnL>
                    <a:lnR w="12700" cmpd="sng">
                      <a:noFill/>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000" b="1" i="0" u="none" strike="noStrike">
                          <a:solidFill>
                            <a:srgbClr val="000000"/>
                          </a:solidFill>
                          <a:effectLst/>
                          <a:latin typeface="+mn-lt"/>
                        </a:rPr>
                        <a:t>$13.7</a:t>
                      </a:r>
                    </a:p>
                  </a:txBody>
                  <a:tcPr marL="7620" marR="7620" marT="7620" marB="0" anchor="ctr">
                    <a:lnL w="12700" cmpd="sng">
                      <a:noFill/>
                    </a:lnL>
                    <a:lnR w="12700" cmpd="sng">
                      <a:noFill/>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000" b="1" i="0" u="none" strike="noStrike">
                          <a:solidFill>
                            <a:srgbClr val="000000"/>
                          </a:solidFill>
                          <a:effectLst/>
                          <a:latin typeface="+mn-lt"/>
                        </a:rPr>
                        <a:t>$14.1</a:t>
                      </a:r>
                      <a:endParaRPr lang="en-US" sz="1000" b="1" i="0" u="none" strike="noStrike" dirty="0">
                        <a:solidFill>
                          <a:srgbClr val="000000"/>
                        </a:solidFill>
                        <a:effectLst/>
                        <a:latin typeface="+mn-lt"/>
                      </a:endParaRPr>
                    </a:p>
                  </a:txBody>
                  <a:tcPr marL="7620" marR="7620" marT="7620" marB="0" anchor="ctr">
                    <a:lnL w="12700" cmpd="sng">
                      <a:noFill/>
                    </a:lnL>
                    <a:lnR w="12700" cmpd="sng">
                      <a:noFill/>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000" b="1" i="0" u="none" strike="noStrike">
                          <a:solidFill>
                            <a:srgbClr val="000000"/>
                          </a:solidFill>
                          <a:effectLst/>
                          <a:latin typeface="+mn-lt"/>
                        </a:rPr>
                        <a:t>$14.6</a:t>
                      </a:r>
                      <a:endParaRPr lang="en-US" sz="1000" b="1" i="0" u="none" strike="noStrike" dirty="0">
                        <a:solidFill>
                          <a:srgbClr val="000000"/>
                        </a:solidFill>
                        <a:effectLst/>
                        <a:latin typeface="+mn-lt"/>
                      </a:endParaRPr>
                    </a:p>
                  </a:txBody>
                  <a:tcPr marL="7620" marR="7620" marT="7620" marB="0" anchor="ctr">
                    <a:lnL w="12700" cmpd="sng">
                      <a:noFill/>
                    </a:lnL>
                    <a:lnR w="12700" cmpd="sng">
                      <a:noFill/>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000" b="1" i="0" u="none" strike="noStrike">
                          <a:solidFill>
                            <a:srgbClr val="000000"/>
                          </a:solidFill>
                          <a:effectLst/>
                          <a:latin typeface="+mn-lt"/>
                        </a:rPr>
                        <a:t>$14.2</a:t>
                      </a:r>
                      <a:endParaRPr lang="en-US" sz="1000" b="1" i="0" u="none" strike="noStrike" dirty="0">
                        <a:solidFill>
                          <a:srgbClr val="000000"/>
                        </a:solidFill>
                        <a:effectLst/>
                        <a:latin typeface="+mn-lt"/>
                      </a:endParaRPr>
                    </a:p>
                  </a:txBody>
                  <a:tcPr marL="7620" marR="7620" marT="7620" marB="0" anchor="ctr">
                    <a:lnL w="12700" cmpd="sng">
                      <a:noFill/>
                    </a:lnL>
                    <a:lnR w="12700" cmpd="sng">
                      <a:noFill/>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000" b="1" i="0" u="none" strike="noStrike">
                          <a:solidFill>
                            <a:srgbClr val="000000"/>
                          </a:solidFill>
                          <a:effectLst/>
                          <a:latin typeface="+mn-lt"/>
                        </a:rPr>
                        <a:t>$14.3</a:t>
                      </a:r>
                    </a:p>
                  </a:txBody>
                  <a:tcPr marL="7620" marR="7620" marT="7620" marB="0" anchor="ctr">
                    <a:lnL w="12700" cmpd="sng">
                      <a:noFill/>
                    </a:lnL>
                    <a:lnR w="12700" cmpd="sng">
                      <a:noFill/>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000" b="1" i="0" u="none" strike="noStrike">
                          <a:solidFill>
                            <a:srgbClr val="000000"/>
                          </a:solidFill>
                          <a:effectLst/>
                          <a:latin typeface="+mn-lt"/>
                        </a:rPr>
                        <a:t>$13.3</a:t>
                      </a:r>
                      <a:endParaRPr lang="en-US" sz="1000" b="1" i="0" u="none" strike="noStrike" dirty="0">
                        <a:solidFill>
                          <a:srgbClr val="000000"/>
                        </a:solidFill>
                        <a:effectLst/>
                        <a:latin typeface="+mn-lt"/>
                      </a:endParaRPr>
                    </a:p>
                  </a:txBody>
                  <a:tcPr marL="7620" marR="7620" marT="7620" marB="0" anchor="ctr">
                    <a:lnL w="12700" cmpd="sng">
                      <a:noFill/>
                    </a:lnL>
                    <a:lnR w="12700" cmpd="sng">
                      <a:noFill/>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000" b="1" i="0" u="none" strike="noStrike">
                          <a:solidFill>
                            <a:schemeClr val="accent6">
                              <a:lumMod val="10000"/>
                            </a:schemeClr>
                          </a:solidFill>
                          <a:effectLst/>
                          <a:latin typeface="+mn-lt"/>
                        </a:rPr>
                        <a:t>$16.3</a:t>
                      </a:r>
                      <a:endParaRPr lang="en-US" sz="1000" b="1" i="0" u="none" strike="noStrike" dirty="0">
                        <a:solidFill>
                          <a:schemeClr val="accent6">
                            <a:lumMod val="10000"/>
                          </a:schemeClr>
                        </a:solidFill>
                        <a:effectLst/>
                        <a:latin typeface="+mn-lt"/>
                      </a:endParaRPr>
                    </a:p>
                  </a:txBody>
                  <a:tcPr marL="7620" marR="7620" marT="7620" marB="0" anchor="ctr">
                    <a:lnL w="12700" cmpd="sng">
                      <a:noFill/>
                    </a:lnL>
                    <a:lnR w="12700" cmpd="sng">
                      <a:noFill/>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000" b="1" i="0" u="none" strike="noStrike">
                          <a:solidFill>
                            <a:schemeClr val="tx1"/>
                          </a:solidFill>
                          <a:effectLst/>
                          <a:latin typeface="+mn-lt"/>
                        </a:rPr>
                        <a:t>$12.5</a:t>
                      </a:r>
                      <a:endParaRPr lang="en-US" sz="1000" b="1" i="0" u="none" strike="noStrike" dirty="0">
                        <a:solidFill>
                          <a:schemeClr val="tx1"/>
                        </a:solidFill>
                        <a:effectLst/>
                        <a:latin typeface="+mn-lt"/>
                      </a:endParaRPr>
                    </a:p>
                  </a:txBody>
                  <a:tcPr marL="7620" marR="7620" marT="7620" marB="0" anchor="ctr">
                    <a:lnL w="12700" cmpd="sng">
                      <a:noFill/>
                    </a:lnL>
                    <a:lnR w="12700" cmpd="sng">
                      <a:noFill/>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000" b="1" i="0" u="none" strike="noStrike">
                          <a:solidFill>
                            <a:schemeClr val="tx1"/>
                          </a:solidFill>
                          <a:effectLst/>
                          <a:latin typeface="+mn-lt"/>
                        </a:rPr>
                        <a:t>$14.4</a:t>
                      </a:r>
                      <a:endParaRPr lang="en-US" sz="1000" b="1" i="0" u="none" strike="noStrike" dirty="0">
                        <a:solidFill>
                          <a:schemeClr val="tx1"/>
                        </a:solidFill>
                        <a:effectLst/>
                        <a:latin typeface="+mn-lt"/>
                      </a:endParaRPr>
                    </a:p>
                  </a:txBody>
                  <a:tcPr marL="7620" marR="7620" marT="7620" marB="0" anchor="ctr">
                    <a:lnL w="12700" cmpd="sng">
                      <a:noFill/>
                    </a:lnL>
                    <a:lnR w="12700" cmpd="sng">
                      <a:noFill/>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000" b="1" i="0" u="none" strike="noStrike" dirty="0">
                          <a:solidFill>
                            <a:schemeClr val="tx1"/>
                          </a:solidFill>
                          <a:effectLst/>
                          <a:latin typeface="+mn-lt"/>
                        </a:rPr>
                        <a:t>$$$</a:t>
                      </a:r>
                    </a:p>
                  </a:txBody>
                  <a:tcPr marL="7620" marR="7620" marT="7620" marB="0" anchor="ctr">
                    <a:lnL w="12700" cmpd="sng">
                      <a:noFill/>
                    </a:lnL>
                    <a:lnR w="12700" cmpd="sng">
                      <a:noFill/>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98858647"/>
                  </a:ext>
                </a:extLst>
              </a:tr>
            </a:tbl>
          </a:graphicData>
        </a:graphic>
      </p:graphicFrame>
      <p:sp>
        <p:nvSpPr>
          <p:cNvPr id="798" name="TextBox 797">
            <a:extLst>
              <a:ext uri="{FF2B5EF4-FFF2-40B4-BE49-F238E27FC236}">
                <a16:creationId xmlns:a16="http://schemas.microsoft.com/office/drawing/2014/main" id="{8744D80D-DFDD-007E-4E53-B34791B480A8}"/>
              </a:ext>
            </a:extLst>
          </p:cNvPr>
          <p:cNvSpPr txBox="1"/>
          <p:nvPr/>
        </p:nvSpPr>
        <p:spPr>
          <a:xfrm>
            <a:off x="365125" y="1605127"/>
            <a:ext cx="1081631" cy="261466"/>
          </a:xfrm>
          <a:prstGeom prst="rect">
            <a:avLst/>
          </a:prstGeom>
          <a:noFill/>
        </p:spPr>
        <p:txBody>
          <a:bodyPr wrap="square" lIns="0" tIns="0" rIns="0" bIns="0" rtlCol="0">
            <a:noAutofit/>
          </a:bodyPr>
          <a:lstStyle/>
          <a:p>
            <a:pPr algn="r"/>
            <a:r>
              <a:rPr lang="en-US" sz="900" b="1"/>
              <a:t>Eng. Visit Rate (Excl. Display)</a:t>
            </a:r>
          </a:p>
        </p:txBody>
      </p:sp>
      <p:sp>
        <p:nvSpPr>
          <p:cNvPr id="799" name="TextBox 798">
            <a:extLst>
              <a:ext uri="{FF2B5EF4-FFF2-40B4-BE49-F238E27FC236}">
                <a16:creationId xmlns:a16="http://schemas.microsoft.com/office/drawing/2014/main" id="{2634EC4E-1D1D-ECAB-E1B4-FB4A91FD329A}"/>
              </a:ext>
            </a:extLst>
          </p:cNvPr>
          <p:cNvSpPr txBox="1"/>
          <p:nvPr/>
        </p:nvSpPr>
        <p:spPr>
          <a:xfrm>
            <a:off x="365125" y="2391111"/>
            <a:ext cx="1081631" cy="261466"/>
          </a:xfrm>
          <a:prstGeom prst="rect">
            <a:avLst/>
          </a:prstGeom>
          <a:noFill/>
        </p:spPr>
        <p:txBody>
          <a:bodyPr wrap="square" lIns="0" tIns="0" rIns="0" bIns="0" rtlCol="0">
            <a:noAutofit/>
          </a:bodyPr>
          <a:lstStyle/>
          <a:p>
            <a:pPr algn="r"/>
            <a:r>
              <a:rPr lang="en-US" sz="900" b="1"/>
              <a:t>Eng. Visit Rate</a:t>
            </a:r>
          </a:p>
        </p:txBody>
      </p:sp>
      <p:sp>
        <p:nvSpPr>
          <p:cNvPr id="1489" name="TextBox 1488">
            <a:extLst>
              <a:ext uri="{FF2B5EF4-FFF2-40B4-BE49-F238E27FC236}">
                <a16:creationId xmlns:a16="http://schemas.microsoft.com/office/drawing/2014/main" id="{53011F2B-6AFF-EB92-6A9A-89798C71F726}"/>
              </a:ext>
            </a:extLst>
          </p:cNvPr>
          <p:cNvSpPr txBox="1"/>
          <p:nvPr/>
        </p:nvSpPr>
        <p:spPr>
          <a:xfrm>
            <a:off x="748108" y="3429000"/>
            <a:ext cx="701676" cy="158280"/>
          </a:xfrm>
          <a:prstGeom prst="rect">
            <a:avLst/>
          </a:prstGeom>
          <a:noFill/>
        </p:spPr>
        <p:txBody>
          <a:bodyPr wrap="square" lIns="0" tIns="0" rIns="0" bIns="0" rtlCol="0">
            <a:noAutofit/>
          </a:bodyPr>
          <a:lstStyle/>
          <a:p>
            <a:pPr algn="r"/>
            <a:r>
              <a:rPr lang="en-US" sz="900" b="1"/>
              <a:t>Raw Traffic</a:t>
            </a:r>
          </a:p>
        </p:txBody>
      </p:sp>
      <p:sp>
        <p:nvSpPr>
          <p:cNvPr id="1497" name="TextBox 1496">
            <a:extLst>
              <a:ext uri="{FF2B5EF4-FFF2-40B4-BE49-F238E27FC236}">
                <a16:creationId xmlns:a16="http://schemas.microsoft.com/office/drawing/2014/main" id="{D0BDB443-A359-A511-E96C-B94ABC7946D7}"/>
              </a:ext>
            </a:extLst>
          </p:cNvPr>
          <p:cNvSpPr txBox="1"/>
          <p:nvPr/>
        </p:nvSpPr>
        <p:spPr>
          <a:xfrm>
            <a:off x="463549" y="6283325"/>
            <a:ext cx="2414590" cy="195261"/>
          </a:xfrm>
          <a:prstGeom prst="rect">
            <a:avLst/>
          </a:prstGeom>
          <a:noFill/>
        </p:spPr>
        <p:txBody>
          <a:bodyPr wrap="square" lIns="0" tIns="0" rIns="0" bIns="0" rtlCol="0">
            <a:noAutofit/>
          </a:bodyPr>
          <a:lstStyle/>
          <a:p>
            <a:pPr algn="l"/>
            <a:r>
              <a:rPr lang="en-US" sz="800"/>
              <a:t>Data Source: CBMA Weekly Leads Summary</a:t>
            </a:r>
          </a:p>
        </p:txBody>
      </p:sp>
      <p:sp>
        <p:nvSpPr>
          <p:cNvPr id="3444" name="Rectangle 3443">
            <a:extLst>
              <a:ext uri="{FF2B5EF4-FFF2-40B4-BE49-F238E27FC236}">
                <a16:creationId xmlns:a16="http://schemas.microsoft.com/office/drawing/2014/main" id="{A17A47E1-FCA5-115D-008D-EB68A5CC12E6}"/>
              </a:ext>
            </a:extLst>
          </p:cNvPr>
          <p:cNvSpPr/>
          <p:nvPr>
            <p:custDataLst>
              <p:tags r:id="rId30"/>
            </p:custDataLst>
          </p:nvPr>
        </p:nvSpPr>
        <p:spPr bwMode="auto">
          <a:xfrm>
            <a:off x="215899" y="4249738"/>
            <a:ext cx="160338" cy="120650"/>
          </a:xfrm>
          <a:prstGeom prst="rect">
            <a:avLst/>
          </a:prstGeom>
          <a:solidFill>
            <a:schemeClr val="accent1"/>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45" name="Rectangle 3444">
            <a:extLst>
              <a:ext uri="{FF2B5EF4-FFF2-40B4-BE49-F238E27FC236}">
                <a16:creationId xmlns:a16="http://schemas.microsoft.com/office/drawing/2014/main" id="{9828FAE8-B180-596F-DFE4-98410152D281}"/>
              </a:ext>
            </a:extLst>
          </p:cNvPr>
          <p:cNvSpPr/>
          <p:nvPr>
            <p:custDataLst>
              <p:tags r:id="rId31"/>
            </p:custDataLst>
          </p:nvPr>
        </p:nvSpPr>
        <p:spPr bwMode="auto">
          <a:xfrm>
            <a:off x="215899" y="4437063"/>
            <a:ext cx="160338" cy="120650"/>
          </a:xfrm>
          <a:prstGeom prst="rect">
            <a:avLst/>
          </a:prstGeom>
          <a:solidFill>
            <a:schemeClr val="accent6"/>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46" name="Rectangle 3445">
            <a:extLst>
              <a:ext uri="{FF2B5EF4-FFF2-40B4-BE49-F238E27FC236}">
                <a16:creationId xmlns:a16="http://schemas.microsoft.com/office/drawing/2014/main" id="{DA971673-3D98-A560-416D-647091A3B647}"/>
              </a:ext>
            </a:extLst>
          </p:cNvPr>
          <p:cNvSpPr/>
          <p:nvPr>
            <p:custDataLst>
              <p:tags r:id="rId32"/>
            </p:custDataLst>
          </p:nvPr>
        </p:nvSpPr>
        <p:spPr bwMode="auto">
          <a:xfrm>
            <a:off x="215899" y="4624388"/>
            <a:ext cx="160338" cy="120650"/>
          </a:xfrm>
          <a:prstGeom prst="rect">
            <a:avLst/>
          </a:prstGeom>
          <a:solidFill>
            <a:schemeClr val="accent5"/>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47" name="Rectangle 3446">
            <a:extLst>
              <a:ext uri="{FF2B5EF4-FFF2-40B4-BE49-F238E27FC236}">
                <a16:creationId xmlns:a16="http://schemas.microsoft.com/office/drawing/2014/main" id="{8C213DD1-D437-CB48-68F1-09C5146A85D8}"/>
              </a:ext>
            </a:extLst>
          </p:cNvPr>
          <p:cNvSpPr/>
          <p:nvPr>
            <p:custDataLst>
              <p:tags r:id="rId33"/>
            </p:custDataLst>
          </p:nvPr>
        </p:nvSpPr>
        <p:spPr bwMode="auto">
          <a:xfrm>
            <a:off x="215899" y="4811713"/>
            <a:ext cx="160338" cy="120650"/>
          </a:xfrm>
          <a:prstGeom prst="rect">
            <a:avLst/>
          </a:prstGeom>
          <a:solidFill>
            <a:schemeClr val="accent4"/>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48" name="Rectangle 3447">
            <a:extLst>
              <a:ext uri="{FF2B5EF4-FFF2-40B4-BE49-F238E27FC236}">
                <a16:creationId xmlns:a16="http://schemas.microsoft.com/office/drawing/2014/main" id="{731C1D07-E797-7155-5A2B-1D9B06AC774B}"/>
              </a:ext>
            </a:extLst>
          </p:cNvPr>
          <p:cNvSpPr/>
          <p:nvPr>
            <p:custDataLst>
              <p:tags r:id="rId34"/>
            </p:custDataLst>
          </p:nvPr>
        </p:nvSpPr>
        <p:spPr bwMode="auto">
          <a:xfrm>
            <a:off x="215899" y="4999038"/>
            <a:ext cx="160338" cy="120650"/>
          </a:xfrm>
          <a:prstGeom prst="rect">
            <a:avLst/>
          </a:prstGeom>
          <a:solidFill>
            <a:schemeClr val="accent3"/>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49" name="Rectangle 3448">
            <a:extLst>
              <a:ext uri="{FF2B5EF4-FFF2-40B4-BE49-F238E27FC236}">
                <a16:creationId xmlns:a16="http://schemas.microsoft.com/office/drawing/2014/main" id="{2EAC46D0-8896-22B3-B297-7EE718FE3D33}"/>
              </a:ext>
            </a:extLst>
          </p:cNvPr>
          <p:cNvSpPr/>
          <p:nvPr>
            <p:custDataLst>
              <p:tags r:id="rId35"/>
            </p:custDataLst>
          </p:nvPr>
        </p:nvSpPr>
        <p:spPr bwMode="auto">
          <a:xfrm>
            <a:off x="215899" y="5186363"/>
            <a:ext cx="160338" cy="120650"/>
          </a:xfrm>
          <a:prstGeom prst="rect">
            <a:avLst/>
          </a:prstGeom>
          <a:solidFill>
            <a:schemeClr val="accent2"/>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50" name="Rectangle 3449">
            <a:extLst>
              <a:ext uri="{FF2B5EF4-FFF2-40B4-BE49-F238E27FC236}">
                <a16:creationId xmlns:a16="http://schemas.microsoft.com/office/drawing/2014/main" id="{C1CA1CEC-CF5D-D43A-A4E4-750EE823C4AF}"/>
              </a:ext>
            </a:extLst>
          </p:cNvPr>
          <p:cNvSpPr/>
          <p:nvPr>
            <p:custDataLst>
              <p:tags r:id="rId36"/>
            </p:custDataLst>
          </p:nvPr>
        </p:nvSpPr>
        <p:spPr bwMode="auto">
          <a:xfrm>
            <a:off x="215899" y="5373688"/>
            <a:ext cx="160338" cy="120650"/>
          </a:xfrm>
          <a:prstGeom prst="rect">
            <a:avLst/>
          </a:prstGeom>
          <a:solidFill>
            <a:srgbClr val="4C6C9C"/>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63" name="Rectangle 3062">
            <a:extLst>
              <a:ext uri="{FF2B5EF4-FFF2-40B4-BE49-F238E27FC236}">
                <a16:creationId xmlns:a16="http://schemas.microsoft.com/office/drawing/2014/main" id="{F77FE5D2-3C50-9073-CE63-2CC6B5E638BC}"/>
              </a:ext>
            </a:extLst>
          </p:cNvPr>
          <p:cNvSpPr/>
          <p:nvPr>
            <p:custDataLst>
              <p:tags r:id="rId37"/>
            </p:custDataLst>
          </p:nvPr>
        </p:nvSpPr>
        <p:spPr bwMode="auto">
          <a:xfrm>
            <a:off x="427038" y="4246563"/>
            <a:ext cx="458788"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A9D6659C-9229-459D-88AA-6E74B37703BB}" type="datetime'''''O''rg''a''n''i''''''''''''c'''''''">
              <a:rPr lang="en-US" altLang="en-US" sz="900" smtClean="0">
                <a:solidFill>
                  <a:schemeClr val="tx1"/>
                </a:solidFill>
              </a:rPr>
              <a:pPr>
                <a:spcBef>
                  <a:spcPct val="0"/>
                </a:spcBef>
                <a:spcAft>
                  <a:spcPct val="0"/>
                </a:spcAft>
              </a:pPr>
              <a:t>Organic</a:t>
            </a:fld>
            <a:endParaRPr lang="en-US" sz="900">
              <a:solidFill>
                <a:schemeClr val="tx1"/>
              </a:solidFill>
            </a:endParaRPr>
          </a:p>
        </p:txBody>
      </p:sp>
      <p:sp>
        <p:nvSpPr>
          <p:cNvPr id="3064" name="Rectangle 3063">
            <a:extLst>
              <a:ext uri="{FF2B5EF4-FFF2-40B4-BE49-F238E27FC236}">
                <a16:creationId xmlns:a16="http://schemas.microsoft.com/office/drawing/2014/main" id="{18058117-097A-49B1-B084-BE06FAE90013}"/>
              </a:ext>
            </a:extLst>
          </p:cNvPr>
          <p:cNvSpPr/>
          <p:nvPr>
            <p:custDataLst>
              <p:tags r:id="rId38"/>
            </p:custDataLst>
          </p:nvPr>
        </p:nvSpPr>
        <p:spPr bwMode="auto">
          <a:xfrm>
            <a:off x="427038" y="4433888"/>
            <a:ext cx="681038"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125BEE80-AA22-42DC-BF6B-E2363CAFA912}" type="datetime'''P''''a''i''''''d'''' ''S''''e''a''''''''''''r''''c''''h'''">
              <a:rPr lang="en-US" altLang="en-US" sz="900" smtClean="0">
                <a:solidFill>
                  <a:schemeClr val="tx1"/>
                </a:solidFill>
              </a:rPr>
              <a:pPr>
                <a:spcBef>
                  <a:spcPct val="0"/>
                </a:spcBef>
                <a:spcAft>
                  <a:spcPct val="0"/>
                </a:spcAft>
              </a:pPr>
              <a:t>Paid Search</a:t>
            </a:fld>
            <a:endParaRPr lang="en-US" sz="900">
              <a:solidFill>
                <a:schemeClr val="tx1"/>
              </a:solidFill>
            </a:endParaRPr>
          </a:p>
        </p:txBody>
      </p:sp>
      <p:sp>
        <p:nvSpPr>
          <p:cNvPr id="3065" name="Rectangle 3064">
            <a:extLst>
              <a:ext uri="{FF2B5EF4-FFF2-40B4-BE49-F238E27FC236}">
                <a16:creationId xmlns:a16="http://schemas.microsoft.com/office/drawing/2014/main" id="{812CF267-7D08-6042-0CA3-D0C81DB8291B}"/>
              </a:ext>
            </a:extLst>
          </p:cNvPr>
          <p:cNvSpPr/>
          <p:nvPr>
            <p:custDataLst>
              <p:tags r:id="rId39"/>
            </p:custDataLst>
          </p:nvPr>
        </p:nvSpPr>
        <p:spPr bwMode="auto">
          <a:xfrm>
            <a:off x="427038" y="4621213"/>
            <a:ext cx="34925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F911ACC3-A460-4309-B6B3-805AC3341D94}" type="datetime'''''''''''''''D''''''''ir''''''e''''c''''''''''''t'''''''''">
              <a:rPr lang="en-US" altLang="en-US" sz="900" smtClean="0">
                <a:solidFill>
                  <a:schemeClr val="tx1"/>
                </a:solidFill>
              </a:rPr>
              <a:pPr>
                <a:spcBef>
                  <a:spcPct val="0"/>
                </a:spcBef>
                <a:spcAft>
                  <a:spcPct val="0"/>
                </a:spcAft>
              </a:pPr>
              <a:t>Direct</a:t>
            </a:fld>
            <a:endParaRPr lang="en-US" sz="900">
              <a:solidFill>
                <a:schemeClr val="tx1"/>
              </a:solidFill>
            </a:endParaRPr>
          </a:p>
        </p:txBody>
      </p:sp>
      <p:sp>
        <p:nvSpPr>
          <p:cNvPr id="3066" name="Rectangle 3065">
            <a:extLst>
              <a:ext uri="{FF2B5EF4-FFF2-40B4-BE49-F238E27FC236}">
                <a16:creationId xmlns:a16="http://schemas.microsoft.com/office/drawing/2014/main" id="{43C6B206-FFEE-FA56-745D-3AAFFB74B71B}"/>
              </a:ext>
            </a:extLst>
          </p:cNvPr>
          <p:cNvSpPr/>
          <p:nvPr>
            <p:custDataLst>
              <p:tags r:id="rId40"/>
            </p:custDataLst>
          </p:nvPr>
        </p:nvSpPr>
        <p:spPr bwMode="auto">
          <a:xfrm>
            <a:off x="427038" y="4808538"/>
            <a:ext cx="358775"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F36E21D6-8BD1-4A25-87C4-567402C2BD54}" type="datetime'''''''X''''''''''''f''''in''''''''i''''t''''''''''y'">
              <a:rPr lang="en-US" altLang="en-US" sz="900" smtClean="0">
                <a:solidFill>
                  <a:schemeClr val="tx1"/>
                </a:solidFill>
              </a:rPr>
              <a:pPr>
                <a:spcBef>
                  <a:spcPct val="0"/>
                </a:spcBef>
                <a:spcAft>
                  <a:spcPct val="0"/>
                </a:spcAft>
              </a:pPr>
              <a:t>Xfinity</a:t>
            </a:fld>
            <a:endParaRPr lang="en-US" sz="900">
              <a:solidFill>
                <a:schemeClr val="tx1"/>
              </a:solidFill>
            </a:endParaRPr>
          </a:p>
        </p:txBody>
      </p:sp>
      <p:sp>
        <p:nvSpPr>
          <p:cNvPr id="3067" name="Rectangle 3066">
            <a:extLst>
              <a:ext uri="{FF2B5EF4-FFF2-40B4-BE49-F238E27FC236}">
                <a16:creationId xmlns:a16="http://schemas.microsoft.com/office/drawing/2014/main" id="{C66FD117-A3C7-5E04-E931-FEE96646F9E5}"/>
              </a:ext>
            </a:extLst>
          </p:cNvPr>
          <p:cNvSpPr/>
          <p:nvPr>
            <p:custDataLst>
              <p:tags r:id="rId41"/>
            </p:custDataLst>
          </p:nvPr>
        </p:nvSpPr>
        <p:spPr bwMode="auto">
          <a:xfrm>
            <a:off x="427038" y="4995863"/>
            <a:ext cx="32385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FA142223-56E4-4C51-AEEE-774A60445AC0}" type="datetime'''''''''''''E''''''''''''''''''ma''''''''''''''''''''''il'''''">
              <a:rPr lang="en-US" altLang="en-US" sz="900" smtClean="0">
                <a:solidFill>
                  <a:schemeClr val="tx1"/>
                </a:solidFill>
              </a:rPr>
              <a:pPr>
                <a:spcBef>
                  <a:spcPct val="0"/>
                </a:spcBef>
                <a:spcAft>
                  <a:spcPct val="0"/>
                </a:spcAft>
              </a:pPr>
              <a:t>Email</a:t>
            </a:fld>
            <a:endParaRPr lang="en-US" sz="900">
              <a:solidFill>
                <a:schemeClr val="tx1"/>
              </a:solidFill>
            </a:endParaRPr>
          </a:p>
        </p:txBody>
      </p:sp>
      <p:sp>
        <p:nvSpPr>
          <p:cNvPr id="3068" name="Rectangle 3067">
            <a:extLst>
              <a:ext uri="{FF2B5EF4-FFF2-40B4-BE49-F238E27FC236}">
                <a16:creationId xmlns:a16="http://schemas.microsoft.com/office/drawing/2014/main" id="{3C17472B-8DC7-C77C-F043-8F8E7C288583}"/>
              </a:ext>
            </a:extLst>
          </p:cNvPr>
          <p:cNvSpPr/>
          <p:nvPr>
            <p:custDataLst>
              <p:tags r:id="rId42"/>
            </p:custDataLst>
          </p:nvPr>
        </p:nvSpPr>
        <p:spPr bwMode="auto">
          <a:xfrm>
            <a:off x="427038" y="5183188"/>
            <a:ext cx="415925"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70550C95-4BC1-409F-BCB1-A2E514010746}" type="datetime'D''''''''''''''''''''''i''s''''''p''''''''''''l''''a''y'">
              <a:rPr lang="en-US" altLang="en-US" sz="900" smtClean="0">
                <a:solidFill>
                  <a:schemeClr val="tx1"/>
                </a:solidFill>
              </a:rPr>
              <a:pPr>
                <a:spcBef>
                  <a:spcPct val="0"/>
                </a:spcBef>
                <a:spcAft>
                  <a:spcPct val="0"/>
                </a:spcAft>
              </a:pPr>
              <a:t>Display</a:t>
            </a:fld>
            <a:endParaRPr lang="en-US" sz="900">
              <a:solidFill>
                <a:schemeClr val="tx1"/>
              </a:solidFill>
            </a:endParaRPr>
          </a:p>
        </p:txBody>
      </p:sp>
      <p:sp>
        <p:nvSpPr>
          <p:cNvPr id="3069" name="Rectangle 3068">
            <a:extLst>
              <a:ext uri="{FF2B5EF4-FFF2-40B4-BE49-F238E27FC236}">
                <a16:creationId xmlns:a16="http://schemas.microsoft.com/office/drawing/2014/main" id="{660ECA94-92E1-F2BC-2253-6FD7F137A4CE}"/>
              </a:ext>
            </a:extLst>
          </p:cNvPr>
          <p:cNvSpPr/>
          <p:nvPr>
            <p:custDataLst>
              <p:tags r:id="rId43"/>
            </p:custDataLst>
          </p:nvPr>
        </p:nvSpPr>
        <p:spPr bwMode="auto">
          <a:xfrm>
            <a:off x="427038" y="5370513"/>
            <a:ext cx="701675"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C090C7BB-EE09-464C-8958-BF7166D8D0C5}" type="datetime'O''''th''''er T''''''''ac''''''ti''c'''''''''''''''''''''''''">
              <a:rPr lang="en-US" altLang="en-US" sz="900" smtClean="0">
                <a:solidFill>
                  <a:schemeClr val="tx1"/>
                </a:solidFill>
              </a:rPr>
              <a:pPr>
                <a:spcBef>
                  <a:spcPct val="0"/>
                </a:spcBef>
                <a:spcAft>
                  <a:spcPct val="0"/>
                </a:spcAft>
              </a:pPr>
              <a:t>Other Tactic</a:t>
            </a:fld>
            <a:endParaRPr lang="en-US" sz="900">
              <a:solidFill>
                <a:schemeClr val="tx1"/>
              </a:solidFill>
            </a:endParaRPr>
          </a:p>
        </p:txBody>
      </p:sp>
      <p:sp>
        <p:nvSpPr>
          <p:cNvPr id="10" name="Text Placeholder 3">
            <a:extLst>
              <a:ext uri="{FF2B5EF4-FFF2-40B4-BE49-F238E27FC236}">
                <a16:creationId xmlns:a16="http://schemas.microsoft.com/office/drawing/2014/main" id="{35C90F1C-17BB-74FC-143E-A4C0E5B4E164}"/>
              </a:ext>
            </a:extLst>
          </p:cNvPr>
          <p:cNvSpPr>
            <a:spLocks noGrp="1"/>
          </p:cNvSpPr>
          <p:nvPr>
            <p:ph type="body" sz="quarter" idx="25"/>
          </p:nvPr>
        </p:nvSpPr>
        <p:spPr>
          <a:xfrm>
            <a:off x="463548" y="255612"/>
            <a:ext cx="11271251" cy="201168"/>
          </a:xfrm>
        </p:spPr>
        <p:txBody>
          <a:bodyPr/>
          <a:lstStyle/>
          <a:p>
            <a:r>
              <a:rPr lang="en-US" dirty="0"/>
              <a:t>APR CB Site Performance</a:t>
            </a:r>
          </a:p>
        </p:txBody>
      </p:sp>
    </p:spTree>
    <p:extLst>
      <p:ext uri="{BB962C8B-B14F-4D97-AF65-F5344CB8AC3E}">
        <p14:creationId xmlns:p14="http://schemas.microsoft.com/office/powerpoint/2010/main" val="2102190046"/>
      </p:ext>
    </p:extLst>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1A833C5-3500-7D6C-02D1-1D257419EFD4}"/>
              </a:ext>
            </a:extLst>
          </p:cNvPr>
          <p:cNvGraphicFramePr>
            <a:graphicFrameLocks noChangeAspect="1"/>
          </p:cNvGraphicFramePr>
          <p:nvPr>
            <p:custDataLst>
              <p:tags r:id="rId1"/>
            </p:custDataLst>
            <p:extLst>
              <p:ext uri="{D42A27DB-BD31-4B8C-83A1-F6EECF244321}">
                <p14:modId xmlns:p14="http://schemas.microsoft.com/office/powerpoint/2010/main" val="7656498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4" imgW="395" imgH="396" progId="TCLayout.ActiveDocument.1">
                  <p:embed/>
                </p:oleObj>
              </mc:Choice>
              <mc:Fallback>
                <p:oleObj name="think-cell Slide" r:id="rId94" imgW="395" imgH="396" progId="TCLayout.ActiveDocument.1">
                  <p:embed/>
                  <p:pic>
                    <p:nvPicPr>
                      <p:cNvPr id="6" name="think-cell data - do not delete" hidden="1">
                        <a:extLst>
                          <a:ext uri="{FF2B5EF4-FFF2-40B4-BE49-F238E27FC236}">
                            <a16:creationId xmlns:a16="http://schemas.microsoft.com/office/drawing/2014/main" id="{A1A833C5-3500-7D6C-02D1-1D257419EFD4}"/>
                          </a:ext>
                        </a:extLst>
                      </p:cNvPr>
                      <p:cNvPicPr/>
                      <p:nvPr/>
                    </p:nvPicPr>
                    <p:blipFill>
                      <a:blip r:embed="rId9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3774AED8-7B7B-E8A9-B655-236921FB1FB7}"/>
              </a:ext>
            </a:extLst>
          </p:cNvPr>
          <p:cNvSpPr>
            <a:spLocks noGrp="1"/>
          </p:cNvSpPr>
          <p:nvPr>
            <p:ph type="title"/>
          </p:nvPr>
        </p:nvSpPr>
        <p:spPr/>
        <p:txBody>
          <a:bodyPr vert="horz"/>
          <a:lstStyle/>
          <a:p>
            <a:r>
              <a:rPr lang="en-US" dirty="0"/>
              <a:t>SB Engaged Traffic 96% MoM and 71% to BUD; Lead CVR 94% MoM</a:t>
            </a:r>
          </a:p>
        </p:txBody>
      </p:sp>
      <p:sp>
        <p:nvSpPr>
          <p:cNvPr id="11" name="Text Placeholder 15">
            <a:extLst>
              <a:ext uri="{FF2B5EF4-FFF2-40B4-BE49-F238E27FC236}">
                <a16:creationId xmlns:a16="http://schemas.microsoft.com/office/drawing/2014/main" id="{0F76527C-8110-4CE9-07B8-92645F0C7354}"/>
              </a:ext>
            </a:extLst>
          </p:cNvPr>
          <p:cNvSpPr txBox="1">
            <a:spLocks/>
          </p:cNvSpPr>
          <p:nvPr/>
        </p:nvSpPr>
        <p:spPr>
          <a:xfrm>
            <a:off x="454025" y="868836"/>
            <a:ext cx="11271250" cy="261466"/>
          </a:xfrm>
          <a:prstGeom prst="rect">
            <a:avLst/>
          </a:prstGeom>
        </p:spPr>
        <p:txBody>
          <a:bodyPr lIns="0" tIns="0" rIns="0" bIns="0"/>
          <a:lstStyle>
            <a:lvl1pPr marL="0" indent="0" algn="l" rtl="0" eaLnBrk="1" fontAlgn="base" hangingPunct="1">
              <a:lnSpc>
                <a:spcPct val="95000"/>
              </a:lnSpc>
              <a:spcBef>
                <a:spcPts val="1000"/>
              </a:spcBef>
              <a:spcAft>
                <a:spcPct val="0"/>
              </a:spcAft>
              <a:buFont typeface="Arial" panose="020B0604020202020204" pitchFamily="34" charset="0"/>
              <a:buNone/>
              <a:defRPr sz="1800" b="0" i="0" kern="1200">
                <a:solidFill>
                  <a:schemeClr val="tx1"/>
                </a:solidFill>
                <a:latin typeface="Montserrat Light" pitchFamily="2" charset="77"/>
                <a:ea typeface="+mn-ea"/>
                <a:cs typeface="Montserrat Light" pitchFamily="2" charset="77"/>
              </a:defRPr>
            </a:lvl1pPr>
            <a:lvl2pPr marL="174625" indent="-174625" algn="l" rtl="0" eaLnBrk="1" fontAlgn="base" hangingPunct="1">
              <a:lnSpc>
                <a:spcPct val="90000"/>
              </a:lnSpc>
              <a:spcBef>
                <a:spcPts val="1200"/>
              </a:spcBef>
              <a:spcAft>
                <a:spcPct val="0"/>
              </a:spcAft>
              <a:buFont typeface="Arial" panose="020B0604020202020204" pitchFamily="34" charset="0"/>
              <a:buChar char="•"/>
              <a:tabLst/>
              <a:defRPr sz="1800" b="0" i="0" kern="1200">
                <a:solidFill>
                  <a:schemeClr val="tx1"/>
                </a:solidFill>
                <a:latin typeface="Montserrat Light" pitchFamily="2" charset="77"/>
                <a:ea typeface="+mn-ea"/>
                <a:cs typeface="Montserrat Light" pitchFamily="2" charset="77"/>
              </a:defRPr>
            </a:lvl2pPr>
            <a:lvl3pPr marL="560070" indent="-285750" algn="l" rtl="0" eaLnBrk="1" fontAlgn="base" hangingPunct="1">
              <a:lnSpc>
                <a:spcPct val="90000"/>
              </a:lnSpc>
              <a:spcBef>
                <a:spcPts val="1200"/>
              </a:spcBef>
              <a:spcAft>
                <a:spcPct val="0"/>
              </a:spcAft>
              <a:buFont typeface="Montserrat" panose="00000500000000000000" pitchFamily="2" charset="0"/>
              <a:buChar char="–"/>
              <a:defRPr sz="1800" b="0" i="0" kern="1200">
                <a:solidFill>
                  <a:schemeClr val="tx1"/>
                </a:solidFill>
                <a:latin typeface="Montserrat Light" pitchFamily="2" charset="77"/>
                <a:ea typeface="+mn-ea"/>
                <a:cs typeface="Montserrat Light" pitchFamily="2" charset="77"/>
              </a:defRPr>
            </a:lvl3pPr>
            <a:lvl4pPr marL="834390" indent="-285750" algn="l" rtl="0" eaLnBrk="1" fontAlgn="base" hangingPunct="1">
              <a:lnSpc>
                <a:spcPct val="90000"/>
              </a:lnSpc>
              <a:spcBef>
                <a:spcPts val="1200"/>
              </a:spcBef>
              <a:spcAft>
                <a:spcPct val="0"/>
              </a:spcAft>
              <a:buFont typeface="Courier New" panose="02070309020205020404" pitchFamily="49" charset="0"/>
              <a:buChar char="o"/>
              <a:defRPr sz="1600" b="0" i="0" kern="1200">
                <a:solidFill>
                  <a:schemeClr val="tx1"/>
                </a:solidFill>
                <a:latin typeface="Montserrat Light" pitchFamily="2" charset="77"/>
                <a:ea typeface="+mn-ea"/>
                <a:cs typeface="Montserrat Light" pitchFamily="2" charset="77"/>
              </a:defRPr>
            </a:lvl4pPr>
            <a:lvl5pPr marL="1108710" indent="-285750" algn="l" rtl="0" eaLnBrk="1" fontAlgn="base" hangingPunct="1">
              <a:lnSpc>
                <a:spcPct val="90000"/>
              </a:lnSpc>
              <a:spcBef>
                <a:spcPts val="500"/>
              </a:spcBef>
              <a:spcAft>
                <a:spcPct val="0"/>
              </a:spcAft>
              <a:buFont typeface="Arial" panose="020B0604020202020204" pitchFamily="34" charset="0"/>
              <a:defRPr lang="en-US" sz="1400" b="0" i="0" u="none" strike="noStrike" kern="1200" cap="none" spc="0" baseline="0" dirty="0">
                <a:solidFill>
                  <a:srgbClr val="000000"/>
                </a:solidFill>
                <a:uFillTx/>
                <a:latin typeface="Montserrat Light" pitchFamily="2" charset="77"/>
                <a:ea typeface="Montserrat" panose="00000500000000000000" pitchFamily="2" charset="0"/>
                <a:cs typeface="Montserrat Light" pitchFamily="2" charset="77"/>
                <a:sym typeface="Montserrat" panose="000005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dirty="0">
                <a:highlight>
                  <a:srgbClr val="FFFF00"/>
                </a:highlight>
              </a:rPr>
              <a:t>Display Traffic falls 71% MoM with a decrease in traffic to the PGA Tour landing page. However, the traffic that did land on the site was more qualified, driving an increase in lead CVR.</a:t>
            </a:r>
          </a:p>
        </p:txBody>
      </p:sp>
      <p:sp>
        <p:nvSpPr>
          <p:cNvPr id="432" name="Text Placeholder 3">
            <a:extLst>
              <a:ext uri="{FF2B5EF4-FFF2-40B4-BE49-F238E27FC236}">
                <a16:creationId xmlns:a16="http://schemas.microsoft.com/office/drawing/2014/main" id="{AE210B21-9593-27FA-D260-1A4A9EA682A6}"/>
              </a:ext>
            </a:extLst>
          </p:cNvPr>
          <p:cNvSpPr>
            <a:spLocks noGrp="1"/>
          </p:cNvSpPr>
          <p:nvPr>
            <p:ph type="body" sz="quarter" idx="25"/>
          </p:nvPr>
        </p:nvSpPr>
        <p:spPr>
          <a:xfrm>
            <a:off x="463550" y="255588"/>
            <a:ext cx="11271250" cy="201612"/>
          </a:xfrm>
        </p:spPr>
        <p:txBody>
          <a:bodyPr/>
          <a:lstStyle/>
          <a:p>
            <a:r>
              <a:rPr lang="en-US" dirty="0"/>
              <a:t>APR CB Site Performance</a:t>
            </a:r>
          </a:p>
        </p:txBody>
      </p:sp>
      <p:graphicFrame>
        <p:nvGraphicFramePr>
          <p:cNvPr id="7" name="Chart 6">
            <a:extLst>
              <a:ext uri="{FF2B5EF4-FFF2-40B4-BE49-F238E27FC236}">
                <a16:creationId xmlns:a16="http://schemas.microsoft.com/office/drawing/2014/main" id="{451A54D5-0AC0-67D1-8110-7FD442D16FF0}"/>
              </a:ext>
            </a:extLst>
          </p:cNvPr>
          <p:cNvGraphicFramePr/>
          <p:nvPr>
            <p:custDataLst>
              <p:tags r:id="rId2"/>
            </p:custDataLst>
            <p:extLst>
              <p:ext uri="{D42A27DB-BD31-4B8C-83A1-F6EECF244321}">
                <p14:modId xmlns:p14="http://schemas.microsoft.com/office/powerpoint/2010/main" val="4010185182"/>
              </p:ext>
            </p:extLst>
          </p:nvPr>
        </p:nvGraphicFramePr>
        <p:xfrm>
          <a:off x="371475" y="1462088"/>
          <a:ext cx="5487988" cy="4275137"/>
        </p:xfrm>
        <a:graphic>
          <a:graphicData uri="http://schemas.openxmlformats.org/drawingml/2006/chart">
            <c:chart xmlns:c="http://schemas.openxmlformats.org/drawingml/2006/chart" xmlns:r="http://schemas.openxmlformats.org/officeDocument/2006/relationships" r:id="rId96"/>
          </a:graphicData>
        </a:graphic>
      </p:graphicFrame>
      <p:sp>
        <p:nvSpPr>
          <p:cNvPr id="1026" name="Rectangle 1025">
            <a:extLst>
              <a:ext uri="{FF2B5EF4-FFF2-40B4-BE49-F238E27FC236}">
                <a16:creationId xmlns:a16="http://schemas.microsoft.com/office/drawing/2014/main" id="{236EDC17-EF54-12C4-5B26-B1428BD87494}"/>
              </a:ext>
            </a:extLst>
          </p:cNvPr>
          <p:cNvSpPr/>
          <p:nvPr>
            <p:custDataLst>
              <p:tags r:id="rId3"/>
            </p:custDataLst>
          </p:nvPr>
        </p:nvSpPr>
        <p:spPr bwMode="gray">
          <a:xfrm>
            <a:off x="698500" y="4681539"/>
            <a:ext cx="271463" cy="136525"/>
          </a:xfrm>
          <a:prstGeom prst="rect">
            <a:avLst/>
          </a:prstGeom>
          <a:solidFill>
            <a:schemeClr val="accent3"/>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ctr"/>
          <a:lstStyle/>
          <a:p>
            <a:pPr algn="ctr">
              <a:lnSpc>
                <a:spcPct val="90000"/>
              </a:lnSpc>
              <a:spcBef>
                <a:spcPct val="0"/>
              </a:spcBef>
              <a:spcAft>
                <a:spcPct val="0"/>
              </a:spcAft>
            </a:pPr>
            <a:fld id="{D5C96DE0-B084-43D3-9F05-0A3D818693BF}" type="datetime'''''''''2''4''''''''''''''''''''''''''''''8'''''''''''''">
              <a:rPr lang="en-US" altLang="en-US" sz="1000" smtClean="0">
                <a:solidFill>
                  <a:schemeClr val="tx1"/>
                </a:solidFill>
                <a:effectLst/>
              </a:rPr>
              <a:pPr algn="ctr">
                <a:lnSpc>
                  <a:spcPct val="90000"/>
                </a:lnSpc>
                <a:spcBef>
                  <a:spcPct val="0"/>
                </a:spcBef>
                <a:spcAft>
                  <a:spcPct val="0"/>
                </a:spcAft>
              </a:pPr>
              <a:t>248</a:t>
            </a:fld>
            <a:endParaRPr lang="en-US" sz="1000">
              <a:solidFill>
                <a:schemeClr val="tx1"/>
              </a:solidFill>
            </a:endParaRPr>
          </a:p>
        </p:txBody>
      </p:sp>
      <p:sp>
        <p:nvSpPr>
          <p:cNvPr id="49" name="Text Placeholder 2">
            <a:extLst>
              <a:ext uri="{FF2B5EF4-FFF2-40B4-BE49-F238E27FC236}">
                <a16:creationId xmlns:a16="http://schemas.microsoft.com/office/drawing/2014/main" id="{F60B6E74-BC4B-F51E-A885-3BCEA581C38E}"/>
              </a:ext>
            </a:extLst>
          </p:cNvPr>
          <p:cNvSpPr>
            <a:spLocks noGrp="1" noChangeArrowheads="1"/>
          </p:cNvSpPr>
          <p:nvPr>
            <p:custDataLst>
              <p:tags r:id="rId4"/>
            </p:custDataLst>
          </p:nvPr>
        </p:nvSpPr>
        <p:spPr bwMode="auto">
          <a:xfrm>
            <a:off x="695325" y="5554663"/>
            <a:ext cx="276225"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98CC1D9B-53DA-4173-8222-382D6D2DB393}" type="datetime'''''''''''''M''''''''ay'''''''''''''">
              <a:rPr lang="en-US" altLang="en-US" sz="1000" smtClean="0"/>
              <a:pPr/>
              <a:t>May</a:t>
            </a:fld>
            <a:endParaRPr lang="en-US" altLang="en-US" sz="1000"/>
          </a:p>
        </p:txBody>
      </p:sp>
      <p:sp>
        <p:nvSpPr>
          <p:cNvPr id="1027" name="Rectangle 1026">
            <a:extLst>
              <a:ext uri="{FF2B5EF4-FFF2-40B4-BE49-F238E27FC236}">
                <a16:creationId xmlns:a16="http://schemas.microsoft.com/office/drawing/2014/main" id="{044774C1-154D-3F14-929F-D8E8C242E42F}"/>
              </a:ext>
            </a:extLst>
          </p:cNvPr>
          <p:cNvSpPr/>
          <p:nvPr>
            <p:custDataLst>
              <p:tags r:id="rId5"/>
            </p:custDataLst>
          </p:nvPr>
        </p:nvSpPr>
        <p:spPr bwMode="gray">
          <a:xfrm>
            <a:off x="1473200" y="4352926"/>
            <a:ext cx="242888" cy="136525"/>
          </a:xfrm>
          <a:prstGeom prst="rect">
            <a:avLst/>
          </a:prstGeom>
          <a:solidFill>
            <a:schemeClr val="accent3"/>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ctr"/>
          <a:lstStyle/>
          <a:p>
            <a:pPr algn="ctr">
              <a:lnSpc>
                <a:spcPct val="90000"/>
              </a:lnSpc>
              <a:spcBef>
                <a:spcPct val="0"/>
              </a:spcBef>
              <a:spcAft>
                <a:spcPct val="0"/>
              </a:spcAft>
            </a:pPr>
            <a:fld id="{347AD6CF-589D-4FD4-975D-1CEE253A35CB}" type="datetime'4''''''9''''''''''''''''''''''''''''1'''''''''''''''">
              <a:rPr lang="en-US" altLang="en-US" sz="1000" smtClean="0">
                <a:solidFill>
                  <a:schemeClr val="tx1"/>
                </a:solidFill>
                <a:effectLst/>
              </a:rPr>
              <a:pPr algn="ctr">
                <a:lnSpc>
                  <a:spcPct val="90000"/>
                </a:lnSpc>
                <a:spcBef>
                  <a:spcPct val="0"/>
                </a:spcBef>
                <a:spcAft>
                  <a:spcPct val="0"/>
                </a:spcAft>
              </a:pPr>
              <a:t>491</a:t>
            </a:fld>
            <a:endParaRPr lang="en-US" sz="1000">
              <a:solidFill>
                <a:schemeClr val="tx1"/>
              </a:solidFill>
            </a:endParaRPr>
          </a:p>
        </p:txBody>
      </p:sp>
      <p:sp>
        <p:nvSpPr>
          <p:cNvPr id="512" name="Text Placeholder 2">
            <a:extLst>
              <a:ext uri="{FF2B5EF4-FFF2-40B4-BE49-F238E27FC236}">
                <a16:creationId xmlns:a16="http://schemas.microsoft.com/office/drawing/2014/main" id="{C8985ECC-34D1-C61A-D6FB-CE35F12C5BB4}"/>
              </a:ext>
            </a:extLst>
          </p:cNvPr>
          <p:cNvSpPr>
            <a:spLocks noGrp="1" noChangeArrowheads="1"/>
          </p:cNvSpPr>
          <p:nvPr>
            <p:custDataLst>
              <p:tags r:id="rId6"/>
            </p:custDataLst>
          </p:nvPr>
        </p:nvSpPr>
        <p:spPr bwMode="auto">
          <a:xfrm>
            <a:off x="1462088" y="5554663"/>
            <a:ext cx="265113"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391D302C-E478-4126-829F-484376E6F44F}" type="datetime'''''''''''D''e''''''''''c'''''''''''''''''''''''">
              <a:rPr lang="en-US" altLang="en-US" sz="1000" smtClean="0"/>
              <a:pPr/>
              <a:t>Dec</a:t>
            </a:fld>
            <a:endParaRPr lang="en-US" altLang="en-US" sz="1000"/>
          </a:p>
        </p:txBody>
      </p:sp>
      <p:sp>
        <p:nvSpPr>
          <p:cNvPr id="1028" name="Rectangle 1027">
            <a:extLst>
              <a:ext uri="{FF2B5EF4-FFF2-40B4-BE49-F238E27FC236}">
                <a16:creationId xmlns:a16="http://schemas.microsoft.com/office/drawing/2014/main" id="{C4EE7AF7-8260-6048-C69A-0357E7A15681}"/>
              </a:ext>
            </a:extLst>
          </p:cNvPr>
          <p:cNvSpPr/>
          <p:nvPr>
            <p:custDataLst>
              <p:tags r:id="rId7"/>
            </p:custDataLst>
          </p:nvPr>
        </p:nvSpPr>
        <p:spPr bwMode="gray">
          <a:xfrm>
            <a:off x="2225675" y="4562476"/>
            <a:ext cx="258763" cy="136525"/>
          </a:xfrm>
          <a:prstGeom prst="rect">
            <a:avLst/>
          </a:prstGeom>
          <a:solidFill>
            <a:schemeClr val="accent3"/>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ctr"/>
          <a:lstStyle/>
          <a:p>
            <a:pPr algn="ctr">
              <a:lnSpc>
                <a:spcPct val="90000"/>
              </a:lnSpc>
              <a:spcBef>
                <a:spcPct val="0"/>
              </a:spcBef>
              <a:spcAft>
                <a:spcPct val="0"/>
              </a:spcAft>
            </a:pPr>
            <a:fld id="{F545FADB-B496-40F8-A0D2-E77A338F6FF0}" type="datetime'''''''''''''''''''''''''''''''''''''''''5''''''6''''7'''''''''">
              <a:rPr lang="en-US" altLang="en-US" sz="1000" smtClean="0">
                <a:solidFill>
                  <a:schemeClr val="tx1"/>
                </a:solidFill>
                <a:effectLst/>
              </a:rPr>
              <a:pPr algn="ctr">
                <a:lnSpc>
                  <a:spcPct val="90000"/>
                </a:lnSpc>
                <a:spcBef>
                  <a:spcPct val="0"/>
                </a:spcBef>
                <a:spcAft>
                  <a:spcPct val="0"/>
                </a:spcAft>
              </a:pPr>
              <a:t>567</a:t>
            </a:fld>
            <a:endParaRPr lang="en-US" sz="1000">
              <a:solidFill>
                <a:schemeClr val="tx1"/>
              </a:solidFill>
            </a:endParaRPr>
          </a:p>
        </p:txBody>
      </p:sp>
      <p:sp>
        <p:nvSpPr>
          <p:cNvPr id="503" name="Text Placeholder 2">
            <a:extLst>
              <a:ext uri="{FF2B5EF4-FFF2-40B4-BE49-F238E27FC236}">
                <a16:creationId xmlns:a16="http://schemas.microsoft.com/office/drawing/2014/main" id="{C66EC442-8683-2984-C68D-2B1A3B3F00C0}"/>
              </a:ext>
            </a:extLst>
          </p:cNvPr>
          <p:cNvSpPr>
            <a:spLocks noGrp="1" noChangeArrowheads="1"/>
          </p:cNvSpPr>
          <p:nvPr>
            <p:custDataLst>
              <p:tags r:id="rId8"/>
            </p:custDataLst>
          </p:nvPr>
        </p:nvSpPr>
        <p:spPr bwMode="auto">
          <a:xfrm>
            <a:off x="2144713" y="5554663"/>
            <a:ext cx="419100"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B8EAC1DF-51D1-43BE-AB17-01CDA5517388}" type="datetime'''J''''''''''a''n''''’''2''''''''''''''''4'''''''''''">
              <a:rPr lang="en-US" altLang="en-US" sz="1000" smtClean="0"/>
              <a:pPr/>
              <a:t>Jan’24</a:t>
            </a:fld>
            <a:endParaRPr lang="en-US" altLang="en-US" sz="1000"/>
          </a:p>
        </p:txBody>
      </p:sp>
      <p:sp>
        <p:nvSpPr>
          <p:cNvPr id="1029" name="Rectangle 1028">
            <a:extLst>
              <a:ext uri="{FF2B5EF4-FFF2-40B4-BE49-F238E27FC236}">
                <a16:creationId xmlns:a16="http://schemas.microsoft.com/office/drawing/2014/main" id="{CBAD60EC-3098-66EC-203D-9FC0CCF7665C}"/>
              </a:ext>
            </a:extLst>
          </p:cNvPr>
          <p:cNvSpPr/>
          <p:nvPr>
            <p:custDataLst>
              <p:tags r:id="rId9"/>
            </p:custDataLst>
          </p:nvPr>
        </p:nvSpPr>
        <p:spPr bwMode="gray">
          <a:xfrm>
            <a:off x="2973388" y="4756151"/>
            <a:ext cx="284163" cy="136525"/>
          </a:xfrm>
          <a:prstGeom prst="rect">
            <a:avLst/>
          </a:prstGeom>
          <a:solidFill>
            <a:schemeClr val="accent3"/>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ctr"/>
          <a:lstStyle/>
          <a:p>
            <a:pPr algn="ctr">
              <a:lnSpc>
                <a:spcPct val="90000"/>
              </a:lnSpc>
              <a:spcBef>
                <a:spcPct val="0"/>
              </a:spcBef>
              <a:spcAft>
                <a:spcPct val="0"/>
              </a:spcAft>
            </a:pPr>
            <a:fld id="{FD91CF33-B0A6-409F-A7D3-316EB8924D6E}" type="datetime'''''4''''''''''''''4''''8'''''''''''''''''''''''''''''''''''">
              <a:rPr lang="en-US" altLang="en-US" sz="1000" smtClean="0">
                <a:solidFill>
                  <a:schemeClr val="tx1"/>
                </a:solidFill>
                <a:effectLst/>
              </a:rPr>
              <a:pPr algn="ctr">
                <a:lnSpc>
                  <a:spcPct val="90000"/>
                </a:lnSpc>
                <a:spcBef>
                  <a:spcPct val="0"/>
                </a:spcBef>
                <a:spcAft>
                  <a:spcPct val="0"/>
                </a:spcAft>
              </a:pPr>
              <a:t>448</a:t>
            </a:fld>
            <a:endParaRPr lang="en-US" sz="1000">
              <a:solidFill>
                <a:schemeClr val="tx1"/>
              </a:solidFill>
            </a:endParaRPr>
          </a:p>
        </p:txBody>
      </p:sp>
      <p:sp>
        <p:nvSpPr>
          <p:cNvPr id="505" name="Text Placeholder 2">
            <a:extLst>
              <a:ext uri="{FF2B5EF4-FFF2-40B4-BE49-F238E27FC236}">
                <a16:creationId xmlns:a16="http://schemas.microsoft.com/office/drawing/2014/main" id="{B1DD8D4B-C485-BC72-14AC-CDF91055E37B}"/>
              </a:ext>
            </a:extLst>
          </p:cNvPr>
          <p:cNvSpPr>
            <a:spLocks noGrp="1" noChangeArrowheads="1"/>
          </p:cNvSpPr>
          <p:nvPr>
            <p:custDataLst>
              <p:tags r:id="rId10"/>
            </p:custDataLst>
          </p:nvPr>
        </p:nvSpPr>
        <p:spPr bwMode="auto">
          <a:xfrm>
            <a:off x="2895600" y="5554663"/>
            <a:ext cx="438150"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4D73CE20-C4EF-4C30-B132-42F1FBAF645E}" type="datetime'''''''Feb''''''''''''''''''''’''''''''''''''''2''''4'''''''''">
              <a:rPr lang="en-US" altLang="en-US" sz="1000" smtClean="0"/>
              <a:pPr/>
              <a:t>Feb’24</a:t>
            </a:fld>
            <a:endParaRPr lang="en-US" altLang="en-US" sz="1000"/>
          </a:p>
        </p:txBody>
      </p:sp>
      <p:sp>
        <p:nvSpPr>
          <p:cNvPr id="1030" name="Rectangle 1029">
            <a:extLst>
              <a:ext uri="{FF2B5EF4-FFF2-40B4-BE49-F238E27FC236}">
                <a16:creationId xmlns:a16="http://schemas.microsoft.com/office/drawing/2014/main" id="{EB9DA4C3-2D43-E0C0-5BE0-B6EEF65DFCAF}"/>
              </a:ext>
            </a:extLst>
          </p:cNvPr>
          <p:cNvSpPr/>
          <p:nvPr>
            <p:custDataLst>
              <p:tags r:id="rId11"/>
            </p:custDataLst>
          </p:nvPr>
        </p:nvSpPr>
        <p:spPr bwMode="gray">
          <a:xfrm>
            <a:off x="3744913" y="4557714"/>
            <a:ext cx="261938" cy="136525"/>
          </a:xfrm>
          <a:prstGeom prst="rect">
            <a:avLst/>
          </a:prstGeom>
          <a:solidFill>
            <a:schemeClr val="accent3"/>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ctr"/>
          <a:lstStyle/>
          <a:p>
            <a:pPr algn="ctr">
              <a:lnSpc>
                <a:spcPct val="90000"/>
              </a:lnSpc>
              <a:spcBef>
                <a:spcPct val="0"/>
              </a:spcBef>
              <a:spcAft>
                <a:spcPct val="0"/>
              </a:spcAft>
            </a:pPr>
            <a:fld id="{7F379FEF-7DF0-40FB-A707-542A9326342D}" type="datetime'''''''''''''3''''''''''''''''''''''''''''''''''''96'''''">
              <a:rPr lang="en-US" altLang="en-US" sz="1000" smtClean="0">
                <a:solidFill>
                  <a:schemeClr val="tx1"/>
                </a:solidFill>
                <a:effectLst/>
              </a:rPr>
              <a:pPr algn="ctr">
                <a:lnSpc>
                  <a:spcPct val="90000"/>
                </a:lnSpc>
                <a:spcBef>
                  <a:spcPct val="0"/>
                </a:spcBef>
                <a:spcAft>
                  <a:spcPct val="0"/>
                </a:spcAft>
              </a:pPr>
              <a:t>396</a:t>
            </a:fld>
            <a:endParaRPr lang="en-US" sz="1000">
              <a:solidFill>
                <a:schemeClr val="tx1"/>
              </a:solidFill>
            </a:endParaRPr>
          </a:p>
        </p:txBody>
      </p:sp>
      <p:sp>
        <p:nvSpPr>
          <p:cNvPr id="506" name="Text Placeholder 2">
            <a:extLst>
              <a:ext uri="{FF2B5EF4-FFF2-40B4-BE49-F238E27FC236}">
                <a16:creationId xmlns:a16="http://schemas.microsoft.com/office/drawing/2014/main" id="{0E074F9E-22FF-7B34-5CAA-F83823BECD25}"/>
              </a:ext>
            </a:extLst>
          </p:cNvPr>
          <p:cNvSpPr>
            <a:spLocks noGrp="1" noChangeArrowheads="1"/>
          </p:cNvSpPr>
          <p:nvPr>
            <p:custDataLst>
              <p:tags r:id="rId12"/>
            </p:custDataLst>
          </p:nvPr>
        </p:nvSpPr>
        <p:spPr bwMode="auto">
          <a:xfrm>
            <a:off x="3654425" y="5554663"/>
            <a:ext cx="441325"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F30C1513-B055-43CD-A576-A02A05A9D693}" type="datetime'''''''''''''M''''''''''a''''''r''''’''''''2''4'''''''''">
              <a:rPr lang="en-US" altLang="en-US" sz="1000" smtClean="0"/>
              <a:pPr/>
              <a:t>Mar’24</a:t>
            </a:fld>
            <a:endParaRPr lang="en-US" altLang="en-US" sz="1000" dirty="0"/>
          </a:p>
        </p:txBody>
      </p:sp>
      <p:sp>
        <p:nvSpPr>
          <p:cNvPr id="1031" name="Rectangle 1030">
            <a:extLst>
              <a:ext uri="{FF2B5EF4-FFF2-40B4-BE49-F238E27FC236}">
                <a16:creationId xmlns:a16="http://schemas.microsoft.com/office/drawing/2014/main" id="{F3AEBB94-71F3-4EDA-AF69-1469499BDFC7}"/>
              </a:ext>
            </a:extLst>
          </p:cNvPr>
          <p:cNvSpPr/>
          <p:nvPr>
            <p:custDataLst>
              <p:tags r:id="rId13"/>
            </p:custDataLst>
          </p:nvPr>
        </p:nvSpPr>
        <p:spPr bwMode="gray">
          <a:xfrm>
            <a:off x="4506913" y="4718051"/>
            <a:ext cx="258763" cy="136525"/>
          </a:xfrm>
          <a:prstGeom prst="rect">
            <a:avLst/>
          </a:prstGeom>
          <a:solidFill>
            <a:schemeClr val="accent3"/>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ctr"/>
          <a:lstStyle/>
          <a:p>
            <a:pPr algn="ctr">
              <a:lnSpc>
                <a:spcPct val="90000"/>
              </a:lnSpc>
              <a:spcBef>
                <a:spcPct val="0"/>
              </a:spcBef>
              <a:spcAft>
                <a:spcPct val="0"/>
              </a:spcAft>
            </a:pPr>
            <a:fld id="{9F5BC936-F32D-4B05-B736-B7832F1375C1}" type="datetime'''''''''''''''''''3''''''''5''''8'''''''''''''''''''''">
              <a:rPr lang="en-US" altLang="en-US" sz="1000" smtClean="0">
                <a:solidFill>
                  <a:schemeClr val="tx1"/>
                </a:solidFill>
                <a:effectLst/>
              </a:rPr>
              <a:pPr algn="ctr">
                <a:lnSpc>
                  <a:spcPct val="90000"/>
                </a:lnSpc>
                <a:spcBef>
                  <a:spcPct val="0"/>
                </a:spcBef>
                <a:spcAft>
                  <a:spcPct val="0"/>
                </a:spcAft>
              </a:pPr>
              <a:t>358</a:t>
            </a:fld>
            <a:endParaRPr lang="en-US" sz="1000">
              <a:solidFill>
                <a:schemeClr val="tx1"/>
              </a:solidFill>
            </a:endParaRPr>
          </a:p>
        </p:txBody>
      </p:sp>
      <p:sp>
        <p:nvSpPr>
          <p:cNvPr id="1012" name="Text Placeholder 2">
            <a:extLst>
              <a:ext uri="{FF2B5EF4-FFF2-40B4-BE49-F238E27FC236}">
                <a16:creationId xmlns:a16="http://schemas.microsoft.com/office/drawing/2014/main" id="{DA867633-79D9-F704-1CDA-A77C47732AAB}"/>
              </a:ext>
            </a:extLst>
          </p:cNvPr>
          <p:cNvSpPr>
            <a:spLocks noGrp="1" noChangeArrowheads="1"/>
          </p:cNvSpPr>
          <p:nvPr>
            <p:custDataLst>
              <p:tags r:id="rId14"/>
            </p:custDataLst>
          </p:nvPr>
        </p:nvSpPr>
        <p:spPr bwMode="auto">
          <a:xfrm>
            <a:off x="4424363" y="5554663"/>
            <a:ext cx="422275"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5F1E6D6B-FBE5-4886-B371-573378A6040D}" type="datetime'''''''''''''A''''''''''''''pr''''''''''’2''''''''''''''''4'">
              <a:rPr lang="en-US" altLang="en-US" sz="1000" smtClean="0"/>
              <a:pPr/>
              <a:t>Apr’24</a:t>
            </a:fld>
            <a:endParaRPr lang="en-US" altLang="en-US" sz="1000" dirty="0"/>
          </a:p>
        </p:txBody>
      </p:sp>
      <p:sp>
        <p:nvSpPr>
          <p:cNvPr id="1034" name="Rectangle 1033">
            <a:extLst>
              <a:ext uri="{FF2B5EF4-FFF2-40B4-BE49-F238E27FC236}">
                <a16:creationId xmlns:a16="http://schemas.microsoft.com/office/drawing/2014/main" id="{88EFECF2-0074-406D-95F3-11DFB505521B}"/>
              </a:ext>
            </a:extLst>
          </p:cNvPr>
          <p:cNvSpPr/>
          <p:nvPr>
            <p:custDataLst>
              <p:tags r:id="rId15"/>
            </p:custDataLst>
          </p:nvPr>
        </p:nvSpPr>
        <p:spPr bwMode="gray">
          <a:xfrm>
            <a:off x="5272088" y="4786313"/>
            <a:ext cx="249238" cy="136525"/>
          </a:xfrm>
          <a:prstGeom prst="rect">
            <a:avLst/>
          </a:prstGeom>
          <a:solidFill>
            <a:schemeClr val="accent3"/>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ctr"/>
          <a:lstStyle/>
          <a:p>
            <a:pPr algn="ctr">
              <a:lnSpc>
                <a:spcPct val="90000"/>
              </a:lnSpc>
              <a:spcBef>
                <a:spcPct val="0"/>
              </a:spcBef>
              <a:spcAft>
                <a:spcPct val="0"/>
              </a:spcAft>
            </a:pPr>
            <a:fld id="{C92606A4-21ED-4B1A-A5F2-19F4CC58BE1B}" type="datetime'''''''''''''''''''''''''''''''''''''''''''3''''''5''''''3'">
              <a:rPr lang="en-US" altLang="en-US" sz="1000" smtClean="0">
                <a:solidFill>
                  <a:schemeClr val="tx1"/>
                </a:solidFill>
                <a:effectLst/>
              </a:rPr>
              <a:pPr/>
              <a:t>353</a:t>
            </a:fld>
            <a:endParaRPr lang="en-US" sz="1000">
              <a:solidFill>
                <a:schemeClr val="tx1"/>
              </a:solidFill>
            </a:endParaRPr>
          </a:p>
        </p:txBody>
      </p:sp>
      <p:sp>
        <p:nvSpPr>
          <p:cNvPr id="1005" name="Text Placeholder 2">
            <a:extLst>
              <a:ext uri="{FF2B5EF4-FFF2-40B4-BE49-F238E27FC236}">
                <a16:creationId xmlns:a16="http://schemas.microsoft.com/office/drawing/2014/main" id="{8060A7BC-C6B3-BA55-5731-E4C6AFDD27E2}"/>
              </a:ext>
            </a:extLst>
          </p:cNvPr>
          <p:cNvSpPr>
            <a:spLocks noGrp="1" noChangeArrowheads="1"/>
          </p:cNvSpPr>
          <p:nvPr>
            <p:custDataLst>
              <p:tags r:id="rId16"/>
            </p:custDataLst>
          </p:nvPr>
        </p:nvSpPr>
        <p:spPr bwMode="auto">
          <a:xfrm>
            <a:off x="5167313" y="5554663"/>
            <a:ext cx="458788"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82B13098-AFD1-4F85-AA97-F26FA6807568}" type="datetime'''''''''''''Ma''y''''''''’''''''''''''''''2''''4'">
              <a:rPr lang="en-US" altLang="en-US" sz="1000" smtClean="0"/>
              <a:pPr/>
              <a:t>May’24</a:t>
            </a:fld>
            <a:endParaRPr lang="en-US" altLang="en-US" sz="1000" dirty="0"/>
          </a:p>
        </p:txBody>
      </p:sp>
      <p:sp>
        <p:nvSpPr>
          <p:cNvPr id="55" name="Rectangle 54">
            <a:extLst>
              <a:ext uri="{FF2B5EF4-FFF2-40B4-BE49-F238E27FC236}">
                <a16:creationId xmlns:a16="http://schemas.microsoft.com/office/drawing/2014/main" id="{007A01A4-701B-EAF1-DEC4-491A34593E43}"/>
              </a:ext>
            </a:extLst>
          </p:cNvPr>
          <p:cNvSpPr/>
          <p:nvPr>
            <p:custDataLst>
              <p:tags r:id="rId17"/>
            </p:custDataLst>
          </p:nvPr>
        </p:nvSpPr>
        <p:spPr bwMode="gray">
          <a:xfrm>
            <a:off x="617538" y="2938463"/>
            <a:ext cx="43180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6955D66F-7989-4F5F-BA50-D90D21773701}" type="datetime'''''''''''''''2''''5'''''''',8''5''''''''''''''''''7'''''''">
              <a:rPr lang="en-US" altLang="en-US" sz="1000" smtClean="0">
                <a:solidFill>
                  <a:schemeClr val="tx1"/>
                </a:solidFill>
              </a:rPr>
              <a:pPr/>
              <a:t>25,857</a:t>
            </a:fld>
            <a:endParaRPr lang="en-US" sz="1000">
              <a:solidFill>
                <a:schemeClr val="tx1"/>
              </a:solidFill>
            </a:endParaRPr>
          </a:p>
        </p:txBody>
      </p:sp>
      <p:sp>
        <p:nvSpPr>
          <p:cNvPr id="515" name="Rectangle 514">
            <a:extLst>
              <a:ext uri="{FF2B5EF4-FFF2-40B4-BE49-F238E27FC236}">
                <a16:creationId xmlns:a16="http://schemas.microsoft.com/office/drawing/2014/main" id="{454A3263-D17A-5E0A-51BA-918F4229BA02}"/>
              </a:ext>
            </a:extLst>
          </p:cNvPr>
          <p:cNvSpPr/>
          <p:nvPr>
            <p:custDataLst>
              <p:tags r:id="rId18"/>
            </p:custDataLst>
          </p:nvPr>
        </p:nvSpPr>
        <p:spPr bwMode="gray">
          <a:xfrm>
            <a:off x="1390650" y="2419350"/>
            <a:ext cx="40640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4625CF9E-0457-45E6-A59F-751C52C84470}" type="datetime'''''''''''''31'''''''''''',''''4''25'''''''''''''">
              <a:rPr lang="en-US" altLang="en-US" sz="1000" smtClean="0">
                <a:solidFill>
                  <a:schemeClr val="tx1"/>
                </a:solidFill>
              </a:rPr>
              <a:pPr/>
              <a:t>31,425</a:t>
            </a:fld>
            <a:endParaRPr lang="en-US" sz="1000">
              <a:solidFill>
                <a:schemeClr val="tx1"/>
              </a:solidFill>
            </a:endParaRPr>
          </a:p>
        </p:txBody>
      </p:sp>
      <p:sp>
        <p:nvSpPr>
          <p:cNvPr id="508" name="Rectangle 507">
            <a:extLst>
              <a:ext uri="{FF2B5EF4-FFF2-40B4-BE49-F238E27FC236}">
                <a16:creationId xmlns:a16="http://schemas.microsoft.com/office/drawing/2014/main" id="{ECD5D568-75BC-20A2-2B01-C0246E8CFBED}"/>
              </a:ext>
            </a:extLst>
          </p:cNvPr>
          <p:cNvSpPr/>
          <p:nvPr>
            <p:custDataLst>
              <p:tags r:id="rId19"/>
            </p:custDataLst>
          </p:nvPr>
        </p:nvSpPr>
        <p:spPr bwMode="gray">
          <a:xfrm>
            <a:off x="2130425" y="2482850"/>
            <a:ext cx="447675"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4DD6B3D8-36CE-4E2F-9230-E13D4205F3CB}" type="datetime'''''3''''''''''0'',''''''''''73''''''0'''''">
              <a:rPr lang="en-US" altLang="en-US" sz="1000" smtClean="0">
                <a:solidFill>
                  <a:schemeClr val="tx1"/>
                </a:solidFill>
              </a:rPr>
              <a:pPr/>
              <a:t>30,730</a:t>
            </a:fld>
            <a:endParaRPr lang="en-US" sz="1000">
              <a:solidFill>
                <a:schemeClr val="tx1"/>
              </a:solidFill>
            </a:endParaRPr>
          </a:p>
        </p:txBody>
      </p:sp>
      <p:sp>
        <p:nvSpPr>
          <p:cNvPr id="509" name="Rectangle 508">
            <a:extLst>
              <a:ext uri="{FF2B5EF4-FFF2-40B4-BE49-F238E27FC236}">
                <a16:creationId xmlns:a16="http://schemas.microsoft.com/office/drawing/2014/main" id="{BA6F8C8A-4858-73F1-99B3-1A4195B39C3A}"/>
              </a:ext>
            </a:extLst>
          </p:cNvPr>
          <p:cNvSpPr/>
          <p:nvPr>
            <p:custDataLst>
              <p:tags r:id="rId20"/>
            </p:custDataLst>
          </p:nvPr>
        </p:nvSpPr>
        <p:spPr bwMode="gray">
          <a:xfrm>
            <a:off x="2895600" y="2955925"/>
            <a:ext cx="43815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0926A422-FCA5-42F2-94B1-9B4B8F1F4483}" type="datetime'''''''''''''''''''''''''2''''''''''''5'''''''',''6''6''''6'">
              <a:rPr lang="en-US" altLang="en-US" sz="1000" smtClean="0">
                <a:solidFill>
                  <a:schemeClr val="tx1"/>
                </a:solidFill>
              </a:rPr>
              <a:pPr/>
              <a:t>25,666</a:t>
            </a:fld>
            <a:endParaRPr lang="en-US" sz="1000" dirty="0">
              <a:solidFill>
                <a:schemeClr val="tx1"/>
              </a:solidFill>
            </a:endParaRPr>
          </a:p>
        </p:txBody>
      </p:sp>
      <p:sp>
        <p:nvSpPr>
          <p:cNvPr id="510" name="Rectangle 509">
            <a:extLst>
              <a:ext uri="{FF2B5EF4-FFF2-40B4-BE49-F238E27FC236}">
                <a16:creationId xmlns:a16="http://schemas.microsoft.com/office/drawing/2014/main" id="{A0D86839-D300-8DF6-60D1-ADFD36009372}"/>
              </a:ext>
            </a:extLst>
          </p:cNvPr>
          <p:cNvSpPr/>
          <p:nvPr>
            <p:custDataLst>
              <p:tags r:id="rId21"/>
            </p:custDataLst>
          </p:nvPr>
        </p:nvSpPr>
        <p:spPr bwMode="gray">
          <a:xfrm>
            <a:off x="3654425" y="2832100"/>
            <a:ext cx="441325"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4B3015E7-7C59-47C1-A561-304FA1D64C54}" type="datetime'''''''''2''''''''''''''''''6'''',''''9''9''''7'''''''''''''">
              <a:rPr lang="en-US" altLang="en-US" sz="1000" smtClean="0">
                <a:solidFill>
                  <a:schemeClr val="tx1"/>
                </a:solidFill>
              </a:rPr>
              <a:pPr/>
              <a:t>26,997</a:t>
            </a:fld>
            <a:endParaRPr lang="en-US" sz="1000">
              <a:solidFill>
                <a:schemeClr val="tx1"/>
              </a:solidFill>
            </a:endParaRPr>
          </a:p>
        </p:txBody>
      </p:sp>
      <p:sp>
        <p:nvSpPr>
          <p:cNvPr id="566" name="Rectangle 565">
            <a:extLst>
              <a:ext uri="{FF2B5EF4-FFF2-40B4-BE49-F238E27FC236}">
                <a16:creationId xmlns:a16="http://schemas.microsoft.com/office/drawing/2014/main" id="{15EAD916-A894-F40A-ECCA-011D041B4681}"/>
              </a:ext>
            </a:extLst>
          </p:cNvPr>
          <p:cNvSpPr/>
          <p:nvPr>
            <p:custDataLst>
              <p:tags r:id="rId22"/>
            </p:custDataLst>
          </p:nvPr>
        </p:nvSpPr>
        <p:spPr bwMode="gray">
          <a:xfrm>
            <a:off x="4430713" y="3138488"/>
            <a:ext cx="409575"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D1575345-937D-412A-96BD-B3F3F169AEF1}" type="datetime'2''''3'''''''''''',''''''7''''''''''''''''''''''1''0'''''''''">
              <a:rPr lang="en-US" altLang="en-US" sz="1000" smtClean="0">
                <a:solidFill>
                  <a:schemeClr val="tx1"/>
                </a:solidFill>
              </a:rPr>
              <a:pPr/>
              <a:t>23,710</a:t>
            </a:fld>
            <a:endParaRPr lang="en-US" sz="1000">
              <a:solidFill>
                <a:schemeClr val="tx1"/>
              </a:solidFill>
            </a:endParaRPr>
          </a:p>
        </p:txBody>
      </p:sp>
      <p:sp>
        <p:nvSpPr>
          <p:cNvPr id="1033" name="Rectangle 1032">
            <a:extLst>
              <a:ext uri="{FF2B5EF4-FFF2-40B4-BE49-F238E27FC236}">
                <a16:creationId xmlns:a16="http://schemas.microsoft.com/office/drawing/2014/main" id="{5F247AD6-C32C-DFB2-4919-C9E24CA64DAC}"/>
              </a:ext>
            </a:extLst>
          </p:cNvPr>
          <p:cNvSpPr/>
          <p:nvPr>
            <p:custDataLst>
              <p:tags r:id="rId23"/>
            </p:custDataLst>
          </p:nvPr>
        </p:nvSpPr>
        <p:spPr bwMode="gray">
          <a:xfrm>
            <a:off x="5178425" y="3227388"/>
            <a:ext cx="434975"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64960C5F-0364-4745-8AC1-AA130751AB7B}" type="datetime'''''''''''''2''''''2'''''''',''''7''''''''''''50'''''''''''''">
              <a:rPr lang="en-US" altLang="en-US" sz="1000" smtClean="0">
                <a:solidFill>
                  <a:schemeClr val="tx1"/>
                </a:solidFill>
              </a:rPr>
              <a:pPr/>
              <a:t>22,750</a:t>
            </a:fld>
            <a:endParaRPr lang="en-US" sz="1000">
              <a:solidFill>
                <a:schemeClr val="tx1"/>
              </a:solidFill>
            </a:endParaRPr>
          </a:p>
        </p:txBody>
      </p:sp>
      <p:sp>
        <p:nvSpPr>
          <p:cNvPr id="517" name="Rectangle 516">
            <a:extLst>
              <a:ext uri="{FF2B5EF4-FFF2-40B4-BE49-F238E27FC236}">
                <a16:creationId xmlns:a16="http://schemas.microsoft.com/office/drawing/2014/main" id="{8D20E289-D814-62FB-C2DD-78432BC6DAE9}"/>
              </a:ext>
            </a:extLst>
          </p:cNvPr>
          <p:cNvSpPr/>
          <p:nvPr>
            <p:custDataLst>
              <p:tags r:id="rId24"/>
            </p:custDataLst>
          </p:nvPr>
        </p:nvSpPr>
        <p:spPr bwMode="auto">
          <a:xfrm>
            <a:off x="2782888" y="1736725"/>
            <a:ext cx="160338" cy="120650"/>
          </a:xfrm>
          <a:prstGeom prst="rect">
            <a:avLst/>
          </a:prstGeom>
          <a:solidFill>
            <a:schemeClr val="accent1"/>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8" name="Rectangle 517">
            <a:extLst>
              <a:ext uri="{FF2B5EF4-FFF2-40B4-BE49-F238E27FC236}">
                <a16:creationId xmlns:a16="http://schemas.microsoft.com/office/drawing/2014/main" id="{143CA832-AC9E-6AE4-CC75-8FDD155ED1D5}"/>
              </a:ext>
            </a:extLst>
          </p:cNvPr>
          <p:cNvSpPr/>
          <p:nvPr>
            <p:custDataLst>
              <p:tags r:id="rId25"/>
            </p:custDataLst>
          </p:nvPr>
        </p:nvSpPr>
        <p:spPr bwMode="auto">
          <a:xfrm>
            <a:off x="2782888" y="1924050"/>
            <a:ext cx="160338" cy="120650"/>
          </a:xfrm>
          <a:prstGeom prst="rect">
            <a:avLst/>
          </a:prstGeom>
          <a:solidFill>
            <a:schemeClr val="accent6"/>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9" name="Rectangle 518">
            <a:extLst>
              <a:ext uri="{FF2B5EF4-FFF2-40B4-BE49-F238E27FC236}">
                <a16:creationId xmlns:a16="http://schemas.microsoft.com/office/drawing/2014/main" id="{4839BE8F-4916-BA54-7399-A404B0A3720A}"/>
              </a:ext>
            </a:extLst>
          </p:cNvPr>
          <p:cNvSpPr/>
          <p:nvPr>
            <p:custDataLst>
              <p:tags r:id="rId26"/>
            </p:custDataLst>
          </p:nvPr>
        </p:nvSpPr>
        <p:spPr bwMode="auto">
          <a:xfrm>
            <a:off x="2782888" y="2111375"/>
            <a:ext cx="160338" cy="120650"/>
          </a:xfrm>
          <a:prstGeom prst="rect">
            <a:avLst/>
          </a:prstGeom>
          <a:solidFill>
            <a:schemeClr val="accent5"/>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0" name="Rectangle 519">
            <a:extLst>
              <a:ext uri="{FF2B5EF4-FFF2-40B4-BE49-F238E27FC236}">
                <a16:creationId xmlns:a16="http://schemas.microsoft.com/office/drawing/2014/main" id="{5EAD319C-A81C-C8BC-0745-F0231EECEDD2}"/>
              </a:ext>
            </a:extLst>
          </p:cNvPr>
          <p:cNvSpPr/>
          <p:nvPr>
            <p:custDataLst>
              <p:tags r:id="rId27"/>
            </p:custDataLst>
          </p:nvPr>
        </p:nvSpPr>
        <p:spPr bwMode="auto">
          <a:xfrm>
            <a:off x="3776663" y="1736725"/>
            <a:ext cx="160338" cy="120650"/>
          </a:xfrm>
          <a:prstGeom prst="rect">
            <a:avLst/>
          </a:prstGeom>
          <a:solidFill>
            <a:schemeClr val="accent4"/>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1" name="Rectangle 520">
            <a:extLst>
              <a:ext uri="{FF2B5EF4-FFF2-40B4-BE49-F238E27FC236}">
                <a16:creationId xmlns:a16="http://schemas.microsoft.com/office/drawing/2014/main" id="{14BF2A95-460C-A924-B94F-14A2A765CADB}"/>
              </a:ext>
            </a:extLst>
          </p:cNvPr>
          <p:cNvSpPr/>
          <p:nvPr>
            <p:custDataLst>
              <p:tags r:id="rId28"/>
            </p:custDataLst>
          </p:nvPr>
        </p:nvSpPr>
        <p:spPr bwMode="auto">
          <a:xfrm>
            <a:off x="3776663" y="1924050"/>
            <a:ext cx="160338" cy="120650"/>
          </a:xfrm>
          <a:prstGeom prst="rect">
            <a:avLst/>
          </a:prstGeom>
          <a:solidFill>
            <a:schemeClr val="accent3"/>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2" name="Rectangle 521">
            <a:extLst>
              <a:ext uri="{FF2B5EF4-FFF2-40B4-BE49-F238E27FC236}">
                <a16:creationId xmlns:a16="http://schemas.microsoft.com/office/drawing/2014/main" id="{341EE1DB-51E5-4C95-78DC-5C6E7EBA440C}"/>
              </a:ext>
            </a:extLst>
          </p:cNvPr>
          <p:cNvSpPr/>
          <p:nvPr>
            <p:custDataLst>
              <p:tags r:id="rId29"/>
            </p:custDataLst>
          </p:nvPr>
        </p:nvSpPr>
        <p:spPr bwMode="auto">
          <a:xfrm>
            <a:off x="3776663" y="2111375"/>
            <a:ext cx="160338" cy="120650"/>
          </a:xfrm>
          <a:prstGeom prst="rect">
            <a:avLst/>
          </a:prstGeom>
          <a:solidFill>
            <a:schemeClr val="accent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3" name="Rectangle 522">
            <a:extLst>
              <a:ext uri="{FF2B5EF4-FFF2-40B4-BE49-F238E27FC236}">
                <a16:creationId xmlns:a16="http://schemas.microsoft.com/office/drawing/2014/main" id="{C021CEF1-E2F5-5CB3-A003-E8E50757E9AC}"/>
              </a:ext>
            </a:extLst>
          </p:cNvPr>
          <p:cNvSpPr/>
          <p:nvPr>
            <p:custDataLst>
              <p:tags r:id="rId30"/>
            </p:custDataLst>
          </p:nvPr>
        </p:nvSpPr>
        <p:spPr bwMode="auto">
          <a:xfrm>
            <a:off x="4505325" y="1736725"/>
            <a:ext cx="160338" cy="120650"/>
          </a:xfrm>
          <a:prstGeom prst="rect">
            <a:avLst/>
          </a:prstGeom>
          <a:solidFill>
            <a:srgbClr val="4C6C9C"/>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4" name="Rectangle 523">
            <a:extLst>
              <a:ext uri="{FF2B5EF4-FFF2-40B4-BE49-F238E27FC236}">
                <a16:creationId xmlns:a16="http://schemas.microsoft.com/office/drawing/2014/main" id="{B9AF5C1F-384E-2461-D2AC-365B48CB5FC2}"/>
              </a:ext>
            </a:extLst>
          </p:cNvPr>
          <p:cNvSpPr/>
          <p:nvPr>
            <p:custDataLst>
              <p:tags r:id="rId31"/>
            </p:custDataLst>
          </p:nvPr>
        </p:nvSpPr>
        <p:spPr bwMode="auto">
          <a:xfrm>
            <a:off x="2994025" y="1733550"/>
            <a:ext cx="458788"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3D7E55E8-8486-4C3F-AC6C-F82DBD48FA62}" type="datetime'''O''''''''''''rga''''''''n''''i''''''''''''''''''''c'''''''''">
              <a:rPr lang="en-US" altLang="en-US" sz="900" smtClean="0">
                <a:solidFill>
                  <a:schemeClr val="tx1"/>
                </a:solidFill>
              </a:rPr>
              <a:pPr>
                <a:spcBef>
                  <a:spcPct val="0"/>
                </a:spcBef>
                <a:spcAft>
                  <a:spcPct val="0"/>
                </a:spcAft>
              </a:pPr>
              <a:t>Organic</a:t>
            </a:fld>
            <a:endParaRPr lang="en-US" sz="900">
              <a:solidFill>
                <a:schemeClr val="tx1"/>
              </a:solidFill>
            </a:endParaRPr>
          </a:p>
        </p:txBody>
      </p:sp>
      <p:sp>
        <p:nvSpPr>
          <p:cNvPr id="525" name="Rectangle 524">
            <a:extLst>
              <a:ext uri="{FF2B5EF4-FFF2-40B4-BE49-F238E27FC236}">
                <a16:creationId xmlns:a16="http://schemas.microsoft.com/office/drawing/2014/main" id="{3DD1C632-E714-E1E0-0F20-16E9C4BA49D8}"/>
              </a:ext>
            </a:extLst>
          </p:cNvPr>
          <p:cNvSpPr/>
          <p:nvPr>
            <p:custDataLst>
              <p:tags r:id="rId32"/>
            </p:custDataLst>
          </p:nvPr>
        </p:nvSpPr>
        <p:spPr bwMode="auto">
          <a:xfrm>
            <a:off x="2994025" y="1920875"/>
            <a:ext cx="681038"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46ACDF2F-E31F-4D7F-8D64-E40D55500F51}" type="datetime'P''''''aid'''''''' ''''''S''''''e''a''''''''''''r''''''ch'">
              <a:rPr lang="en-US" altLang="en-US" sz="900" smtClean="0">
                <a:solidFill>
                  <a:schemeClr val="tx1"/>
                </a:solidFill>
              </a:rPr>
              <a:pPr>
                <a:spcBef>
                  <a:spcPct val="0"/>
                </a:spcBef>
                <a:spcAft>
                  <a:spcPct val="0"/>
                </a:spcAft>
              </a:pPr>
              <a:t>Paid Search</a:t>
            </a:fld>
            <a:endParaRPr lang="en-US" sz="900">
              <a:solidFill>
                <a:schemeClr val="tx1"/>
              </a:solidFill>
            </a:endParaRPr>
          </a:p>
        </p:txBody>
      </p:sp>
      <p:sp>
        <p:nvSpPr>
          <p:cNvPr id="526" name="Rectangle 525">
            <a:extLst>
              <a:ext uri="{FF2B5EF4-FFF2-40B4-BE49-F238E27FC236}">
                <a16:creationId xmlns:a16="http://schemas.microsoft.com/office/drawing/2014/main" id="{8365A930-0889-6784-6161-16C76E6DF878}"/>
              </a:ext>
            </a:extLst>
          </p:cNvPr>
          <p:cNvSpPr/>
          <p:nvPr>
            <p:custDataLst>
              <p:tags r:id="rId33"/>
            </p:custDataLst>
          </p:nvPr>
        </p:nvSpPr>
        <p:spPr bwMode="auto">
          <a:xfrm>
            <a:off x="2994025" y="2108200"/>
            <a:ext cx="34925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94A489AE-B47E-4448-A3C6-556DCB7FE818}" type="datetime'D''''''''''i''''''''''''''''''''re''c''''''''''''t'''''''''''">
              <a:rPr lang="en-US" altLang="en-US" sz="900" smtClean="0">
                <a:solidFill>
                  <a:schemeClr val="tx1"/>
                </a:solidFill>
              </a:rPr>
              <a:pPr>
                <a:spcBef>
                  <a:spcPct val="0"/>
                </a:spcBef>
                <a:spcAft>
                  <a:spcPct val="0"/>
                </a:spcAft>
              </a:pPr>
              <a:t>Direct</a:t>
            </a:fld>
            <a:endParaRPr lang="en-US" sz="900">
              <a:solidFill>
                <a:schemeClr val="tx1"/>
              </a:solidFill>
            </a:endParaRPr>
          </a:p>
        </p:txBody>
      </p:sp>
      <p:sp>
        <p:nvSpPr>
          <p:cNvPr id="527" name="Rectangle 526">
            <a:extLst>
              <a:ext uri="{FF2B5EF4-FFF2-40B4-BE49-F238E27FC236}">
                <a16:creationId xmlns:a16="http://schemas.microsoft.com/office/drawing/2014/main" id="{2B4D1FB9-149F-E537-6C04-B5B5CDEDCC2D}"/>
              </a:ext>
            </a:extLst>
          </p:cNvPr>
          <p:cNvSpPr/>
          <p:nvPr>
            <p:custDataLst>
              <p:tags r:id="rId34"/>
            </p:custDataLst>
          </p:nvPr>
        </p:nvSpPr>
        <p:spPr bwMode="auto">
          <a:xfrm>
            <a:off x="3987800" y="1733550"/>
            <a:ext cx="358775"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0ABE61E9-9B42-4258-BA3E-C3636E1CAA8E}" type="datetime'''''''''X''''''''''''fi''''n''''''''''''''it''y'''''''''">
              <a:rPr lang="en-US" altLang="en-US" sz="900" smtClean="0">
                <a:solidFill>
                  <a:schemeClr val="tx1"/>
                </a:solidFill>
              </a:rPr>
              <a:pPr>
                <a:spcBef>
                  <a:spcPct val="0"/>
                </a:spcBef>
                <a:spcAft>
                  <a:spcPct val="0"/>
                </a:spcAft>
              </a:pPr>
              <a:t>Xfinity</a:t>
            </a:fld>
            <a:endParaRPr lang="en-US" sz="900">
              <a:solidFill>
                <a:schemeClr val="tx1"/>
              </a:solidFill>
            </a:endParaRPr>
          </a:p>
        </p:txBody>
      </p:sp>
      <p:sp>
        <p:nvSpPr>
          <p:cNvPr id="528" name="Rectangle 527">
            <a:extLst>
              <a:ext uri="{FF2B5EF4-FFF2-40B4-BE49-F238E27FC236}">
                <a16:creationId xmlns:a16="http://schemas.microsoft.com/office/drawing/2014/main" id="{F5BBAB61-E3B4-FF8D-4090-86E9A69A853C}"/>
              </a:ext>
            </a:extLst>
          </p:cNvPr>
          <p:cNvSpPr/>
          <p:nvPr>
            <p:custDataLst>
              <p:tags r:id="rId35"/>
            </p:custDataLst>
          </p:nvPr>
        </p:nvSpPr>
        <p:spPr bwMode="auto">
          <a:xfrm>
            <a:off x="3987800" y="1920875"/>
            <a:ext cx="32385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DB8F945C-B58D-4038-9E47-29B693F98DA3}" type="datetime'''''''''''''''E''''ma''''''''''''''''''i''''''''''''''''l'">
              <a:rPr lang="en-US" altLang="en-US" sz="900" smtClean="0">
                <a:solidFill>
                  <a:schemeClr val="tx1"/>
                </a:solidFill>
              </a:rPr>
              <a:pPr>
                <a:spcBef>
                  <a:spcPct val="0"/>
                </a:spcBef>
                <a:spcAft>
                  <a:spcPct val="0"/>
                </a:spcAft>
              </a:pPr>
              <a:t>Email</a:t>
            </a:fld>
            <a:endParaRPr lang="en-US" sz="900">
              <a:solidFill>
                <a:schemeClr val="tx1"/>
              </a:solidFill>
            </a:endParaRPr>
          </a:p>
        </p:txBody>
      </p:sp>
      <p:sp>
        <p:nvSpPr>
          <p:cNvPr id="529" name="Rectangle 528">
            <a:extLst>
              <a:ext uri="{FF2B5EF4-FFF2-40B4-BE49-F238E27FC236}">
                <a16:creationId xmlns:a16="http://schemas.microsoft.com/office/drawing/2014/main" id="{17987D35-9624-AAB6-0D18-4A563EDB2207}"/>
              </a:ext>
            </a:extLst>
          </p:cNvPr>
          <p:cNvSpPr/>
          <p:nvPr>
            <p:custDataLst>
              <p:tags r:id="rId36"/>
            </p:custDataLst>
          </p:nvPr>
        </p:nvSpPr>
        <p:spPr bwMode="auto">
          <a:xfrm>
            <a:off x="3987800" y="2108200"/>
            <a:ext cx="415925"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C0114DB3-40B3-4AB8-B3FB-412F31CFA2CA}" type="datetime'''D''''i''''''''''''''''''''''''''''''''spl''''a''y'''''''">
              <a:rPr lang="en-US" altLang="en-US" sz="900" smtClean="0">
                <a:solidFill>
                  <a:schemeClr val="tx1"/>
                </a:solidFill>
              </a:rPr>
              <a:pPr>
                <a:spcBef>
                  <a:spcPct val="0"/>
                </a:spcBef>
                <a:spcAft>
                  <a:spcPct val="0"/>
                </a:spcAft>
              </a:pPr>
              <a:t>Display</a:t>
            </a:fld>
            <a:endParaRPr lang="en-US" sz="900">
              <a:solidFill>
                <a:schemeClr val="tx1"/>
              </a:solidFill>
            </a:endParaRPr>
          </a:p>
        </p:txBody>
      </p:sp>
      <p:sp>
        <p:nvSpPr>
          <p:cNvPr id="530" name="Rectangle 529">
            <a:extLst>
              <a:ext uri="{FF2B5EF4-FFF2-40B4-BE49-F238E27FC236}">
                <a16:creationId xmlns:a16="http://schemas.microsoft.com/office/drawing/2014/main" id="{01177061-AA97-7B3F-AEB6-EE7C9595066A}"/>
              </a:ext>
            </a:extLst>
          </p:cNvPr>
          <p:cNvSpPr/>
          <p:nvPr>
            <p:custDataLst>
              <p:tags r:id="rId37"/>
            </p:custDataLst>
          </p:nvPr>
        </p:nvSpPr>
        <p:spPr bwMode="auto">
          <a:xfrm>
            <a:off x="4716463" y="1733550"/>
            <a:ext cx="701675"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3CDF6CF6-5677-4F5C-A342-C39D32813A9F}" type="datetime'''O''th''''''''er'''' ''''''''T''''''''''act''ic'''''">
              <a:rPr lang="en-US" altLang="en-US" sz="900" smtClean="0">
                <a:solidFill>
                  <a:schemeClr val="tx1"/>
                </a:solidFill>
              </a:rPr>
              <a:pPr>
                <a:spcBef>
                  <a:spcPct val="0"/>
                </a:spcBef>
                <a:spcAft>
                  <a:spcPct val="0"/>
                </a:spcAft>
              </a:pPr>
              <a:t>Other Tactic</a:t>
            </a:fld>
            <a:endParaRPr lang="en-US" sz="900">
              <a:solidFill>
                <a:schemeClr val="tx1"/>
              </a:solidFill>
            </a:endParaRPr>
          </a:p>
        </p:txBody>
      </p:sp>
      <p:graphicFrame>
        <p:nvGraphicFramePr>
          <p:cNvPr id="4" name="Chart 3">
            <a:extLst>
              <a:ext uri="{FF2B5EF4-FFF2-40B4-BE49-F238E27FC236}">
                <a16:creationId xmlns:a16="http://schemas.microsoft.com/office/drawing/2014/main" id="{91DF204D-7EBE-9CDA-692A-7DBD2F5FDC80}"/>
              </a:ext>
            </a:extLst>
          </p:cNvPr>
          <p:cNvGraphicFramePr/>
          <p:nvPr>
            <p:custDataLst>
              <p:tags r:id="rId38"/>
            </p:custDataLst>
            <p:extLst>
              <p:ext uri="{D42A27DB-BD31-4B8C-83A1-F6EECF244321}">
                <p14:modId xmlns:p14="http://schemas.microsoft.com/office/powerpoint/2010/main" val="3985045163"/>
              </p:ext>
            </p:extLst>
          </p:nvPr>
        </p:nvGraphicFramePr>
        <p:xfrm>
          <a:off x="6235700" y="1604963"/>
          <a:ext cx="5572125" cy="4024312"/>
        </p:xfrm>
        <a:graphic>
          <a:graphicData uri="http://schemas.openxmlformats.org/drawingml/2006/chart">
            <c:chart xmlns:c="http://schemas.openxmlformats.org/drawingml/2006/chart" xmlns:r="http://schemas.openxmlformats.org/officeDocument/2006/relationships" r:id="rId97"/>
          </a:graphicData>
        </a:graphic>
      </p:graphicFrame>
      <p:cxnSp>
        <p:nvCxnSpPr>
          <p:cNvPr id="771" name="Straight Connector 770">
            <a:extLst>
              <a:ext uri="{FF2B5EF4-FFF2-40B4-BE49-F238E27FC236}">
                <a16:creationId xmlns:a16="http://schemas.microsoft.com/office/drawing/2014/main" id="{7BCC66C9-A449-39D9-2464-8ED6CABF863E}"/>
              </a:ext>
            </a:extLst>
          </p:cNvPr>
          <p:cNvCxnSpPr>
            <a:cxnSpLocks/>
          </p:cNvCxnSpPr>
          <p:nvPr>
            <p:custDataLst>
              <p:tags r:id="rId39"/>
            </p:custDataLst>
          </p:nvPr>
        </p:nvCxnSpPr>
        <p:spPr bwMode="auto">
          <a:xfrm flipV="1">
            <a:off x="7219950" y="4721225"/>
            <a:ext cx="0" cy="2381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87" name="Straight Connector 586">
            <a:extLst>
              <a:ext uri="{FF2B5EF4-FFF2-40B4-BE49-F238E27FC236}">
                <a16:creationId xmlns:a16="http://schemas.microsoft.com/office/drawing/2014/main" id="{53966034-D64E-F4B0-CF1A-68698A8100AA}"/>
              </a:ext>
            </a:extLst>
          </p:cNvPr>
          <p:cNvCxnSpPr>
            <a:cxnSpLocks/>
          </p:cNvCxnSpPr>
          <p:nvPr>
            <p:custDataLst>
              <p:tags r:id="rId40"/>
            </p:custDataLst>
          </p:nvPr>
        </p:nvCxnSpPr>
        <p:spPr bwMode="auto">
          <a:xfrm flipH="1" flipV="1">
            <a:off x="6369050" y="4497388"/>
            <a:ext cx="63500" cy="4921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64" name="Straight Connector 1063">
            <a:extLst>
              <a:ext uri="{FF2B5EF4-FFF2-40B4-BE49-F238E27FC236}">
                <a16:creationId xmlns:a16="http://schemas.microsoft.com/office/drawing/2014/main" id="{B581D30C-0AFB-3628-6B84-0129A9E79180}"/>
              </a:ext>
            </a:extLst>
          </p:cNvPr>
          <p:cNvCxnSpPr>
            <a:cxnSpLocks/>
          </p:cNvCxnSpPr>
          <p:nvPr>
            <p:custDataLst>
              <p:tags r:id="rId41"/>
            </p:custDataLst>
          </p:nvPr>
        </p:nvCxnSpPr>
        <p:spPr bwMode="auto">
          <a:xfrm flipV="1">
            <a:off x="8120063" y="4721225"/>
            <a:ext cx="0" cy="2381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92" name="Straight Connector 591">
            <a:extLst>
              <a:ext uri="{FF2B5EF4-FFF2-40B4-BE49-F238E27FC236}">
                <a16:creationId xmlns:a16="http://schemas.microsoft.com/office/drawing/2014/main" id="{1817C41F-EE18-17D6-8DD6-25BB50BC8DF2}"/>
              </a:ext>
            </a:extLst>
          </p:cNvPr>
          <p:cNvCxnSpPr/>
          <p:nvPr>
            <p:custDataLst>
              <p:tags r:id="rId42"/>
            </p:custDataLst>
          </p:nvPr>
        </p:nvCxnSpPr>
        <p:spPr bwMode="auto">
          <a:xfrm>
            <a:off x="9021763" y="4567238"/>
            <a:ext cx="0" cy="2381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93" name="Straight Connector 592">
            <a:extLst>
              <a:ext uri="{FF2B5EF4-FFF2-40B4-BE49-F238E27FC236}">
                <a16:creationId xmlns:a16="http://schemas.microsoft.com/office/drawing/2014/main" id="{0ADECE05-3E61-4742-E9FB-938770ADF2AA}"/>
              </a:ext>
            </a:extLst>
          </p:cNvPr>
          <p:cNvCxnSpPr/>
          <p:nvPr>
            <p:custDataLst>
              <p:tags r:id="rId43"/>
            </p:custDataLst>
          </p:nvPr>
        </p:nvCxnSpPr>
        <p:spPr bwMode="auto">
          <a:xfrm>
            <a:off x="9923463" y="4567238"/>
            <a:ext cx="0" cy="2381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3" name="Straight Connector 622">
            <a:extLst>
              <a:ext uri="{FF2B5EF4-FFF2-40B4-BE49-F238E27FC236}">
                <a16:creationId xmlns:a16="http://schemas.microsoft.com/office/drawing/2014/main" id="{F9590784-BB0D-86CC-5C46-313302B35EC0}"/>
              </a:ext>
            </a:extLst>
          </p:cNvPr>
          <p:cNvCxnSpPr/>
          <p:nvPr>
            <p:custDataLst>
              <p:tags r:id="rId44"/>
            </p:custDataLst>
          </p:nvPr>
        </p:nvCxnSpPr>
        <p:spPr bwMode="auto">
          <a:xfrm flipV="1">
            <a:off x="11599863" y="4595813"/>
            <a:ext cx="73025" cy="5080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07" name="Rectangle 806">
            <a:extLst>
              <a:ext uri="{FF2B5EF4-FFF2-40B4-BE49-F238E27FC236}">
                <a16:creationId xmlns:a16="http://schemas.microsoft.com/office/drawing/2014/main" id="{2DE0B812-A7E5-144F-4324-3165D6523D66}"/>
              </a:ext>
            </a:extLst>
          </p:cNvPr>
          <p:cNvSpPr/>
          <p:nvPr>
            <p:custDataLst>
              <p:tags r:id="rId45"/>
            </p:custDataLst>
          </p:nvPr>
        </p:nvSpPr>
        <p:spPr bwMode="gray">
          <a:xfrm>
            <a:off x="7072313" y="4332288"/>
            <a:ext cx="29686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6BBF308A-DACD-4A24-AB1D-3C607415D1D2}" type="datetime'''''1.0''''''''''''''''''''''''''%'">
              <a:rPr lang="en-US" altLang="en-US" sz="1000" smtClean="0">
                <a:solidFill>
                  <a:schemeClr val="tx1"/>
                </a:solidFill>
                <a:effectLst/>
              </a:rPr>
              <a:pPr algn="ctr">
                <a:lnSpc>
                  <a:spcPct val="90000"/>
                </a:lnSpc>
                <a:spcBef>
                  <a:spcPct val="0"/>
                </a:spcBef>
                <a:spcAft>
                  <a:spcPct val="0"/>
                </a:spcAft>
              </a:pPr>
              <a:t>1.0%</a:t>
            </a:fld>
            <a:endParaRPr lang="en-US" sz="1000">
              <a:solidFill>
                <a:schemeClr val="tx1"/>
              </a:solidFill>
            </a:endParaRPr>
          </a:p>
        </p:txBody>
      </p:sp>
      <p:sp useBgFill="1">
        <p:nvSpPr>
          <p:cNvPr id="789" name="Rectangle 788">
            <a:extLst>
              <a:ext uri="{FF2B5EF4-FFF2-40B4-BE49-F238E27FC236}">
                <a16:creationId xmlns:a16="http://schemas.microsoft.com/office/drawing/2014/main" id="{89859673-08A5-5EAE-300E-A7BE05E5C57B}"/>
              </a:ext>
            </a:extLst>
          </p:cNvPr>
          <p:cNvSpPr/>
          <p:nvPr>
            <p:custDataLst>
              <p:tags r:id="rId46"/>
            </p:custDataLst>
          </p:nvPr>
        </p:nvSpPr>
        <p:spPr bwMode="gray">
          <a:xfrm>
            <a:off x="7065963" y="3044825"/>
            <a:ext cx="309563" cy="136525"/>
          </a:xfrm>
          <a:prstGeom prst="rect">
            <a:avLst/>
          </a:pr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536A3F1A-0C09-4620-9CD5-29CC62A10C62}" type="datetime'''''''''''''''''''''''''''''''2''.''''''3''''''''%'''''''''">
              <a:rPr lang="en-US" altLang="en-US" sz="1000" smtClean="0">
                <a:solidFill>
                  <a:schemeClr val="tx1"/>
                </a:solidFill>
              </a:rPr>
              <a:pPr/>
              <a:t>2.3%</a:t>
            </a:fld>
            <a:endParaRPr lang="en-US" sz="1000">
              <a:solidFill>
                <a:schemeClr val="tx1"/>
              </a:solidFill>
            </a:endParaRPr>
          </a:p>
        </p:txBody>
      </p:sp>
      <p:sp>
        <p:nvSpPr>
          <p:cNvPr id="762" name="Rectangle 761">
            <a:extLst>
              <a:ext uri="{FF2B5EF4-FFF2-40B4-BE49-F238E27FC236}">
                <a16:creationId xmlns:a16="http://schemas.microsoft.com/office/drawing/2014/main" id="{C39BB20A-F7D8-3F8B-5477-8EB13EA13FDA}"/>
              </a:ext>
            </a:extLst>
          </p:cNvPr>
          <p:cNvSpPr/>
          <p:nvPr>
            <p:custDataLst>
              <p:tags r:id="rId47"/>
            </p:custDataLst>
          </p:nvPr>
        </p:nvSpPr>
        <p:spPr bwMode="gray">
          <a:xfrm>
            <a:off x="7015163" y="4943475"/>
            <a:ext cx="409575" cy="136525"/>
          </a:xfrm>
          <a:prstGeom prst="rect">
            <a:avLst/>
          </a:prstGeom>
          <a:no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algn="ctr">
              <a:lnSpc>
                <a:spcPct val="90000"/>
              </a:lnSpc>
              <a:spcBef>
                <a:spcPct val="0"/>
              </a:spcBef>
              <a:spcAft>
                <a:spcPct val="0"/>
              </a:spcAft>
            </a:pPr>
            <a:fld id="{A0CA0D0F-B854-4D4B-BA8C-CD03A267A9E7}" type="datetime'''''''0.''''''7''''''''''''''0''''''''''''''''''%'''''">
              <a:rPr lang="en-US" altLang="en-US" sz="1000" smtClean="0">
                <a:solidFill>
                  <a:schemeClr val="tx1"/>
                </a:solidFill>
              </a:rPr>
              <a:pPr/>
              <a:t>0.70%</a:t>
            </a:fld>
            <a:endParaRPr lang="en-US" sz="1000">
              <a:solidFill>
                <a:schemeClr val="tx1"/>
              </a:solidFill>
            </a:endParaRPr>
          </a:p>
        </p:txBody>
      </p:sp>
      <p:sp useBgFill="1">
        <p:nvSpPr>
          <p:cNvPr id="763" name="Rectangle 762">
            <a:extLst>
              <a:ext uri="{FF2B5EF4-FFF2-40B4-BE49-F238E27FC236}">
                <a16:creationId xmlns:a16="http://schemas.microsoft.com/office/drawing/2014/main" id="{251166A6-91A6-3F56-992F-DF8A727271DA}"/>
              </a:ext>
            </a:extLst>
          </p:cNvPr>
          <p:cNvSpPr/>
          <p:nvPr>
            <p:custDataLst>
              <p:tags r:id="rId48"/>
            </p:custDataLst>
          </p:nvPr>
        </p:nvSpPr>
        <p:spPr bwMode="gray">
          <a:xfrm>
            <a:off x="7056438" y="4745038"/>
            <a:ext cx="328613" cy="136525"/>
          </a:xfrm>
          <a:prstGeom prst="rect">
            <a:avLst/>
          </a:pr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algn="ctr">
              <a:lnSpc>
                <a:spcPct val="90000"/>
              </a:lnSpc>
              <a:spcBef>
                <a:spcPct val="0"/>
              </a:spcBef>
              <a:spcAft>
                <a:spcPct val="0"/>
              </a:spcAft>
            </a:pPr>
            <a:fld id="{1BEC217E-3872-4515-9262-B7CAA99C9C11}" type="datetime'''''''''''''''''''''''''''''''''''''''''0''''''''''.''9%'''">
              <a:rPr lang="en-US" altLang="en-US" sz="1000" smtClean="0">
                <a:solidFill>
                  <a:schemeClr val="tx1"/>
                </a:solidFill>
              </a:rPr>
              <a:pPr/>
              <a:t>0.9%</a:t>
            </a:fld>
            <a:endParaRPr lang="en-US" sz="1000" dirty="0">
              <a:solidFill>
                <a:schemeClr val="tx1"/>
              </a:solidFill>
            </a:endParaRPr>
          </a:p>
        </p:txBody>
      </p:sp>
      <p:sp>
        <p:nvSpPr>
          <p:cNvPr id="1056" name="Text Placeholder 2">
            <a:extLst>
              <a:ext uri="{FF2B5EF4-FFF2-40B4-BE49-F238E27FC236}">
                <a16:creationId xmlns:a16="http://schemas.microsoft.com/office/drawing/2014/main" id="{C282B2B3-85AF-1A15-C9B7-91EC74345FB0}"/>
              </a:ext>
            </a:extLst>
          </p:cNvPr>
          <p:cNvSpPr>
            <a:spLocks noGrp="1" noChangeArrowheads="1"/>
          </p:cNvSpPr>
          <p:nvPr>
            <p:custDataLst>
              <p:tags r:id="rId49"/>
            </p:custDataLst>
          </p:nvPr>
        </p:nvSpPr>
        <p:spPr bwMode="auto">
          <a:xfrm>
            <a:off x="6180138" y="5589588"/>
            <a:ext cx="276225"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1E0D8791-A01B-411E-93E6-34DA102D9DE4}" type="datetime'''M''''''''''''''''''''''''a''''''''y'''''''''''''''''''''''">
              <a:rPr lang="en-US" altLang="en-US" sz="1000" smtClean="0"/>
              <a:pPr/>
              <a:t>May</a:t>
            </a:fld>
            <a:endParaRPr lang="en-US" altLang="en-US" sz="1000"/>
          </a:p>
        </p:txBody>
      </p:sp>
      <p:sp>
        <p:nvSpPr>
          <p:cNvPr id="539" name="Text Placeholder 2">
            <a:extLst>
              <a:ext uri="{FF2B5EF4-FFF2-40B4-BE49-F238E27FC236}">
                <a16:creationId xmlns:a16="http://schemas.microsoft.com/office/drawing/2014/main" id="{66B815DC-4AD3-5453-5017-C2E67447C4E1}"/>
              </a:ext>
            </a:extLst>
          </p:cNvPr>
          <p:cNvSpPr>
            <a:spLocks noGrp="1" noChangeArrowheads="1"/>
          </p:cNvSpPr>
          <p:nvPr>
            <p:custDataLst>
              <p:tags r:id="rId50"/>
            </p:custDataLst>
          </p:nvPr>
        </p:nvSpPr>
        <p:spPr bwMode="auto">
          <a:xfrm>
            <a:off x="7088188" y="5589588"/>
            <a:ext cx="265113"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BD9ECB2D-075C-4EF8-9974-F7C92F61470D}" type="datetime'''D''''''''''''e''''''c'''''''''''''''''''''''''''''''">
              <a:rPr lang="en-US" altLang="en-US" sz="1000" smtClean="0"/>
              <a:pPr/>
              <a:t>Dec</a:t>
            </a:fld>
            <a:endParaRPr lang="en-US" altLang="en-US" sz="1000"/>
          </a:p>
        </p:txBody>
      </p:sp>
      <p:sp>
        <p:nvSpPr>
          <p:cNvPr id="808" name="Rectangle 807">
            <a:extLst>
              <a:ext uri="{FF2B5EF4-FFF2-40B4-BE49-F238E27FC236}">
                <a16:creationId xmlns:a16="http://schemas.microsoft.com/office/drawing/2014/main" id="{91D45F25-28DE-A2EF-151C-FEC7B5BCDDFA}"/>
              </a:ext>
            </a:extLst>
          </p:cNvPr>
          <p:cNvSpPr/>
          <p:nvPr>
            <p:custDataLst>
              <p:tags r:id="rId51"/>
            </p:custDataLst>
          </p:nvPr>
        </p:nvSpPr>
        <p:spPr bwMode="gray">
          <a:xfrm>
            <a:off x="7972425" y="4332288"/>
            <a:ext cx="29686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C0E3854C-786C-4E35-96EE-0CB48D74CD2C}" type="datetime'''''1.''0''''''''''''''''''''''''''''''''''%'">
              <a:rPr lang="en-US" altLang="en-US" sz="1000" smtClean="0">
                <a:solidFill>
                  <a:schemeClr val="tx1"/>
                </a:solidFill>
              </a:rPr>
              <a:pPr/>
              <a:t>1.0%</a:t>
            </a:fld>
            <a:endParaRPr lang="en-US" sz="1000">
              <a:solidFill>
                <a:schemeClr val="tx1"/>
              </a:solidFill>
            </a:endParaRPr>
          </a:p>
        </p:txBody>
      </p:sp>
      <p:sp>
        <p:nvSpPr>
          <p:cNvPr id="790" name="Rectangle 789">
            <a:extLst>
              <a:ext uri="{FF2B5EF4-FFF2-40B4-BE49-F238E27FC236}">
                <a16:creationId xmlns:a16="http://schemas.microsoft.com/office/drawing/2014/main" id="{09B26E88-1315-AF30-FBB4-9A6764BA1E01}"/>
              </a:ext>
            </a:extLst>
          </p:cNvPr>
          <p:cNvSpPr/>
          <p:nvPr>
            <p:custDataLst>
              <p:tags r:id="rId52"/>
            </p:custDataLst>
          </p:nvPr>
        </p:nvSpPr>
        <p:spPr bwMode="gray">
          <a:xfrm>
            <a:off x="7966075" y="3144838"/>
            <a:ext cx="30956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08445F6C-4F3E-41BF-9DEB-ECA5EE9A76F9}" type="datetime'''''''2''.''''''''''2''''''''''''''''''%'''''''''''''''''''''">
              <a:rPr lang="en-US" altLang="en-US" sz="1000" smtClean="0">
                <a:solidFill>
                  <a:schemeClr val="tx1"/>
                </a:solidFill>
              </a:rPr>
              <a:pPr/>
              <a:t>2.2%</a:t>
            </a:fld>
            <a:endParaRPr lang="en-US" sz="1000">
              <a:solidFill>
                <a:schemeClr val="tx1"/>
              </a:solidFill>
            </a:endParaRPr>
          </a:p>
        </p:txBody>
      </p:sp>
      <p:sp>
        <p:nvSpPr>
          <p:cNvPr id="764" name="Rectangle 763">
            <a:extLst>
              <a:ext uri="{FF2B5EF4-FFF2-40B4-BE49-F238E27FC236}">
                <a16:creationId xmlns:a16="http://schemas.microsoft.com/office/drawing/2014/main" id="{11BA9F2B-9CCD-F93F-CEE5-A9F76E64C4FA}"/>
              </a:ext>
            </a:extLst>
          </p:cNvPr>
          <p:cNvSpPr/>
          <p:nvPr>
            <p:custDataLst>
              <p:tags r:id="rId53"/>
            </p:custDataLst>
          </p:nvPr>
        </p:nvSpPr>
        <p:spPr bwMode="gray">
          <a:xfrm>
            <a:off x="7915275" y="4943475"/>
            <a:ext cx="409575" cy="136525"/>
          </a:xfrm>
          <a:prstGeom prst="rect">
            <a:avLst/>
          </a:prstGeom>
          <a:no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algn="ctr">
              <a:lnSpc>
                <a:spcPct val="90000"/>
              </a:lnSpc>
              <a:spcBef>
                <a:spcPct val="0"/>
              </a:spcBef>
              <a:spcAft>
                <a:spcPct val="0"/>
              </a:spcAft>
            </a:pPr>
            <a:fld id="{944431B9-1037-45FF-83F0-F9EA9053704E}" type="datetime'''''''''''''''''''''''0''''''''.''''''''70''%'">
              <a:rPr lang="en-US" altLang="en-US" sz="1000" smtClean="0">
                <a:solidFill>
                  <a:schemeClr val="tx1"/>
                </a:solidFill>
              </a:rPr>
              <a:pPr/>
              <a:t>0.70%</a:t>
            </a:fld>
            <a:endParaRPr lang="en-US" sz="1000">
              <a:solidFill>
                <a:schemeClr val="tx1"/>
              </a:solidFill>
            </a:endParaRPr>
          </a:p>
        </p:txBody>
      </p:sp>
      <p:sp useBgFill="1">
        <p:nvSpPr>
          <p:cNvPr id="765" name="Rectangle 764">
            <a:extLst>
              <a:ext uri="{FF2B5EF4-FFF2-40B4-BE49-F238E27FC236}">
                <a16:creationId xmlns:a16="http://schemas.microsoft.com/office/drawing/2014/main" id="{34F32018-D05E-C512-098A-BC6B6F6715B5}"/>
              </a:ext>
            </a:extLst>
          </p:cNvPr>
          <p:cNvSpPr/>
          <p:nvPr>
            <p:custDataLst>
              <p:tags r:id="rId54"/>
            </p:custDataLst>
          </p:nvPr>
        </p:nvSpPr>
        <p:spPr bwMode="gray">
          <a:xfrm>
            <a:off x="7956550" y="4745038"/>
            <a:ext cx="328613" cy="136525"/>
          </a:xfrm>
          <a:prstGeom prst="rect">
            <a:avLst/>
          </a:pr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algn="ctr">
              <a:lnSpc>
                <a:spcPct val="90000"/>
              </a:lnSpc>
              <a:spcBef>
                <a:spcPct val="0"/>
              </a:spcBef>
              <a:spcAft>
                <a:spcPct val="0"/>
              </a:spcAft>
            </a:pPr>
            <a:fld id="{B5117DA5-8BA0-42F1-84E0-F6742AECCFD6}" type="datetime'''''''''''''''0.''''''''''''''''''''''''9''''''%'''''''''">
              <a:rPr lang="en-US" altLang="en-US" sz="1000" smtClean="0">
                <a:solidFill>
                  <a:schemeClr val="tx1"/>
                </a:solidFill>
              </a:rPr>
              <a:pPr/>
              <a:t>0.9%</a:t>
            </a:fld>
            <a:endParaRPr lang="en-US" sz="1000" dirty="0">
              <a:solidFill>
                <a:schemeClr val="tx1"/>
              </a:solidFill>
            </a:endParaRPr>
          </a:p>
        </p:txBody>
      </p:sp>
      <p:sp>
        <p:nvSpPr>
          <p:cNvPr id="541" name="Text Placeholder 2">
            <a:extLst>
              <a:ext uri="{FF2B5EF4-FFF2-40B4-BE49-F238E27FC236}">
                <a16:creationId xmlns:a16="http://schemas.microsoft.com/office/drawing/2014/main" id="{676D1E91-5D50-6316-E74D-6B31CC43A164}"/>
              </a:ext>
            </a:extLst>
          </p:cNvPr>
          <p:cNvSpPr>
            <a:spLocks noGrp="1" noChangeArrowheads="1"/>
          </p:cNvSpPr>
          <p:nvPr>
            <p:custDataLst>
              <p:tags r:id="rId55"/>
            </p:custDataLst>
          </p:nvPr>
        </p:nvSpPr>
        <p:spPr bwMode="auto">
          <a:xfrm>
            <a:off x="7910513" y="5589588"/>
            <a:ext cx="419100"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6D90078B-BDDC-4E10-B963-F049136CEC55}" type="datetime'''''J''''a''''''n''’''2''''''''''''''''''''''''4'''">
              <a:rPr lang="en-US" altLang="en-US" sz="1000" smtClean="0"/>
              <a:pPr/>
              <a:t>Jan’24</a:t>
            </a:fld>
            <a:endParaRPr lang="en-US" altLang="en-US" sz="1000"/>
          </a:p>
        </p:txBody>
      </p:sp>
      <p:sp>
        <p:nvSpPr>
          <p:cNvPr id="809" name="Rectangle 808">
            <a:extLst>
              <a:ext uri="{FF2B5EF4-FFF2-40B4-BE49-F238E27FC236}">
                <a16:creationId xmlns:a16="http://schemas.microsoft.com/office/drawing/2014/main" id="{007521BC-FDDE-F85D-B073-02739CF330BF}"/>
              </a:ext>
            </a:extLst>
          </p:cNvPr>
          <p:cNvSpPr/>
          <p:nvPr>
            <p:custDataLst>
              <p:tags r:id="rId56"/>
            </p:custDataLst>
          </p:nvPr>
        </p:nvSpPr>
        <p:spPr bwMode="gray">
          <a:xfrm>
            <a:off x="8880475" y="4133850"/>
            <a:ext cx="28416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C8EF2D92-E334-4E3E-B435-2D80F6C80AAD}" type="datetime'''1''.''''''''''''2''''''''''''''''%'''''''''''''''">
              <a:rPr lang="en-US" altLang="en-US" sz="1000" smtClean="0">
                <a:solidFill>
                  <a:schemeClr val="tx1"/>
                </a:solidFill>
              </a:rPr>
              <a:pPr/>
              <a:t>1.2%</a:t>
            </a:fld>
            <a:endParaRPr lang="en-US" sz="1000">
              <a:solidFill>
                <a:schemeClr val="tx1"/>
              </a:solidFill>
            </a:endParaRPr>
          </a:p>
        </p:txBody>
      </p:sp>
      <p:sp>
        <p:nvSpPr>
          <p:cNvPr id="791" name="Rectangle 790">
            <a:extLst>
              <a:ext uri="{FF2B5EF4-FFF2-40B4-BE49-F238E27FC236}">
                <a16:creationId xmlns:a16="http://schemas.microsoft.com/office/drawing/2014/main" id="{7543ACA5-4DC9-86D3-C455-1255FDC49660}"/>
              </a:ext>
            </a:extLst>
          </p:cNvPr>
          <p:cNvSpPr/>
          <p:nvPr>
            <p:custDataLst>
              <p:tags r:id="rId57"/>
            </p:custDataLst>
          </p:nvPr>
        </p:nvSpPr>
        <p:spPr bwMode="gray">
          <a:xfrm>
            <a:off x="8867775" y="3144838"/>
            <a:ext cx="30956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A6AF058A-DCA2-40B4-B25D-5A985E69207E}" type="datetime'2''''''''.''''''''2''''''''''''''''''''''''''''''%'''">
              <a:rPr lang="en-US" altLang="en-US" sz="1000" smtClean="0">
                <a:solidFill>
                  <a:schemeClr val="tx1"/>
                </a:solidFill>
              </a:rPr>
              <a:pPr/>
              <a:t>2.2%</a:t>
            </a:fld>
            <a:endParaRPr lang="en-US" sz="1000" dirty="0">
              <a:solidFill>
                <a:schemeClr val="tx1"/>
              </a:solidFill>
            </a:endParaRPr>
          </a:p>
        </p:txBody>
      </p:sp>
      <p:sp>
        <p:nvSpPr>
          <p:cNvPr id="810" name="Rectangle 809">
            <a:extLst>
              <a:ext uri="{FF2B5EF4-FFF2-40B4-BE49-F238E27FC236}">
                <a16:creationId xmlns:a16="http://schemas.microsoft.com/office/drawing/2014/main" id="{2C3A368C-747F-C508-7855-2B6E381610F4}"/>
              </a:ext>
            </a:extLst>
          </p:cNvPr>
          <p:cNvSpPr/>
          <p:nvPr>
            <p:custDataLst>
              <p:tags r:id="rId58"/>
            </p:custDataLst>
          </p:nvPr>
        </p:nvSpPr>
        <p:spPr bwMode="gray">
          <a:xfrm>
            <a:off x="8815388" y="4745038"/>
            <a:ext cx="41275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algn="ctr">
              <a:lnSpc>
                <a:spcPct val="90000"/>
              </a:lnSpc>
              <a:spcBef>
                <a:spcPct val="0"/>
              </a:spcBef>
              <a:spcAft>
                <a:spcPct val="0"/>
              </a:spcAft>
            </a:pPr>
            <a:fld id="{FB27156C-7F0F-4336-A022-F5B0DC59A6FF}" type="datetime'''''''0''''''''.''9''''''''''''''''0''''''''%'''''''''''">
              <a:rPr lang="en-US" altLang="en-US" sz="1000" smtClean="0">
                <a:solidFill>
                  <a:schemeClr val="tx1"/>
                </a:solidFill>
              </a:rPr>
              <a:pPr/>
              <a:t>0.90%</a:t>
            </a:fld>
            <a:endParaRPr lang="en-US" sz="1000">
              <a:solidFill>
                <a:schemeClr val="tx1"/>
              </a:solidFill>
            </a:endParaRPr>
          </a:p>
        </p:txBody>
      </p:sp>
      <p:sp>
        <p:nvSpPr>
          <p:cNvPr id="779" name="Rectangle 778">
            <a:extLst>
              <a:ext uri="{FF2B5EF4-FFF2-40B4-BE49-F238E27FC236}">
                <a16:creationId xmlns:a16="http://schemas.microsoft.com/office/drawing/2014/main" id="{778D4029-E5CA-1BF0-839D-9E6C626C88D5}"/>
              </a:ext>
            </a:extLst>
          </p:cNvPr>
          <p:cNvSpPr/>
          <p:nvPr>
            <p:custDataLst>
              <p:tags r:id="rId59"/>
            </p:custDataLst>
          </p:nvPr>
        </p:nvSpPr>
        <p:spPr bwMode="gray">
          <a:xfrm>
            <a:off x="8858250" y="4430713"/>
            <a:ext cx="328613" cy="136525"/>
          </a:xfrm>
          <a:prstGeom prst="rect">
            <a:avLst/>
          </a:prstGeom>
          <a:no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2BC521C3-EB28-4A55-9131-8BE12D09B6F8}" type="datetime'0.''''''''''''''9''''''''''''''''''''''''''''''''%'''''''''">
              <a:rPr lang="en-US" altLang="en-US" sz="1000" smtClean="0">
                <a:solidFill>
                  <a:schemeClr val="tx1"/>
                </a:solidFill>
              </a:rPr>
              <a:pPr algn="ctr">
                <a:lnSpc>
                  <a:spcPct val="90000"/>
                </a:lnSpc>
                <a:spcBef>
                  <a:spcPct val="0"/>
                </a:spcBef>
                <a:spcAft>
                  <a:spcPct val="0"/>
                </a:spcAft>
              </a:pPr>
              <a:t>0.9%</a:t>
            </a:fld>
            <a:endParaRPr lang="en-US" sz="1000" dirty="0">
              <a:solidFill>
                <a:schemeClr val="tx1"/>
              </a:solidFill>
            </a:endParaRPr>
          </a:p>
        </p:txBody>
      </p:sp>
      <p:sp>
        <p:nvSpPr>
          <p:cNvPr id="1066" name="Rectangle 1065">
            <a:extLst>
              <a:ext uri="{FF2B5EF4-FFF2-40B4-BE49-F238E27FC236}">
                <a16:creationId xmlns:a16="http://schemas.microsoft.com/office/drawing/2014/main" id="{93B55179-4FD2-6D0D-C220-EC760DF1B614}"/>
              </a:ext>
            </a:extLst>
          </p:cNvPr>
          <p:cNvSpPr/>
          <p:nvPr>
            <p:custDataLst>
              <p:tags r:id="rId60"/>
            </p:custDataLst>
          </p:nvPr>
        </p:nvSpPr>
        <p:spPr bwMode="gray">
          <a:xfrm>
            <a:off x="6350000" y="2254250"/>
            <a:ext cx="28416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5107766B-7ACC-4687-9C0F-4557417D4E0E}" type="datetime'''''''''''3''''''''''''''''''.''1''''%'''''''''''''''''">
              <a:rPr lang="en-US" altLang="en-US" sz="1000" smtClean="0">
                <a:solidFill>
                  <a:schemeClr val="tx1"/>
                </a:solidFill>
              </a:rPr>
              <a:pPr/>
              <a:t>3.1%</a:t>
            </a:fld>
            <a:endParaRPr lang="en-US" sz="1000">
              <a:solidFill>
                <a:schemeClr val="tx1"/>
              </a:solidFill>
            </a:endParaRPr>
          </a:p>
        </p:txBody>
      </p:sp>
      <p:sp>
        <p:nvSpPr>
          <p:cNvPr id="543" name="Text Placeholder 2">
            <a:extLst>
              <a:ext uri="{FF2B5EF4-FFF2-40B4-BE49-F238E27FC236}">
                <a16:creationId xmlns:a16="http://schemas.microsoft.com/office/drawing/2014/main" id="{F167F872-A99B-F57D-9CF3-C63E002080CB}"/>
              </a:ext>
            </a:extLst>
          </p:cNvPr>
          <p:cNvSpPr>
            <a:spLocks noGrp="1" noChangeArrowheads="1"/>
          </p:cNvSpPr>
          <p:nvPr>
            <p:custDataLst>
              <p:tags r:id="rId61"/>
            </p:custDataLst>
          </p:nvPr>
        </p:nvSpPr>
        <p:spPr bwMode="auto">
          <a:xfrm>
            <a:off x="8802688" y="5589588"/>
            <a:ext cx="438150"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A47FAFD7-33B6-41CA-9775-61D7087FFAEA}" type="datetime'''''''''''''''F''''e''''b''’24'''''''''''''''''''''''">
              <a:rPr lang="en-US" altLang="en-US" sz="1000" smtClean="0"/>
              <a:pPr/>
              <a:t>Feb’24</a:t>
            </a:fld>
            <a:endParaRPr lang="en-US" altLang="en-US" sz="1000"/>
          </a:p>
        </p:txBody>
      </p:sp>
      <p:sp>
        <p:nvSpPr>
          <p:cNvPr id="811" name="Rectangle 810">
            <a:extLst>
              <a:ext uri="{FF2B5EF4-FFF2-40B4-BE49-F238E27FC236}">
                <a16:creationId xmlns:a16="http://schemas.microsoft.com/office/drawing/2014/main" id="{42D858A4-8A21-6372-8D32-B875C332FD0B}"/>
              </a:ext>
            </a:extLst>
          </p:cNvPr>
          <p:cNvSpPr/>
          <p:nvPr>
            <p:custDataLst>
              <p:tags r:id="rId62"/>
            </p:custDataLst>
          </p:nvPr>
        </p:nvSpPr>
        <p:spPr bwMode="gray">
          <a:xfrm>
            <a:off x="9782175" y="4133850"/>
            <a:ext cx="28416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ED38AC26-8448-411A-BF33-5C9DA9E3CD2C}" type="datetime'''''''''''1''''''.2''''''''''%'''''''''''''''''''''''''">
              <a:rPr lang="en-US" altLang="en-US" sz="1000" smtClean="0">
                <a:solidFill>
                  <a:schemeClr val="tx1"/>
                </a:solidFill>
              </a:rPr>
              <a:pPr/>
              <a:t>1.2%</a:t>
            </a:fld>
            <a:endParaRPr lang="en-US" sz="1000">
              <a:solidFill>
                <a:schemeClr val="tx1"/>
              </a:solidFill>
            </a:endParaRPr>
          </a:p>
        </p:txBody>
      </p:sp>
      <p:sp>
        <p:nvSpPr>
          <p:cNvPr id="792" name="Rectangle 791">
            <a:extLst>
              <a:ext uri="{FF2B5EF4-FFF2-40B4-BE49-F238E27FC236}">
                <a16:creationId xmlns:a16="http://schemas.microsoft.com/office/drawing/2014/main" id="{D23E4EBA-0299-3F48-2EC4-8BE1A65B621E}"/>
              </a:ext>
            </a:extLst>
          </p:cNvPr>
          <p:cNvSpPr/>
          <p:nvPr>
            <p:custDataLst>
              <p:tags r:id="rId63"/>
            </p:custDataLst>
          </p:nvPr>
        </p:nvSpPr>
        <p:spPr bwMode="gray">
          <a:xfrm>
            <a:off x="9769475" y="3144838"/>
            <a:ext cx="30956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AD91A49B-70BE-406C-958C-C92095770C1D}" type="datetime'''''''''2''''''''''''''''''''''''''''''.2''%'''''''''''''">
              <a:rPr lang="en-US" altLang="en-US" sz="1000" smtClean="0">
                <a:solidFill>
                  <a:schemeClr val="tx1"/>
                </a:solidFill>
              </a:rPr>
              <a:pPr/>
              <a:t>2.2%</a:t>
            </a:fld>
            <a:endParaRPr lang="en-US" sz="1000">
              <a:solidFill>
                <a:schemeClr val="tx1"/>
              </a:solidFill>
            </a:endParaRPr>
          </a:p>
        </p:txBody>
      </p:sp>
      <p:sp>
        <p:nvSpPr>
          <p:cNvPr id="812" name="Rectangle 811">
            <a:extLst>
              <a:ext uri="{FF2B5EF4-FFF2-40B4-BE49-F238E27FC236}">
                <a16:creationId xmlns:a16="http://schemas.microsoft.com/office/drawing/2014/main" id="{ED7730ED-D3BF-C225-246C-B010CB961F71}"/>
              </a:ext>
            </a:extLst>
          </p:cNvPr>
          <p:cNvSpPr/>
          <p:nvPr>
            <p:custDataLst>
              <p:tags r:id="rId64"/>
            </p:custDataLst>
          </p:nvPr>
        </p:nvSpPr>
        <p:spPr bwMode="gray">
          <a:xfrm>
            <a:off x="9717088" y="4745038"/>
            <a:ext cx="41275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algn="ctr">
              <a:lnSpc>
                <a:spcPct val="90000"/>
              </a:lnSpc>
              <a:spcBef>
                <a:spcPct val="0"/>
              </a:spcBef>
              <a:spcAft>
                <a:spcPct val="0"/>
              </a:spcAft>
            </a:pPr>
            <a:fld id="{EFB4D4DF-4CD7-441C-8106-4BCAD91C1F26}" type="datetime'''''0''''''''''''''''''''.''''''''9''0''''''''%'''''''''''''''">
              <a:rPr lang="en-US" altLang="en-US" sz="1000" smtClean="0">
                <a:solidFill>
                  <a:schemeClr val="tx1"/>
                </a:solidFill>
              </a:rPr>
              <a:pPr/>
              <a:t>0.90%</a:t>
            </a:fld>
            <a:endParaRPr lang="en-US" sz="1000">
              <a:solidFill>
                <a:schemeClr val="tx1"/>
              </a:solidFill>
            </a:endParaRPr>
          </a:p>
        </p:txBody>
      </p:sp>
      <p:sp>
        <p:nvSpPr>
          <p:cNvPr id="816" name="Rectangle 815">
            <a:extLst>
              <a:ext uri="{FF2B5EF4-FFF2-40B4-BE49-F238E27FC236}">
                <a16:creationId xmlns:a16="http://schemas.microsoft.com/office/drawing/2014/main" id="{917788BB-0B61-F2BF-19C0-E14D4C4DF0D4}"/>
              </a:ext>
            </a:extLst>
          </p:cNvPr>
          <p:cNvSpPr/>
          <p:nvPr>
            <p:custDataLst>
              <p:tags r:id="rId65"/>
            </p:custDataLst>
          </p:nvPr>
        </p:nvSpPr>
        <p:spPr bwMode="gray">
          <a:xfrm>
            <a:off x="9759950" y="4430713"/>
            <a:ext cx="32861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BF9FDDC3-D55C-4379-BE96-48A0796A2354}" type="datetime'0.''''''''''''''''''''9''''''''''''''''''''''''%'''''''''">
              <a:rPr lang="en-US" altLang="en-US" sz="1000" smtClean="0">
                <a:solidFill>
                  <a:schemeClr val="tx1"/>
                </a:solidFill>
              </a:rPr>
              <a:pPr/>
              <a:t>0.9%</a:t>
            </a:fld>
            <a:endParaRPr lang="en-US" sz="1000">
              <a:solidFill>
                <a:schemeClr val="tx1"/>
              </a:solidFill>
            </a:endParaRPr>
          </a:p>
        </p:txBody>
      </p:sp>
      <p:sp useBgFill="1">
        <p:nvSpPr>
          <p:cNvPr id="1067" name="Rectangle 1066">
            <a:extLst>
              <a:ext uri="{FF2B5EF4-FFF2-40B4-BE49-F238E27FC236}">
                <a16:creationId xmlns:a16="http://schemas.microsoft.com/office/drawing/2014/main" id="{9ACC0195-5C94-67CE-A0BA-438C3D47A297}"/>
              </a:ext>
            </a:extLst>
          </p:cNvPr>
          <p:cNvSpPr/>
          <p:nvPr>
            <p:custDataLst>
              <p:tags r:id="rId66"/>
            </p:custDataLst>
          </p:nvPr>
        </p:nvSpPr>
        <p:spPr bwMode="gray">
          <a:xfrm>
            <a:off x="6350000" y="4546600"/>
            <a:ext cx="342900" cy="136525"/>
          </a:xfrm>
          <a:prstGeom prst="rect">
            <a:avLst/>
          </a:pr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algn="ctr">
              <a:lnSpc>
                <a:spcPct val="90000"/>
              </a:lnSpc>
              <a:spcBef>
                <a:spcPct val="0"/>
              </a:spcBef>
              <a:spcAft>
                <a:spcPct val="0"/>
              </a:spcAft>
            </a:pPr>
            <a:fld id="{A8F6AAE3-60A8-41B3-8BBD-30FF20ACCA56}" type="datetime'''''''''''1.''''''''''''''''''''''''1''''''0''%'''''''''''">
              <a:rPr lang="en-US" altLang="en-US" sz="1000" smtClean="0">
                <a:solidFill>
                  <a:schemeClr val="tx1"/>
                </a:solidFill>
              </a:rPr>
              <a:pPr/>
              <a:t>1.10%</a:t>
            </a:fld>
            <a:endParaRPr lang="en-US" sz="1000">
              <a:solidFill>
                <a:schemeClr val="tx1"/>
              </a:solidFill>
            </a:endParaRPr>
          </a:p>
        </p:txBody>
      </p:sp>
      <p:sp>
        <p:nvSpPr>
          <p:cNvPr id="544" name="Text Placeholder 2">
            <a:extLst>
              <a:ext uri="{FF2B5EF4-FFF2-40B4-BE49-F238E27FC236}">
                <a16:creationId xmlns:a16="http://schemas.microsoft.com/office/drawing/2014/main" id="{C0D01F1B-F5AB-9710-AB3A-E12A451DB4D7}"/>
              </a:ext>
            </a:extLst>
          </p:cNvPr>
          <p:cNvSpPr>
            <a:spLocks noGrp="1" noChangeArrowheads="1"/>
          </p:cNvSpPr>
          <p:nvPr>
            <p:custDataLst>
              <p:tags r:id="rId67"/>
            </p:custDataLst>
          </p:nvPr>
        </p:nvSpPr>
        <p:spPr bwMode="auto">
          <a:xfrm>
            <a:off x="9702800" y="5589588"/>
            <a:ext cx="441325"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70A8CE2F-A860-4240-9E8E-BBA3D539DC7F}" type="datetime'''''''''M''a''''''''''''''''''r''’''''''2''''4'''''''">
              <a:rPr lang="en-US" altLang="en-US" sz="1000" smtClean="0"/>
              <a:pPr/>
              <a:t>Mar’24</a:t>
            </a:fld>
            <a:endParaRPr lang="en-US" altLang="en-US" sz="1000"/>
          </a:p>
        </p:txBody>
      </p:sp>
      <p:sp>
        <p:nvSpPr>
          <p:cNvPr id="733" name="Rectangle 732">
            <a:extLst>
              <a:ext uri="{FF2B5EF4-FFF2-40B4-BE49-F238E27FC236}">
                <a16:creationId xmlns:a16="http://schemas.microsoft.com/office/drawing/2014/main" id="{A3C3AFE3-96E4-285B-131E-48001DCE3421}"/>
              </a:ext>
            </a:extLst>
          </p:cNvPr>
          <p:cNvSpPr/>
          <p:nvPr>
            <p:custDataLst>
              <p:tags r:id="rId68"/>
            </p:custDataLst>
          </p:nvPr>
        </p:nvSpPr>
        <p:spPr bwMode="gray">
          <a:xfrm>
            <a:off x="10639425" y="4035425"/>
            <a:ext cx="36830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60D7134B-3C9C-48B2-907B-005721BACCC2}" type="datetime'''''1.''''''''''''''''''''''''''30%'''''''''''''''">
              <a:rPr lang="en-US" altLang="en-US" sz="1000" smtClean="0">
                <a:solidFill>
                  <a:schemeClr val="tx1"/>
                </a:solidFill>
              </a:rPr>
              <a:pPr/>
              <a:t>1.30%</a:t>
            </a:fld>
            <a:endParaRPr lang="en-US" sz="1000">
              <a:solidFill>
                <a:schemeClr val="tx1"/>
              </a:solidFill>
            </a:endParaRPr>
          </a:p>
        </p:txBody>
      </p:sp>
      <p:sp>
        <p:nvSpPr>
          <p:cNvPr id="1068" name="Rectangle 1067">
            <a:extLst>
              <a:ext uri="{FF2B5EF4-FFF2-40B4-BE49-F238E27FC236}">
                <a16:creationId xmlns:a16="http://schemas.microsoft.com/office/drawing/2014/main" id="{CD49D1C8-B632-D2F1-1C9E-C3EABBE25A4C}"/>
              </a:ext>
            </a:extLst>
          </p:cNvPr>
          <p:cNvSpPr/>
          <p:nvPr>
            <p:custDataLst>
              <p:tags r:id="rId69"/>
            </p:custDataLst>
          </p:nvPr>
        </p:nvSpPr>
        <p:spPr bwMode="gray">
          <a:xfrm>
            <a:off x="6350000" y="4843463"/>
            <a:ext cx="331788"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algn="ctr">
              <a:lnSpc>
                <a:spcPct val="90000"/>
              </a:lnSpc>
              <a:spcBef>
                <a:spcPct val="0"/>
              </a:spcBef>
              <a:spcAft>
                <a:spcPct val="0"/>
              </a:spcAft>
            </a:pPr>
            <a:fld id="{2240FEA3-AF10-4A9C-8AA1-CC21D5E3212A}" type="datetime'''''0''.8''''''''''''''''%'''">
              <a:rPr lang="en-US" altLang="en-US" sz="1000" smtClean="0">
                <a:solidFill>
                  <a:schemeClr val="tx1"/>
                </a:solidFill>
              </a:rPr>
              <a:pPr/>
              <a:t>0.8%</a:t>
            </a:fld>
            <a:endParaRPr lang="en-US" sz="1000" dirty="0">
              <a:solidFill>
                <a:schemeClr val="tx1"/>
              </a:solidFill>
            </a:endParaRPr>
          </a:p>
        </p:txBody>
      </p:sp>
      <p:sp>
        <p:nvSpPr>
          <p:cNvPr id="737" name="Rectangle 736">
            <a:extLst>
              <a:ext uri="{FF2B5EF4-FFF2-40B4-BE49-F238E27FC236}">
                <a16:creationId xmlns:a16="http://schemas.microsoft.com/office/drawing/2014/main" id="{4D5F1720-E79C-133C-7BE4-5458A50EAE5D}"/>
              </a:ext>
            </a:extLst>
          </p:cNvPr>
          <p:cNvSpPr/>
          <p:nvPr>
            <p:custDataLst>
              <p:tags r:id="rId70"/>
            </p:custDataLst>
          </p:nvPr>
        </p:nvSpPr>
        <p:spPr bwMode="gray">
          <a:xfrm>
            <a:off x="10639425" y="4448175"/>
            <a:ext cx="36830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algn="ctr">
              <a:lnSpc>
                <a:spcPct val="90000"/>
              </a:lnSpc>
              <a:spcBef>
                <a:spcPct val="0"/>
              </a:spcBef>
              <a:spcAft>
                <a:spcPct val="0"/>
              </a:spcAft>
            </a:pPr>
            <a:fld id="{A9AC434C-93AC-4E3A-A9AE-ED5FA2503C29}" type="datetime'1''''''''''''''.''''''2''''''''''''''''''''''''0%'">
              <a:rPr lang="en-US" altLang="en-US" sz="1000" smtClean="0">
                <a:solidFill>
                  <a:schemeClr val="tx1"/>
                </a:solidFill>
              </a:rPr>
              <a:pPr/>
              <a:t>1.20%</a:t>
            </a:fld>
            <a:endParaRPr lang="en-US" sz="1000" dirty="0">
              <a:solidFill>
                <a:schemeClr val="tx1"/>
              </a:solidFill>
            </a:endParaRPr>
          </a:p>
        </p:txBody>
      </p:sp>
      <p:sp>
        <p:nvSpPr>
          <p:cNvPr id="738" name="Rectangle 737">
            <a:extLst>
              <a:ext uri="{FF2B5EF4-FFF2-40B4-BE49-F238E27FC236}">
                <a16:creationId xmlns:a16="http://schemas.microsoft.com/office/drawing/2014/main" id="{F4632917-122A-A601-09EC-649929219710}"/>
              </a:ext>
            </a:extLst>
          </p:cNvPr>
          <p:cNvSpPr/>
          <p:nvPr>
            <p:custDataLst>
              <p:tags r:id="rId71"/>
            </p:custDataLst>
          </p:nvPr>
        </p:nvSpPr>
        <p:spPr bwMode="gray">
          <a:xfrm>
            <a:off x="10617200" y="4727575"/>
            <a:ext cx="41275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E0A6515C-A7C6-4CC2-94B1-C68F3F8BCEFF}" type="datetime'''''''''''0''.''''''''''''''''''''''''''''60''''''''''''%'">
              <a:rPr lang="en-US" altLang="en-US" sz="1000" smtClean="0">
                <a:solidFill>
                  <a:schemeClr val="tx1"/>
                </a:solidFill>
              </a:rPr>
              <a:pPr/>
              <a:t>0.60%</a:t>
            </a:fld>
            <a:endParaRPr lang="en-US" sz="1000">
              <a:solidFill>
                <a:schemeClr val="tx1"/>
              </a:solidFill>
            </a:endParaRPr>
          </a:p>
        </p:txBody>
      </p:sp>
      <p:sp>
        <p:nvSpPr>
          <p:cNvPr id="720" name="Text Placeholder 2">
            <a:extLst>
              <a:ext uri="{FF2B5EF4-FFF2-40B4-BE49-F238E27FC236}">
                <a16:creationId xmlns:a16="http://schemas.microsoft.com/office/drawing/2014/main" id="{D5C9A74B-9844-0C97-F43E-62699D4FCC06}"/>
              </a:ext>
            </a:extLst>
          </p:cNvPr>
          <p:cNvSpPr>
            <a:spLocks noGrp="1" noChangeArrowheads="1"/>
          </p:cNvSpPr>
          <p:nvPr>
            <p:custDataLst>
              <p:tags r:id="rId72"/>
            </p:custDataLst>
          </p:nvPr>
        </p:nvSpPr>
        <p:spPr bwMode="auto">
          <a:xfrm>
            <a:off x="10612438" y="5589588"/>
            <a:ext cx="422275"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CE8C277E-21C9-48CA-B2AD-7710C6FB0EB0}" type="datetime'''''A''p''''''''''''''''''''''''''r''''''''''''’2''4'''''''">
              <a:rPr lang="en-US" altLang="en-US" sz="1000" smtClean="0"/>
              <a:pPr/>
              <a:t>Apr’24</a:t>
            </a:fld>
            <a:endParaRPr lang="en-US" altLang="en-US" sz="1000"/>
          </a:p>
        </p:txBody>
      </p:sp>
      <p:sp>
        <p:nvSpPr>
          <p:cNvPr id="614" name="Rectangle 613">
            <a:extLst>
              <a:ext uri="{FF2B5EF4-FFF2-40B4-BE49-F238E27FC236}">
                <a16:creationId xmlns:a16="http://schemas.microsoft.com/office/drawing/2014/main" id="{E9A28917-AA4F-D7F2-1DAC-D03B6828A93A}"/>
              </a:ext>
            </a:extLst>
          </p:cNvPr>
          <p:cNvSpPr/>
          <p:nvPr>
            <p:custDataLst>
              <p:tags r:id="rId73"/>
            </p:custDataLst>
          </p:nvPr>
        </p:nvSpPr>
        <p:spPr bwMode="gray">
          <a:xfrm>
            <a:off x="11325225" y="4035425"/>
            <a:ext cx="36830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57AB240A-F0B3-4C51-8731-185821F27A03}" type="datetime'''''1''.''''30%'''''''''''''''''''''''''''''''''''">
              <a:rPr lang="en-US" altLang="en-US" sz="1000" smtClean="0">
                <a:solidFill>
                  <a:schemeClr val="tx1"/>
                </a:solidFill>
              </a:rPr>
              <a:pPr/>
              <a:t>1.30%</a:t>
            </a:fld>
            <a:endParaRPr lang="en-US" sz="1000">
              <a:solidFill>
                <a:schemeClr val="tx1"/>
              </a:solidFill>
            </a:endParaRPr>
          </a:p>
        </p:txBody>
      </p:sp>
      <p:sp>
        <p:nvSpPr>
          <p:cNvPr id="734" name="Rectangle 733">
            <a:extLst>
              <a:ext uri="{FF2B5EF4-FFF2-40B4-BE49-F238E27FC236}">
                <a16:creationId xmlns:a16="http://schemas.microsoft.com/office/drawing/2014/main" id="{2A273F86-78AB-81D5-B5C1-23AA9914876A}"/>
              </a:ext>
            </a:extLst>
          </p:cNvPr>
          <p:cNvSpPr/>
          <p:nvPr>
            <p:custDataLst>
              <p:tags r:id="rId74"/>
            </p:custDataLst>
          </p:nvPr>
        </p:nvSpPr>
        <p:spPr bwMode="gray">
          <a:xfrm>
            <a:off x="10626725" y="2847975"/>
            <a:ext cx="39370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FC0EABAF-86CA-4727-935B-CF5FC36EBF6C}" type="datetime'2''''.''''''''''''''5''''''''''0''''%'">
              <a:rPr lang="en-US" altLang="en-US" sz="1000" smtClean="0">
                <a:solidFill>
                  <a:schemeClr val="tx1"/>
                </a:solidFill>
              </a:rPr>
              <a:pPr/>
              <a:t>2.50%</a:t>
            </a:fld>
            <a:endParaRPr lang="en-US" sz="1000" dirty="0">
              <a:solidFill>
                <a:schemeClr val="tx1"/>
              </a:solidFill>
            </a:endParaRPr>
          </a:p>
        </p:txBody>
      </p:sp>
      <p:sp>
        <p:nvSpPr>
          <p:cNvPr id="604" name="Rectangle 603">
            <a:extLst>
              <a:ext uri="{FF2B5EF4-FFF2-40B4-BE49-F238E27FC236}">
                <a16:creationId xmlns:a16="http://schemas.microsoft.com/office/drawing/2014/main" id="{8EDD7156-11B1-29ED-7B1F-E331B199F3CD}"/>
              </a:ext>
            </a:extLst>
          </p:cNvPr>
          <p:cNvSpPr/>
          <p:nvPr>
            <p:custDataLst>
              <p:tags r:id="rId75"/>
            </p:custDataLst>
          </p:nvPr>
        </p:nvSpPr>
        <p:spPr bwMode="gray">
          <a:xfrm>
            <a:off x="11312525" y="4646613"/>
            <a:ext cx="38100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algn="ctr">
              <a:lnSpc>
                <a:spcPct val="90000"/>
              </a:lnSpc>
              <a:spcBef>
                <a:spcPct val="0"/>
              </a:spcBef>
              <a:spcAft>
                <a:spcPct val="0"/>
              </a:spcAft>
            </a:pPr>
            <a:fld id="{E1E747EA-44CC-4E2F-A072-0A53E820748F}" type="datetime'''1''.0''''''''0''%'''''''''''''''''">
              <a:rPr lang="en-US" altLang="en-US" sz="1000" smtClean="0">
                <a:solidFill>
                  <a:schemeClr val="tx1"/>
                </a:solidFill>
              </a:rPr>
              <a:pPr/>
              <a:t>1.00%</a:t>
            </a:fld>
            <a:endParaRPr lang="en-US" sz="1000" dirty="0">
              <a:solidFill>
                <a:schemeClr val="tx1"/>
              </a:solidFill>
            </a:endParaRPr>
          </a:p>
        </p:txBody>
      </p:sp>
      <p:sp>
        <p:nvSpPr>
          <p:cNvPr id="1065" name="Rectangle 1064">
            <a:extLst>
              <a:ext uri="{FF2B5EF4-FFF2-40B4-BE49-F238E27FC236}">
                <a16:creationId xmlns:a16="http://schemas.microsoft.com/office/drawing/2014/main" id="{E240EAA8-5654-5FBE-D0C2-AD5B2E9A9A8F}"/>
              </a:ext>
            </a:extLst>
          </p:cNvPr>
          <p:cNvSpPr/>
          <p:nvPr>
            <p:custDataLst>
              <p:tags r:id="rId76"/>
            </p:custDataLst>
          </p:nvPr>
        </p:nvSpPr>
        <p:spPr bwMode="gray">
          <a:xfrm>
            <a:off x="6350000" y="4035425"/>
            <a:ext cx="28416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1EBBF009-EEA8-493E-B4E0-04DF69B9EA73}" type="datetime'''''''''''''''''''''1''''.''''''''''''''''3''''''%'''''''''''">
              <a:rPr lang="en-US" altLang="en-US" sz="1000" smtClean="0">
                <a:solidFill>
                  <a:schemeClr val="tx1"/>
                </a:solidFill>
              </a:rPr>
              <a:pPr/>
              <a:t>1.3%</a:t>
            </a:fld>
            <a:endParaRPr lang="en-US" sz="1000">
              <a:solidFill>
                <a:schemeClr val="tx1"/>
              </a:solidFill>
            </a:endParaRPr>
          </a:p>
        </p:txBody>
      </p:sp>
      <p:sp>
        <p:nvSpPr>
          <p:cNvPr id="601" name="Rectangle 600">
            <a:extLst>
              <a:ext uri="{FF2B5EF4-FFF2-40B4-BE49-F238E27FC236}">
                <a16:creationId xmlns:a16="http://schemas.microsoft.com/office/drawing/2014/main" id="{9F66E1F1-CA36-E61B-03BC-F7F2AFC805A0}"/>
              </a:ext>
            </a:extLst>
          </p:cNvPr>
          <p:cNvSpPr/>
          <p:nvPr>
            <p:custDataLst>
              <p:tags r:id="rId77"/>
            </p:custDataLst>
          </p:nvPr>
        </p:nvSpPr>
        <p:spPr bwMode="gray">
          <a:xfrm>
            <a:off x="11283951" y="4943475"/>
            <a:ext cx="409575"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algn="ctr">
              <a:lnSpc>
                <a:spcPct val="90000"/>
              </a:lnSpc>
              <a:spcBef>
                <a:spcPct val="0"/>
              </a:spcBef>
              <a:spcAft>
                <a:spcPct val="0"/>
              </a:spcAft>
            </a:pPr>
            <a:fld id="{047CC838-758B-4035-9930-322F1220DA6E}" type="datetime'''''''''''0''''''''''''''''''''''''.''''''''7''''0''''''%'''''">
              <a:rPr lang="en-US" altLang="en-US" sz="1000" smtClean="0">
                <a:solidFill>
                  <a:schemeClr val="tx1"/>
                </a:solidFill>
              </a:rPr>
              <a:pPr/>
              <a:t>0.70%</a:t>
            </a:fld>
            <a:endParaRPr lang="en-US" sz="1000">
              <a:solidFill>
                <a:schemeClr val="tx1"/>
              </a:solidFill>
            </a:endParaRPr>
          </a:p>
        </p:txBody>
      </p:sp>
      <p:sp>
        <p:nvSpPr>
          <p:cNvPr id="597" name="Text Placeholder 2">
            <a:extLst>
              <a:ext uri="{FF2B5EF4-FFF2-40B4-BE49-F238E27FC236}">
                <a16:creationId xmlns:a16="http://schemas.microsoft.com/office/drawing/2014/main" id="{0CC9C9B5-48B2-5397-FB35-AD501EA91459}"/>
              </a:ext>
            </a:extLst>
          </p:cNvPr>
          <p:cNvSpPr>
            <a:spLocks noGrp="1" noChangeArrowheads="1"/>
          </p:cNvSpPr>
          <p:nvPr>
            <p:custDataLst>
              <p:tags r:id="rId78"/>
            </p:custDataLst>
          </p:nvPr>
        </p:nvSpPr>
        <p:spPr bwMode="auto">
          <a:xfrm>
            <a:off x="11496674" y="5589588"/>
            <a:ext cx="458788"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19917454-8F97-451C-9F11-4940774291B4}" type="datetime'''''''''''M''''''''''a''''''y’''''''''''''''''''2''''4'''">
              <a:rPr lang="en-US" altLang="en-US" sz="1000" smtClean="0"/>
              <a:pPr/>
              <a:t>May’24</a:t>
            </a:fld>
            <a:endParaRPr lang="en-US" altLang="en-US" sz="1000"/>
          </a:p>
        </p:txBody>
      </p:sp>
      <p:sp useBgFill="1">
        <p:nvSpPr>
          <p:cNvPr id="607" name="Rectangle 606">
            <a:extLst>
              <a:ext uri="{FF2B5EF4-FFF2-40B4-BE49-F238E27FC236}">
                <a16:creationId xmlns:a16="http://schemas.microsoft.com/office/drawing/2014/main" id="{3A22A8AC-D6F1-84B5-DBBB-1F0CFAB469FC}"/>
              </a:ext>
            </a:extLst>
          </p:cNvPr>
          <p:cNvSpPr/>
          <p:nvPr>
            <p:custDataLst>
              <p:tags r:id="rId79"/>
            </p:custDataLst>
          </p:nvPr>
        </p:nvSpPr>
        <p:spPr bwMode="gray">
          <a:xfrm>
            <a:off x="11299825" y="3144838"/>
            <a:ext cx="393700" cy="136525"/>
          </a:xfrm>
          <a:prstGeom prst="rect">
            <a:avLst/>
          </a:pr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E76D7771-DB9A-4CE2-B026-2B0342239B76}" type="datetime'''''''''2''''''''''''''.''''2''''''''''''0''''''''''%'''''">
              <a:rPr lang="en-US" altLang="en-US" sz="1000" smtClean="0">
                <a:solidFill>
                  <a:schemeClr val="tx1"/>
                </a:solidFill>
              </a:rPr>
              <a:pPr/>
              <a:t>2.20%</a:t>
            </a:fld>
            <a:endParaRPr lang="en-US" sz="1000" dirty="0">
              <a:solidFill>
                <a:schemeClr val="tx1"/>
              </a:solidFill>
            </a:endParaRPr>
          </a:p>
        </p:txBody>
      </p:sp>
      <p:cxnSp>
        <p:nvCxnSpPr>
          <p:cNvPr id="748" name="Straight Connector 747">
            <a:extLst>
              <a:ext uri="{FF2B5EF4-FFF2-40B4-BE49-F238E27FC236}">
                <a16:creationId xmlns:a16="http://schemas.microsoft.com/office/drawing/2014/main" id="{64207F65-D93E-FCBE-7E12-A2D4AF739367}"/>
              </a:ext>
            </a:extLst>
          </p:cNvPr>
          <p:cNvCxnSpPr/>
          <p:nvPr>
            <p:custDataLst>
              <p:tags r:id="rId80"/>
            </p:custDataLst>
          </p:nvPr>
        </p:nvCxnSpPr>
        <p:spPr bwMode="gray">
          <a:xfrm>
            <a:off x="10134600" y="1797050"/>
            <a:ext cx="214313" cy="0"/>
          </a:xfrm>
          <a:prstGeom prst="line">
            <a:avLst/>
          </a:prstGeom>
          <a:ln w="19050" cap="rnd" cmpd="sng" algn="ctr">
            <a:solidFill>
              <a:srgbClr val="000000"/>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50" name="Straight Connector 749">
            <a:extLst>
              <a:ext uri="{FF2B5EF4-FFF2-40B4-BE49-F238E27FC236}">
                <a16:creationId xmlns:a16="http://schemas.microsoft.com/office/drawing/2014/main" id="{B9E835D5-7431-BB40-A138-69B5538783E5}"/>
              </a:ext>
            </a:extLst>
          </p:cNvPr>
          <p:cNvCxnSpPr/>
          <p:nvPr>
            <p:custDataLst>
              <p:tags r:id="rId81"/>
            </p:custDataLst>
          </p:nvPr>
        </p:nvCxnSpPr>
        <p:spPr bwMode="gray">
          <a:xfrm>
            <a:off x="10134600" y="1984375"/>
            <a:ext cx="214313" cy="0"/>
          </a:xfrm>
          <a:prstGeom prst="line">
            <a:avLst/>
          </a:prstGeom>
          <a:ln w="19050" cap="rnd" cmpd="sng" algn="ctr">
            <a:solidFill>
              <a:srgbClr val="007770"/>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52" name="Straight Connector 751">
            <a:extLst>
              <a:ext uri="{FF2B5EF4-FFF2-40B4-BE49-F238E27FC236}">
                <a16:creationId xmlns:a16="http://schemas.microsoft.com/office/drawing/2014/main" id="{7552950C-57E1-803B-E133-14D48A2BBDD2}"/>
              </a:ext>
            </a:extLst>
          </p:cNvPr>
          <p:cNvCxnSpPr/>
          <p:nvPr>
            <p:custDataLst>
              <p:tags r:id="rId82"/>
            </p:custDataLst>
          </p:nvPr>
        </p:nvCxnSpPr>
        <p:spPr bwMode="gray">
          <a:xfrm>
            <a:off x="10134600" y="2171700"/>
            <a:ext cx="214313" cy="0"/>
          </a:xfrm>
          <a:prstGeom prst="line">
            <a:avLst/>
          </a:prstGeom>
          <a:ln w="19050" cap="rnd" cmpd="sng" algn="ctr">
            <a:solidFill>
              <a:srgbClr val="0013C7"/>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54" name="Straight Connector 753">
            <a:extLst>
              <a:ext uri="{FF2B5EF4-FFF2-40B4-BE49-F238E27FC236}">
                <a16:creationId xmlns:a16="http://schemas.microsoft.com/office/drawing/2014/main" id="{C0163400-B4A0-60FD-B113-F1CD9C87F815}"/>
              </a:ext>
            </a:extLst>
          </p:cNvPr>
          <p:cNvCxnSpPr/>
          <p:nvPr>
            <p:custDataLst>
              <p:tags r:id="rId83"/>
            </p:custDataLst>
          </p:nvPr>
        </p:nvCxnSpPr>
        <p:spPr bwMode="gray">
          <a:xfrm>
            <a:off x="10134600" y="2359025"/>
            <a:ext cx="214313" cy="0"/>
          </a:xfrm>
          <a:prstGeom prst="line">
            <a:avLst/>
          </a:prstGeom>
          <a:ln w="19050" cap="rnd" cmpd="sng" algn="ctr">
            <a:solidFill>
              <a:srgbClr val="C0C0C0"/>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49" name="Oval 748">
            <a:extLst>
              <a:ext uri="{FF2B5EF4-FFF2-40B4-BE49-F238E27FC236}">
                <a16:creationId xmlns:a16="http://schemas.microsoft.com/office/drawing/2014/main" id="{BE464361-B93D-BBF6-B134-C766FC380ED6}"/>
              </a:ext>
            </a:extLst>
          </p:cNvPr>
          <p:cNvSpPr/>
          <p:nvPr>
            <p:custDataLst>
              <p:tags r:id="rId84"/>
            </p:custDataLst>
          </p:nvPr>
        </p:nvSpPr>
        <p:spPr bwMode="auto">
          <a:xfrm>
            <a:off x="10209213" y="1765300"/>
            <a:ext cx="63500" cy="63500"/>
          </a:xfrm>
          <a:prstGeom prst="ellipse">
            <a:avLst/>
          </a:prstGeom>
          <a:solidFill>
            <a:srgbClr val="000000"/>
          </a:solidFill>
          <a:ln w="9525" cap="flat" cmpd="sng" algn="ctr">
            <a:solidFill>
              <a:srgbClr val="000000"/>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1" name="Oval 750">
            <a:extLst>
              <a:ext uri="{FF2B5EF4-FFF2-40B4-BE49-F238E27FC236}">
                <a16:creationId xmlns:a16="http://schemas.microsoft.com/office/drawing/2014/main" id="{7C42522B-FCA8-1CE3-4BC1-A29D4CD4FA78}"/>
              </a:ext>
            </a:extLst>
          </p:cNvPr>
          <p:cNvSpPr/>
          <p:nvPr>
            <p:custDataLst>
              <p:tags r:id="rId85"/>
            </p:custDataLst>
          </p:nvPr>
        </p:nvSpPr>
        <p:spPr bwMode="auto">
          <a:xfrm>
            <a:off x="10209213" y="1952625"/>
            <a:ext cx="63500" cy="63500"/>
          </a:xfrm>
          <a:prstGeom prst="ellipse">
            <a:avLst/>
          </a:prstGeom>
          <a:solidFill>
            <a:srgbClr val="007770"/>
          </a:solidFill>
          <a:ln w="9525" cap="flat" cmpd="sng" algn="ctr">
            <a:solidFill>
              <a:srgbClr val="007770"/>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3" name="Oval 752">
            <a:extLst>
              <a:ext uri="{FF2B5EF4-FFF2-40B4-BE49-F238E27FC236}">
                <a16:creationId xmlns:a16="http://schemas.microsoft.com/office/drawing/2014/main" id="{F5DEF898-B498-A020-03EB-CBE0A41C66D0}"/>
              </a:ext>
            </a:extLst>
          </p:cNvPr>
          <p:cNvSpPr/>
          <p:nvPr>
            <p:custDataLst>
              <p:tags r:id="rId86"/>
            </p:custDataLst>
          </p:nvPr>
        </p:nvSpPr>
        <p:spPr bwMode="auto">
          <a:xfrm>
            <a:off x="10209213" y="2139950"/>
            <a:ext cx="63500" cy="63500"/>
          </a:xfrm>
          <a:prstGeom prst="ellipse">
            <a:avLst/>
          </a:prstGeom>
          <a:solidFill>
            <a:srgbClr val="0013C7"/>
          </a:solidFill>
          <a:ln w="9525" cap="flat" cmpd="sng" algn="ctr">
            <a:solidFill>
              <a:srgbClr val="0013C7"/>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5" name="Oval 754">
            <a:extLst>
              <a:ext uri="{FF2B5EF4-FFF2-40B4-BE49-F238E27FC236}">
                <a16:creationId xmlns:a16="http://schemas.microsoft.com/office/drawing/2014/main" id="{42466849-10FB-B635-EA7D-6C8F126CC137}"/>
              </a:ext>
            </a:extLst>
          </p:cNvPr>
          <p:cNvSpPr/>
          <p:nvPr>
            <p:custDataLst>
              <p:tags r:id="rId87"/>
            </p:custDataLst>
          </p:nvPr>
        </p:nvSpPr>
        <p:spPr bwMode="auto">
          <a:xfrm>
            <a:off x="10209213" y="2327275"/>
            <a:ext cx="63500" cy="63500"/>
          </a:xfrm>
          <a:prstGeom prst="ellipse">
            <a:avLst/>
          </a:prstGeom>
          <a:solidFill>
            <a:srgbClr val="C0C0C0"/>
          </a:solidFill>
          <a:ln w="9525" cap="flat" cmpd="sng" algn="ctr">
            <a:solidFill>
              <a:srgbClr val="C0C0C0"/>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4" name="Rectangle 573">
            <a:extLst>
              <a:ext uri="{FF2B5EF4-FFF2-40B4-BE49-F238E27FC236}">
                <a16:creationId xmlns:a16="http://schemas.microsoft.com/office/drawing/2014/main" id="{C323AD5B-CF15-E89B-16A5-43E444525D17}"/>
              </a:ext>
            </a:extLst>
          </p:cNvPr>
          <p:cNvSpPr/>
          <p:nvPr>
            <p:custDataLst>
              <p:tags r:id="rId88"/>
            </p:custDataLst>
          </p:nvPr>
        </p:nvSpPr>
        <p:spPr bwMode="auto">
          <a:xfrm>
            <a:off x="10409238" y="1733550"/>
            <a:ext cx="127000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712A987E-0441-4C30-B425-ED909CB445A8}" type="datetime'On''l''ine'' ''S''ale''s'' Cal''''''''''''''''l''''s C''''VR'">
              <a:rPr lang="en-US" altLang="en-US" sz="900" smtClean="0">
                <a:solidFill>
                  <a:schemeClr val="tx1"/>
                </a:solidFill>
              </a:rPr>
              <a:pPr>
                <a:spcBef>
                  <a:spcPct val="0"/>
                </a:spcBef>
                <a:spcAft>
                  <a:spcPct val="0"/>
                </a:spcAft>
              </a:pPr>
              <a:t>Online Sales Calls CVR</a:t>
            </a:fld>
            <a:endParaRPr lang="en-US" sz="900">
              <a:solidFill>
                <a:schemeClr val="tx1"/>
              </a:solidFill>
            </a:endParaRPr>
          </a:p>
        </p:txBody>
      </p:sp>
      <p:sp>
        <p:nvSpPr>
          <p:cNvPr id="575" name="Rectangle 574">
            <a:extLst>
              <a:ext uri="{FF2B5EF4-FFF2-40B4-BE49-F238E27FC236}">
                <a16:creationId xmlns:a16="http://schemas.microsoft.com/office/drawing/2014/main" id="{48C60C2E-CD07-9AE9-14FF-0606DDC0CDC6}"/>
              </a:ext>
            </a:extLst>
          </p:cNvPr>
          <p:cNvSpPr/>
          <p:nvPr>
            <p:custDataLst>
              <p:tags r:id="rId89"/>
            </p:custDataLst>
          </p:nvPr>
        </p:nvSpPr>
        <p:spPr bwMode="auto">
          <a:xfrm>
            <a:off x="10409238" y="1920875"/>
            <a:ext cx="88900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C6F8841F-006C-4643-9FFC-AE280B5C6129}" type="datetime'W''e''''''b'' ''Fo''r''m'''''''''''''''''''' ''C''VR'''">
              <a:rPr lang="en-US" altLang="en-US" sz="900" smtClean="0">
                <a:solidFill>
                  <a:schemeClr val="tx1"/>
                </a:solidFill>
              </a:rPr>
              <a:pPr>
                <a:spcBef>
                  <a:spcPct val="0"/>
                </a:spcBef>
                <a:spcAft>
                  <a:spcPct val="0"/>
                </a:spcAft>
              </a:pPr>
              <a:t>Web Form CVR</a:t>
            </a:fld>
            <a:endParaRPr lang="en-US" sz="900">
              <a:solidFill>
                <a:schemeClr val="tx1"/>
              </a:solidFill>
            </a:endParaRPr>
          </a:p>
        </p:txBody>
      </p:sp>
      <p:sp>
        <p:nvSpPr>
          <p:cNvPr id="576" name="Rectangle 575">
            <a:extLst>
              <a:ext uri="{FF2B5EF4-FFF2-40B4-BE49-F238E27FC236}">
                <a16:creationId xmlns:a16="http://schemas.microsoft.com/office/drawing/2014/main" id="{93950371-30CB-2454-DC27-2882E00254F0}"/>
              </a:ext>
            </a:extLst>
          </p:cNvPr>
          <p:cNvSpPr/>
          <p:nvPr>
            <p:custDataLst>
              <p:tags r:id="rId90"/>
            </p:custDataLst>
          </p:nvPr>
        </p:nvSpPr>
        <p:spPr bwMode="auto">
          <a:xfrm>
            <a:off x="10409238" y="2108200"/>
            <a:ext cx="547688"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FB1D7766-4740-4FDB-B227-890CB5D8F567}" type="datetime'''''C''''''''''''h''''''''a''''''t'''''' ''C''''V''''''''R'''">
              <a:rPr lang="en-US" altLang="en-US" sz="900" smtClean="0">
                <a:solidFill>
                  <a:schemeClr val="tx1"/>
                </a:solidFill>
              </a:rPr>
              <a:pPr>
                <a:spcBef>
                  <a:spcPct val="0"/>
                </a:spcBef>
                <a:spcAft>
                  <a:spcPct val="0"/>
                </a:spcAft>
              </a:pPr>
              <a:t>Chat CVR</a:t>
            </a:fld>
            <a:endParaRPr lang="en-US" sz="900">
              <a:solidFill>
                <a:schemeClr val="tx1"/>
              </a:solidFill>
            </a:endParaRPr>
          </a:p>
        </p:txBody>
      </p:sp>
      <p:sp>
        <p:nvSpPr>
          <p:cNvPr id="577" name="Rectangle 576">
            <a:extLst>
              <a:ext uri="{FF2B5EF4-FFF2-40B4-BE49-F238E27FC236}">
                <a16:creationId xmlns:a16="http://schemas.microsoft.com/office/drawing/2014/main" id="{F0EA8AD7-486A-2A2E-DD95-F303E31C28D7}"/>
              </a:ext>
            </a:extLst>
          </p:cNvPr>
          <p:cNvSpPr/>
          <p:nvPr>
            <p:custDataLst>
              <p:tags r:id="rId91"/>
            </p:custDataLst>
          </p:nvPr>
        </p:nvSpPr>
        <p:spPr bwMode="auto">
          <a:xfrm>
            <a:off x="10409238" y="2295525"/>
            <a:ext cx="738188"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C07E15A4-31B2-494A-B13A-B20AEECDB351}" type="datetime'B''''''''F ''''''S''ta''''''r''t'' C''V''''R'''''''">
              <a:rPr lang="en-US" altLang="en-US" sz="900" smtClean="0">
                <a:solidFill>
                  <a:schemeClr val="tx1"/>
                </a:solidFill>
              </a:rPr>
              <a:pPr>
                <a:spcBef>
                  <a:spcPct val="0"/>
                </a:spcBef>
                <a:spcAft>
                  <a:spcPct val="0"/>
                </a:spcAft>
              </a:pPr>
              <a:t>BF Start CVR</a:t>
            </a:fld>
            <a:endParaRPr lang="en-US" sz="900">
              <a:solidFill>
                <a:schemeClr val="tx1"/>
              </a:solidFill>
            </a:endParaRPr>
          </a:p>
        </p:txBody>
      </p:sp>
      <p:cxnSp>
        <p:nvCxnSpPr>
          <p:cNvPr id="830" name="Straight Connector 829">
            <a:extLst>
              <a:ext uri="{FF2B5EF4-FFF2-40B4-BE49-F238E27FC236}">
                <a16:creationId xmlns:a16="http://schemas.microsoft.com/office/drawing/2014/main" id="{AF32F2BF-CDA1-5A6C-706F-16EADC70B0F7}"/>
              </a:ext>
            </a:extLst>
          </p:cNvPr>
          <p:cNvCxnSpPr>
            <a:cxnSpLocks/>
          </p:cNvCxnSpPr>
          <p:nvPr/>
        </p:nvCxnSpPr>
        <p:spPr>
          <a:xfrm>
            <a:off x="1221156" y="1733550"/>
            <a:ext cx="0" cy="4303713"/>
          </a:xfrm>
          <a:prstGeom prst="line">
            <a:avLst/>
          </a:prstGeom>
          <a:ln w="19050">
            <a:solidFill>
              <a:schemeClr val="tx1">
                <a:lumMod val="65000"/>
                <a:lumOff val="35000"/>
              </a:schemeClr>
            </a:solidFill>
            <a:prstDash val="lgDash"/>
          </a:ln>
        </p:spPr>
        <p:style>
          <a:lnRef idx="1">
            <a:schemeClr val="accent1"/>
          </a:lnRef>
          <a:fillRef idx="0">
            <a:schemeClr val="accent1"/>
          </a:fillRef>
          <a:effectRef idx="0">
            <a:schemeClr val="accent1"/>
          </a:effectRef>
          <a:fontRef idx="minor">
            <a:schemeClr val="tx1"/>
          </a:fontRef>
        </p:style>
      </p:cxnSp>
      <p:sp>
        <p:nvSpPr>
          <p:cNvPr id="832" name="TextBox 831">
            <a:extLst>
              <a:ext uri="{FF2B5EF4-FFF2-40B4-BE49-F238E27FC236}">
                <a16:creationId xmlns:a16="http://schemas.microsoft.com/office/drawing/2014/main" id="{A3694A91-4B66-3613-97E1-904130D37335}"/>
              </a:ext>
            </a:extLst>
          </p:cNvPr>
          <p:cNvSpPr txBox="1"/>
          <p:nvPr/>
        </p:nvSpPr>
        <p:spPr>
          <a:xfrm>
            <a:off x="452763" y="1738313"/>
            <a:ext cx="768390" cy="317500"/>
          </a:xfrm>
          <a:prstGeom prst="rect">
            <a:avLst/>
          </a:prstGeom>
          <a:noFill/>
        </p:spPr>
        <p:txBody>
          <a:bodyPr wrap="square" lIns="0" tIns="0" rIns="0" bIns="0" rtlCol="0">
            <a:noAutofit/>
          </a:bodyPr>
          <a:lstStyle/>
          <a:p>
            <a:pPr algn="ctr"/>
            <a:r>
              <a:rPr lang="en-US" sz="1100" b="1" dirty="0"/>
              <a:t>LY ENG. TRAFFIC</a:t>
            </a:r>
          </a:p>
        </p:txBody>
      </p:sp>
      <p:cxnSp>
        <p:nvCxnSpPr>
          <p:cNvPr id="985" name="Straight Connector 984">
            <a:extLst>
              <a:ext uri="{FF2B5EF4-FFF2-40B4-BE49-F238E27FC236}">
                <a16:creationId xmlns:a16="http://schemas.microsoft.com/office/drawing/2014/main" id="{2D8B3218-3CF8-061C-7F0A-167C86CCDEBD}"/>
              </a:ext>
            </a:extLst>
          </p:cNvPr>
          <p:cNvCxnSpPr>
            <a:cxnSpLocks/>
          </p:cNvCxnSpPr>
          <p:nvPr/>
        </p:nvCxnSpPr>
        <p:spPr>
          <a:xfrm>
            <a:off x="6796543" y="1719263"/>
            <a:ext cx="0" cy="4303713"/>
          </a:xfrm>
          <a:prstGeom prst="line">
            <a:avLst/>
          </a:prstGeom>
          <a:ln w="19050">
            <a:solidFill>
              <a:schemeClr val="tx1">
                <a:lumMod val="65000"/>
                <a:lumOff val="35000"/>
              </a:schemeClr>
            </a:solidFill>
            <a:prstDash val="lgDash"/>
          </a:ln>
        </p:spPr>
        <p:style>
          <a:lnRef idx="1">
            <a:schemeClr val="accent1"/>
          </a:lnRef>
          <a:fillRef idx="0">
            <a:schemeClr val="accent1"/>
          </a:fillRef>
          <a:effectRef idx="0">
            <a:schemeClr val="accent1"/>
          </a:effectRef>
          <a:fontRef idx="minor">
            <a:schemeClr val="tx1"/>
          </a:fontRef>
        </p:style>
      </p:cxnSp>
      <p:sp>
        <p:nvSpPr>
          <p:cNvPr id="986" name="TextBox 985">
            <a:extLst>
              <a:ext uri="{FF2B5EF4-FFF2-40B4-BE49-F238E27FC236}">
                <a16:creationId xmlns:a16="http://schemas.microsoft.com/office/drawing/2014/main" id="{3FFE2DDF-0DDF-125D-FA1D-B85F224770EB}"/>
              </a:ext>
            </a:extLst>
          </p:cNvPr>
          <p:cNvSpPr txBox="1"/>
          <p:nvPr/>
        </p:nvSpPr>
        <p:spPr>
          <a:xfrm>
            <a:off x="6016283" y="1735138"/>
            <a:ext cx="768390" cy="317500"/>
          </a:xfrm>
          <a:prstGeom prst="rect">
            <a:avLst/>
          </a:prstGeom>
          <a:noFill/>
        </p:spPr>
        <p:txBody>
          <a:bodyPr wrap="square" lIns="0" tIns="0" rIns="0" bIns="0" rtlCol="0">
            <a:noAutofit/>
          </a:bodyPr>
          <a:lstStyle/>
          <a:p>
            <a:pPr algn="ctr"/>
            <a:r>
              <a:rPr lang="en-US" sz="1100" b="1" dirty="0"/>
              <a:t>LY CVR</a:t>
            </a:r>
          </a:p>
        </p:txBody>
      </p:sp>
      <p:sp>
        <p:nvSpPr>
          <p:cNvPr id="1070" name="TextBox 1069">
            <a:extLst>
              <a:ext uri="{FF2B5EF4-FFF2-40B4-BE49-F238E27FC236}">
                <a16:creationId xmlns:a16="http://schemas.microsoft.com/office/drawing/2014/main" id="{B4C4A2C5-0E65-F2B3-7927-53DF6005A9DB}"/>
              </a:ext>
            </a:extLst>
          </p:cNvPr>
          <p:cNvSpPr txBox="1"/>
          <p:nvPr/>
        </p:nvSpPr>
        <p:spPr>
          <a:xfrm>
            <a:off x="52241" y="5546725"/>
            <a:ext cx="478440" cy="234950"/>
          </a:xfrm>
          <a:prstGeom prst="rect">
            <a:avLst/>
          </a:prstGeom>
          <a:noFill/>
        </p:spPr>
        <p:txBody>
          <a:bodyPr wrap="square" lIns="0" tIns="0" rIns="0" bIns="0" rtlCol="0">
            <a:noAutofit/>
          </a:bodyPr>
          <a:lstStyle/>
          <a:p>
            <a:pPr algn="ctr"/>
            <a:r>
              <a:rPr lang="en-US" sz="1000"/>
              <a:t>FM</a:t>
            </a:r>
          </a:p>
        </p:txBody>
      </p:sp>
      <p:sp>
        <p:nvSpPr>
          <p:cNvPr id="10" name="TextBox 9">
            <a:extLst>
              <a:ext uri="{FF2B5EF4-FFF2-40B4-BE49-F238E27FC236}">
                <a16:creationId xmlns:a16="http://schemas.microsoft.com/office/drawing/2014/main" id="{ECED42EE-35CF-53CE-274C-25B35D9E53F6}"/>
              </a:ext>
            </a:extLst>
          </p:cNvPr>
          <p:cNvSpPr txBox="1"/>
          <p:nvPr/>
        </p:nvSpPr>
        <p:spPr>
          <a:xfrm>
            <a:off x="463549" y="6283325"/>
            <a:ext cx="2414590" cy="195261"/>
          </a:xfrm>
          <a:prstGeom prst="rect">
            <a:avLst/>
          </a:prstGeom>
          <a:noFill/>
        </p:spPr>
        <p:txBody>
          <a:bodyPr wrap="square" lIns="0" tIns="0" rIns="0" bIns="0" rtlCol="0">
            <a:noAutofit/>
          </a:bodyPr>
          <a:lstStyle/>
          <a:p>
            <a:pPr algn="l"/>
            <a:r>
              <a:rPr lang="en-US" sz="800"/>
              <a:t>Data Source: CBMA Weekly Leads Summary</a:t>
            </a:r>
          </a:p>
        </p:txBody>
      </p:sp>
      <p:sp>
        <p:nvSpPr>
          <p:cNvPr id="13" name="TextBox 12">
            <a:extLst>
              <a:ext uri="{FF2B5EF4-FFF2-40B4-BE49-F238E27FC236}">
                <a16:creationId xmlns:a16="http://schemas.microsoft.com/office/drawing/2014/main" id="{F0F5EED2-6631-828B-1CEF-571D058C3445}"/>
              </a:ext>
            </a:extLst>
          </p:cNvPr>
          <p:cNvSpPr txBox="1"/>
          <p:nvPr/>
        </p:nvSpPr>
        <p:spPr>
          <a:xfrm>
            <a:off x="52241" y="5810250"/>
            <a:ext cx="478440" cy="234950"/>
          </a:xfrm>
          <a:prstGeom prst="rect">
            <a:avLst/>
          </a:prstGeom>
          <a:noFill/>
        </p:spPr>
        <p:txBody>
          <a:bodyPr wrap="square" lIns="0" tIns="0" rIns="0" bIns="0" rtlCol="0">
            <a:noAutofit/>
          </a:bodyPr>
          <a:lstStyle/>
          <a:p>
            <a:pPr algn="ctr"/>
            <a:r>
              <a:rPr lang="en-US" sz="1000" b="1" dirty="0"/>
              <a:t>v. BUD</a:t>
            </a:r>
          </a:p>
        </p:txBody>
      </p:sp>
      <p:sp>
        <p:nvSpPr>
          <p:cNvPr id="21" name="TextBox 20">
            <a:extLst>
              <a:ext uri="{FF2B5EF4-FFF2-40B4-BE49-F238E27FC236}">
                <a16:creationId xmlns:a16="http://schemas.microsoft.com/office/drawing/2014/main" id="{B94FE86B-934F-A3FF-2F99-85A43AD0F87D}"/>
              </a:ext>
            </a:extLst>
          </p:cNvPr>
          <p:cNvSpPr txBox="1"/>
          <p:nvPr/>
        </p:nvSpPr>
        <p:spPr>
          <a:xfrm>
            <a:off x="2884940" y="5802313"/>
            <a:ext cx="478440" cy="234950"/>
          </a:xfrm>
          <a:prstGeom prst="rect">
            <a:avLst/>
          </a:prstGeom>
          <a:noFill/>
        </p:spPr>
        <p:txBody>
          <a:bodyPr wrap="square" lIns="0" tIns="0" rIns="0" bIns="0" rtlCol="0">
            <a:noAutofit/>
          </a:bodyPr>
          <a:lstStyle/>
          <a:p>
            <a:pPr algn="ctr"/>
            <a:r>
              <a:rPr lang="en-US" sz="1000" dirty="0"/>
              <a:t>78%</a:t>
            </a:r>
          </a:p>
        </p:txBody>
      </p:sp>
      <p:sp>
        <p:nvSpPr>
          <p:cNvPr id="22" name="TextBox 21">
            <a:extLst>
              <a:ext uri="{FF2B5EF4-FFF2-40B4-BE49-F238E27FC236}">
                <a16:creationId xmlns:a16="http://schemas.microsoft.com/office/drawing/2014/main" id="{89EF19CD-75B8-F26F-35F5-A45D1B8DF1F8}"/>
              </a:ext>
            </a:extLst>
          </p:cNvPr>
          <p:cNvSpPr txBox="1"/>
          <p:nvPr/>
        </p:nvSpPr>
        <p:spPr>
          <a:xfrm>
            <a:off x="3643801" y="5802313"/>
            <a:ext cx="478440" cy="234950"/>
          </a:xfrm>
          <a:prstGeom prst="rect">
            <a:avLst/>
          </a:prstGeom>
          <a:noFill/>
        </p:spPr>
        <p:txBody>
          <a:bodyPr wrap="square" lIns="0" tIns="0" rIns="0" bIns="0" rtlCol="0">
            <a:noAutofit/>
          </a:bodyPr>
          <a:lstStyle/>
          <a:p>
            <a:pPr algn="ctr"/>
            <a:r>
              <a:rPr lang="en-US" sz="1000" dirty="0"/>
              <a:t>80%</a:t>
            </a:r>
          </a:p>
        </p:txBody>
      </p:sp>
      <p:sp>
        <p:nvSpPr>
          <p:cNvPr id="23" name="TextBox 22">
            <a:extLst>
              <a:ext uri="{FF2B5EF4-FFF2-40B4-BE49-F238E27FC236}">
                <a16:creationId xmlns:a16="http://schemas.microsoft.com/office/drawing/2014/main" id="{78917F0D-54F1-D97B-9DE6-C7778D181033}"/>
              </a:ext>
            </a:extLst>
          </p:cNvPr>
          <p:cNvSpPr txBox="1"/>
          <p:nvPr/>
        </p:nvSpPr>
        <p:spPr>
          <a:xfrm>
            <a:off x="4409843" y="5781675"/>
            <a:ext cx="478440" cy="234950"/>
          </a:xfrm>
          <a:prstGeom prst="rect">
            <a:avLst/>
          </a:prstGeom>
          <a:noFill/>
        </p:spPr>
        <p:txBody>
          <a:bodyPr wrap="square" lIns="0" tIns="0" rIns="0" bIns="0" rtlCol="0">
            <a:noAutofit/>
          </a:bodyPr>
          <a:lstStyle/>
          <a:p>
            <a:pPr algn="ctr"/>
            <a:r>
              <a:rPr lang="en-US" sz="1000" dirty="0"/>
              <a:t>71%</a:t>
            </a:r>
          </a:p>
        </p:txBody>
      </p:sp>
      <p:sp>
        <p:nvSpPr>
          <p:cNvPr id="1060" name="TextBox 1059">
            <a:extLst>
              <a:ext uri="{FF2B5EF4-FFF2-40B4-BE49-F238E27FC236}">
                <a16:creationId xmlns:a16="http://schemas.microsoft.com/office/drawing/2014/main" id="{1D776779-F68D-533B-28CA-1C5DD39C6EF6}"/>
              </a:ext>
            </a:extLst>
          </p:cNvPr>
          <p:cNvSpPr txBox="1"/>
          <p:nvPr/>
        </p:nvSpPr>
        <p:spPr>
          <a:xfrm>
            <a:off x="5175885" y="5781675"/>
            <a:ext cx="478440" cy="234950"/>
          </a:xfrm>
          <a:prstGeom prst="rect">
            <a:avLst/>
          </a:prstGeom>
          <a:noFill/>
        </p:spPr>
        <p:txBody>
          <a:bodyPr wrap="square" lIns="0" tIns="0" rIns="0" bIns="0" rtlCol="0">
            <a:noAutofit/>
          </a:bodyPr>
          <a:lstStyle/>
          <a:p>
            <a:pPr algn="ctr"/>
            <a:r>
              <a:rPr lang="en-US" sz="1000" b="1" dirty="0"/>
              <a:t>71%</a:t>
            </a:r>
          </a:p>
        </p:txBody>
      </p:sp>
      <p:sp>
        <p:nvSpPr>
          <p:cNvPr id="5" name="TextBox 4">
            <a:extLst>
              <a:ext uri="{FF2B5EF4-FFF2-40B4-BE49-F238E27FC236}">
                <a16:creationId xmlns:a16="http://schemas.microsoft.com/office/drawing/2014/main" id="{8B4591AF-8E3A-5D0D-8B98-983B9B949092}"/>
              </a:ext>
            </a:extLst>
          </p:cNvPr>
          <p:cNvSpPr txBox="1"/>
          <p:nvPr/>
        </p:nvSpPr>
        <p:spPr>
          <a:xfrm>
            <a:off x="7245873" y="1309412"/>
            <a:ext cx="1484854" cy="600164"/>
          </a:xfrm>
          <a:prstGeom prst="rect">
            <a:avLst/>
          </a:prstGeom>
          <a:solidFill>
            <a:schemeClr val="bg1">
              <a:lumMod val="85000"/>
            </a:schemeClr>
          </a:solidFill>
        </p:spPr>
        <p:txBody>
          <a:bodyPr wrap="square">
            <a:spAutoFit/>
          </a:bodyPr>
          <a:lstStyle/>
          <a:p>
            <a:pPr algn="ctr"/>
            <a:r>
              <a:rPr lang="en-US" sz="1100" dirty="0"/>
              <a:t>$49 BI100 CBM Converged National offer</a:t>
            </a:r>
          </a:p>
        </p:txBody>
      </p:sp>
      <p:cxnSp>
        <p:nvCxnSpPr>
          <p:cNvPr id="9" name="Straight Arrow Connector 8">
            <a:extLst>
              <a:ext uri="{FF2B5EF4-FFF2-40B4-BE49-F238E27FC236}">
                <a16:creationId xmlns:a16="http://schemas.microsoft.com/office/drawing/2014/main" id="{36AEEB2A-607D-079C-15B4-9B20AF2B9B13}"/>
              </a:ext>
            </a:extLst>
          </p:cNvPr>
          <p:cNvCxnSpPr>
            <a:cxnSpLocks/>
            <a:stCxn id="5" idx="1"/>
          </p:cNvCxnSpPr>
          <p:nvPr/>
        </p:nvCxnSpPr>
        <p:spPr>
          <a:xfrm flipH="1">
            <a:off x="6710819" y="1609494"/>
            <a:ext cx="535054" cy="40532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39678976"/>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33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d.&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7&quot;&gt;&lt;elem m_fUsage=&quot;5.55994444064553761109E+00&quot;&gt;&lt;m_msothmcolidx val=&quot;0&quot;/&gt;&lt;m_rgb r=&quot;6E&quot; g=&quot;A0&quot; b=&quot;FF&quot;/&gt;&lt;/elem&gt;&lt;elem m_fUsage=&quot;2.66252134349420366277E+00&quot;&gt;&lt;m_msothmcolidx val=&quot;0&quot;/&gt;&lt;m_rgb r=&quot;CF&quot; g=&quot;DF&quot; b=&quot;FF&quot;/&gt;&lt;/elem&gt;&lt;elem m_fUsage=&quot;1.21532408481885134677E+00&quot;&gt;&lt;m_msothmcolidx val=&quot;0&quot;/&gt;&lt;m_rgb r=&quot;00&quot; g=&quot;13&quot; b=&quot;C7&quot;/&gt;&lt;/elem&gt;&lt;elem m_fUsage=&quot;2.54186582832900132001E-01&quot;&gt;&lt;m_msothmcolidx val=&quot;0&quot;/&gt;&lt;m_rgb r=&quot;66&quot; g=&quot;66&quot; b=&quot;66&quot;/&gt;&lt;/elem&gt;&lt;elem m_fUsage=&quot;1.58572398467337366545E-01&quot;&gt;&lt;m_msothmcolidx val=&quot;0&quot;/&gt;&lt;m_rgb r=&quot;C0&quot; g=&quot;D1&quot; b=&quot;FF&quot;/&gt;&lt;/elem&gt;&lt;elem m_fUsage=&quot;1.64232032682606748919E-02&quot;&gt;&lt;m_msothmcolidx val=&quot;0&quot;/&gt;&lt;m_rgb r=&quot;00&quot; g=&quot;68&quot; b=&quot;D2&quot;/&gt;&lt;/elem&gt;&lt;elem m_fUsage=&quot;1.33027946472911474951E-02&quot;&gt;&lt;m_msothmcolidx val=&quot;0&quot;/&gt;&lt;m_rgb r=&quot;00&quot; g=&quot;2F&quot; b=&quot;85&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5pRjxANAXwPKT32ztXzo4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MXbpnkWDYDjEOTKt6v7Gi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venM6pHMapM0.6sNlmSqo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QD0F0GIxI1obcEiEOG6AG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bCQgDQkA0KNgcTA7HBvqu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SD_DUM4RGNviJnkp_N_Kb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75J9nX1uxd2_6RIXVF2BX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7lsstiyNFXkCdSwotUOyj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QkcGFiav.bPQC450KVudT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3ryEhyyZ32_lKdL0.PrHb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jo6_cnUKcxZsD7jr8qe46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RQohPCePhXlQgpkAfOqTM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4Pm75Wfjr.SbuuWxIMfVo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r_p5B8.SUYqcZ2QN75VHt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r55HyDpGmcCs4_RnGnHl9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pPoZoHocIPqGj2gnaIHpN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LXogucJ.yJfTHLT.U3wce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qSfGDLp8ovFDQD6FRq4B6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hcRleTPxEO.mqdl7.PU4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Dqr0ATfYaNNX9ScKJSVyg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j3xX8IZZDTtdBUO8CdypA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KqiYGiNqPG2fdJ5KvzS0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eCU9PSSXUkcbv4.sfxU3Z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ESAStpmPc4iLiGEMVSO71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yTQBqdsyHw149GTC7xy5q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PEympMw59.X5GyDAG7Zu0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42SLqnfjOeDTo6GOMJJWL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VhFERJOtdM1Puk7C32W3F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OBEeuvyZyspqvdEbiEBKT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LzwHrwaMzLhmw6Vl2yhwj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UGuZ9.MHrVyoBHTDHhM1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5xH0tZJT0_ibI_a97DBp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TWJPCD3EtVSkc.QRreKyk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82iAydS7mijLYjeCqudT9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iYc4TsnAoQvhkPtjjmFq6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sckEkyDcTi4490Wy9nkpF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9HOHiJlxOOUStCazsH4Pc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L3oNwyjkCdRsIfQYOWOMY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5gEPv7XCjJ3VvgE3C.ID0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EtecAZ9qJhMpzSPdAbpHl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LErtFfiRNAX_f8TNEGbxm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ogGhx2XpAaJn7Vh8b0Gdw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ZF.sdJLn8DILjGoa8JVST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2oOAbcvpvNp7Sf4C.Vi7K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amuaaeUVGDnH5d_TV02Ax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nyxzGZwOPPlbNfw96k4uf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EJoLjcbokm2uaq510Wa.W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kF1Ks69cinL31q3E8aV.W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3P5nCtojpvIVurUaKPSY0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1xp2GMvPpRm4ThtnUT8b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A4gfWUdnrAzmTi5P6yqN_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S1xp2GMvPpRm4ThtnUT8b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uaKYOkfPqxSYnyvAGjErj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cQaFqXc7OYMxe1cd4qWAe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VjcepY35yurDRw9rRG_MB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Aa8eEA2rodlxO8ToZHxdq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xhSYxNAfcMhklHAPBXG1d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qDuOTplVhLxXB7NsTrZmJ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tBmbeCamirVH03V_mphI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P57fEDe7OUs9eHGj.j7XZ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yD97ZDJX92XSf3lgdNNrd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SJ9T1XcjDxX4K5ySai4_m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cMPeVytWScX0XISk5LxMo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I0BuOwW3A.k2xo9H4.ZVH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TRjeuACsxYYeyGFB8OS7z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N_d3IIX2OG3sP69dhjeL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o3ssSPOlJQykVgmZS2epF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v.eKZTSLpkLesxTuEdXj4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_EVsk3WHGpPMyGsxCu32S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tj72jMMXjS1BeZiWrARP0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CjpzjdHpVs4ryIHlGtHP7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WemvA5.KW3ZGU..JFUymx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XE.HW6qN4vkkNHSDCo.tX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UQjanPzOKOi6Qk6kY1YK7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rBQtckgBRHaIzB5nEUbTb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XZQQUMkVy56PSqmqvyesD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wR_d4jn4fFEq31izUxLvW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Ko2oQRyxLiAFzgzaV_r3N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QaR7S21hsh2GLd4ciHJtd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c.F499Gor0PT23t1k6dQ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PUmbIbSG7hXvuadQwVhCo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fTaP4RjA9VXP2fIZBrv3A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Aa8eEA2rodlxO8ToZHxdq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WemvA5.KW3ZGU..JFUymx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q4WSjetb74bGpLi6Woqx.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WIcEQ9SAJTfwckYpqzZLP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iciPik8wLefMYyLj.nCMm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QYW_sVfklH0c_KRsor1V9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rIkSOK9Pdhn5zCz8tEXia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9DvyecyRk4GCu_6.HclXC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cnwtZA35F_bvzLUhsqCXJ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sEQ2ylrkj5WzMpswIOpZm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xAIpjHdtnkH7CEf7Npug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xhSYxNAfcMhklHAPBXG1d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gfa4OOiRp1j0_DfI2hnHX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ZWIJHNnydObdbzenZ3oir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S1xp2GMvPpRm4ThtnUT8b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gcmUsmzMaDjv.L5I367C0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8t5iahXO5rBeYwab1F1UB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TO4XgBckm9XvH0rBGMLEp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WemvA5.KW3ZGU..JFUymx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Aa8eEA2rodlxO8ToZHxdq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xhSYxNAfcMhklHAPBXG1d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qDuOTplVhLxXB7NsTrZmJ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qDuOTplVhLxXB7NsTrZmJ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tBmbeCamirVH03V_mphI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9HSPEURNlEzf3aAt1VoZl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nhSZmo.5k2bJJJcDj27qp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msDWga7oA4f9XYAb.AR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6t597WWkmoaxksuccb3VZ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Gx8nedMkAlK3UmQvmtjq2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o5SD3z4tFGGvZqDX9xgsR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GgRCb44QtVkfmuBboobd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1hbOvXK.Sxh8Lg9FAtIhp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tBmbeCamirVH03V_mphI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_EVsk3WHGpPMyGsxCu32S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tj72jMMXjS1BeZiWrARP0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CjpzjdHpVs4ryIHlGtHP7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XE.HW6qN4vkkNHSDCo.tX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UQjanPzOKOi6Qk6kY1YK7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snuuYckYztJUuuJ6vFjci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3WCwZvNV7ULTuakTFX3Jw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nV_wXQZ987CUQrYfVUElO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nBNCcKeUOnxTGGiBNRPOR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bOR25Sq_U491hq_FZ9ggd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9HSPEURNlEzf3aAt1VoZl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4FsEsgXrE3HkfvPn8iOYf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xNJ_kohydN6.YWmNVBnFM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lEdL.xceVKFk2TetQbm.h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S1xp2GMvPpRm4ThtnUT8b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yD97ZDJX92XSf3lgdNNrd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xhSYxNAfcMhklHAPBXG1d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qDuOTplVhLxXB7NsTrZmJ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tBmbeCamirVH03V_mphI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WemvA5.KW3ZGU..JFUymx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nhSZmo.5k2bJJJcDj27qp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9HSPEURNlEzf3aAt1VoZl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k2rE_68tFS62tAJfB5g1t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nhSZmo.5k2bJJJcDj27qpg"/>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msDWga7oA4f9XYAb.AR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FD82uRoOc0G2TVf_zzjR2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2eB2Q.bxbCvwcquGZDDwl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GKJ3FTiTE5TBMC4xLgEl2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gIdi3Za97sWkQWB_7uWNm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G2_YB3yvCDsWWY3tTMlYL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ct4WrSsvZdnPF_vqmVtZj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msDWga7oA4f9XYAb.AR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s4jdTErsoAWIxAc9LA924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eAITK40LUP_YZ_sBAGSh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6QPGR6_BBWJ4IFanaCKvs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q3JavcOdqUy48ZmGDDtqa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yEQl6aoJJdKeb_elQJfwF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DvvlqR4Dki4ItVtkaqZxw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uii8nbfGYnHwePxIN4QDd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Ke.ao7i_YBPfbIunEg6Hzg"/>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jmz06sb02Mgif2C4FYJvR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xxqFmVrmjGGFIlxwW1nOT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FD82uRoOc0G2TVf_zzjR2Q"/>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SBExBsmUzgiio5bBuWzzz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6XJI5KSV7eQfgNqIw9x4a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uoRypX18zIBNDh6Jv.aH2g"/>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4a8Vt2tLmx1ww27iqH7qng"/>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p7xerpQJQcVpJL8ZKWHTD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QZ59becxyYCiruShYPf8x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VF6ProrTa90rDwj5Xn5ja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dm.hWrzKfRvQOtzQQgLME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DD0Si_Mv.CRmpIwfLjkEy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Aa8eEA2rodlxO8ToZHxdq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2eB2Q.bxbCvwcquGZDDwl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e7qv1HDjfovkMojK1ZGmF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pypa.CBz6eLYEn5GZxkkp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dlUmFby7GyX0FQtJS3O6I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nfJaR4fBt0SI.bU.El5Op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qi_QD9DUOIRwr6faVuB1V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oxsXkYjhhxYdXOD7ixGAIg"/>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1C9fZPg8AyInq7h1XPUaU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xbmkCmhycs1qU9.iraEqn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o8hISxdFoeyhEauWrE_Kaw"/>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VBXTKCzQOTVtFQun3sVlF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GKJ3FTiTE5TBMC4xLgEl2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ShQ5x.D1t5nm5KnlJ2TDI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tUjKqJg2rwI_qqHFyU34i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GE47B3d.B_g0NXcj50PQX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vOwe.4BLJlyIzwm_KIjFY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FEdMtvIc6c9DGOjZ3B0CN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kvhIi8Kffn6eU5_8zS4kn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46EdgietU.RDZY9tcJKLt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AfkL6Jxx2FXPAdrRkydGr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KOE9kWnhOW3gFXrxjenBf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Ou7OcA4lh0VqxibYSLdBc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gIdi3Za97sWkQWB_7uWNm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8IeywQyrZnDoOGMb9eWb8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nuR41YMj7Y_YlFiQBjm4cw"/>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_zlVoHYXwcoTrgxynoBn.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jiGJhWR3zq6BWaMs0MIfX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7tcsWVKZ.shIFqeWV9Jmh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0RW4AKfYn_mv0z8..CMJl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sa9QFObkIi7LzfzRFzKVA"/>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qwmFYq_V7BPDCwFsn0RZkg"/>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xqtGfWvqBEOgYd4QJDObI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7PsSz4L7DZhU.JvR7l.gRA"/>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6x51UkmRG7owlUDxow86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xiwCk9zWWyUFTNwo9Dqiv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N0k3OxRUH_5I6omItK9Xhg"/>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0NI90NrFSNeK.YzqMGLo5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uhGiFtGkC1ozFECVF7tj5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_5Atm5oezKrUhr44V.5sRw"/>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Q69c7ItuYheKHKMroQFLag"/>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1iOvgCkwl_fTkrGqWS5Ds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uNqwm.oeP_tdtoaXGtpOdg"/>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XDIhe.d1qHfgKDaErberd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ct4WrSsvZdnPF_vqmVtZj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W5O5EhhFBSZW79KEJFXDkg"/>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7pNNCR15C16XmU6ipRBWN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IoOn18G8B_oj.jY9TpzxL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VXNOMVP_zV3rvjufjVo0vA"/>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iyxr8OHUfdoVuPq10vvsY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wh0eKNKZvsVIlZOZgacmsg"/>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OzDNILQ.JH2hesXRWQzZv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rwNOXHA_FBJNYj_eW04X_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Di8U.sbx2tfNT5KBX5vTBg"/>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EhFTlpnYbgXceIdBNUme7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s4jdTErsoAWIxAc9LA924w"/>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oFhOztQezlliBW4TobYTig"/>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Bcnq7ctgQ94zl7_CwpOIu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X9LJZA5LCX5WM.d3XYOzXg"/>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4TdaAkagbbhyGVSm8srDb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ChzAilU_n.WviJ8TW2Dmw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l0TP3qBKTc7y4VDYyRNlC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gZi.ibMpd8ZWkQ7yobisM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pony.QrGT_IRp4l_0Id.Vw"/>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WkKc2bGBjCDMuYR_uBREcQ"/>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XAo_x_dvquWaXKTVDS57j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eAITK40LUP_YZ_sBAGSh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GttKr2I7RlOu0plisQ9bT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snWvU_gTZjNEGZ.rhHHgxQ"/>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45ak7_xQZTT9aY2IXpdzT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OMEa8DupANasEPQ6RiwiR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fuEakPo2hz04lwRl9aPiy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Ej4whvlMKPjJuoGPdZGTo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bGhkJ6pHPrAsBmCnr3cS2Q"/>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_K1wIVUoUsb8iIys2qCrQ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FUFp1ex6zWkUJKX9AdJuL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ZgS21AS3YcDcaAYUty2cs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6QPGR6_BBWJ4IFanaCKvsw"/>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mi.5OuOegbCyfEUZJ1CDy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E5PPWmHApsEkp_JipENzzA"/>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X.X_eRf.3Eb4EKtOfIRXg"/>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dqxnT3qIxsbdcjEJfp3OS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TDRlEqJTyz0BYIMVYA0gQg"/>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2ZCw0VUsewpFJlYc0fUn3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yJ9hJFMmy8z7J2oQh0ETKw"/>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2DSms0Yrw67MbHzige4A6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xmwg.msgZM2YDxVXzV_j.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tiVQNHFKCwp.Iqf4082CN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q3JavcOdqUy48ZmGDDtqaw"/>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f98d05iJ55bBIU90wVRuqw"/>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gqFcqb1B8r7dG3iSxWlJP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akD9OQPaz56SHKdAkQqMZ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38Rx3JMAuqZ1c013cSifwg"/>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Y5guFXMQuR9F4CyYLfk5k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wkdmfG4wrpeOk8iSEJ95Iw"/>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cf.fHogk4St5I0JKB3bLFA"/>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9apq6ZMefy1X5OmvSvnx5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7tcsWVKZ.shIFqeWV9Jmh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yEQl6aoJJdKeb_elQJfwF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87nXoMb1ZK5Y205u1Tvb9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A4Z9mhgTKXp0iQ_xb8Uyq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KBsizwx.MtY8uIyEoQKuB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sa9QFObkIi7LzfzRFzKVA"/>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qwmFYq_V7BPDCwFsn0RZkg"/>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BU9BwSALw2J36BmY9Fp7Cw"/>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h6x51UkmRG7owlUDxow86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xiwCk9zWWyUFTNwo9Dqiv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rBBIVrBcCyYLVEx7iyD6Uw"/>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0NI90NrFSNeK.YzqMGLo5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DvvlqR4Dki4ItVtkaqZxw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uhGiFtGkC1ozFECVF7tj5A"/>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096PddrfJ8rG3_NO3vdSqw"/>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Q69c7ItuYheKHKMroQFLa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1iOvgCkwl_fTkrGqWS5Dsw"/>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8iyxg1PAwc0M7AdAy3zIu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XDIhe.d1qHfgKDaErberd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W5O5EhhFBSZW79KEJFXDkg"/>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G_MPRt2QYrNVGMHjkZdEV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IoOn18G8B_oj.jY9TpzxL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VXNOMVP_zV3rvjufjVo0v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uii8nbfGYnHwePxIN4QDdg"/>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5rOQbm73dnpwM4oC_WliO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wh0eKNKZvsVIlZOZgacms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F2ORTqZLPUcEg4Ujlxuvzw"/>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Di8U.sbx2tfNT5KBX5vTB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EhFTlpnYbgXceIdBNUme7w"/>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7rtwDX.YVXH18ztO0KX8_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OzDNILQ.JH2hesXRWQzZvA"/>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Bcnq7ctgQ94zl7_CwpOIu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X9LJZA5LCX5WM.d3XYOzXg"/>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EHf6d_EIbCQtsr0Ndpo.c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Ke.ao7i_YBPfbIunEg6Hzg"/>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ChzAilU_n.WviJ8TW2DmwA"/>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l0TP3qBKTc7y4VDYyRNlC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tHVxaBGwzD6RpAUsfHq6WQ"/>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pony.QrGT_IRp4l_0Id.Vw"/>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WkKc2bGBjCDMuYR_uBREcQ"/>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Z9wtutCpFjJhqWoyDIC3Dw"/>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GttKr2I7RlOu0plisQ9bTw"/>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GPY91sTDT3VMIF8FPq6FkQ"/>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lsXbK5rQ_O7yJumEmBrHag"/>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D.6PlXjGPuyt6ME_VGWHd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jmz06sb02Mgif2C4FYJvRw"/>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fuEakPo2hz04lwRl9aPiyw"/>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Ej4whvlMKPjJuoGPdZGToA"/>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bGhkJ6pHPrAsBmCnr3cS2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_K1wIVUoUsb8iIys2qCrQA"/>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FUFp1ex6zWkUJKX9AdJuLA"/>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ZgS21AS3YcDcaAYUty2csQ"/>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mi.5OuOegbCyfEUZJ1CDyw"/>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E5PPWmHApsEkp_JipENzzA"/>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X.X_eRf.3Eb4EKtOfIRXg"/>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dqxnT3qIxsbdcjEJfp3OS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xxqFmVrmjGGFIlxwW1nOTw"/>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TDRlEqJTyz0BYIMVYA0gQg"/>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2ZCw0VUsewpFJlYc0fUn3A"/>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iWQp7UCVAxuSfW3IVpAWhA"/>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2DSms0Yrw67MbHzige4A6A"/>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xmwg.msgZM2YDxVXzV_j.Q"/>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tiVQNHFKCwp.Iqf4082CNA"/>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f98d05iJ55bBIU90wVRuqw"/>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gqFcqb1B8r7dG3iSxWlJPw"/>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akD9OQPaz56SHKdAkQqMZw"/>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38Rx3JMAuqZ1c013cSifw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SBExBsmUzgiio5bBuWzzz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Y5guFXMQuR9F4CyYLfk5kw"/>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wkdmfG4wrpeOk8iSEJ95Iw"/>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cf.fHogk4St5I0JKB3bLFA"/>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9apq6ZMefy1X5OmvSvnx5g"/>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r4l16DlxYr1dxO8zsiBvYw"/>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1XY0w4ZFmjaTpDMGdoBcbQ"/>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AYXJXVor7DrpV0D0lslFCw"/>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luoPGt7ZvsGPisLr2pvhpQ"/>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cmqOB7tfAz6ciK.t8J2Ds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P4horF3_111FTBjyDg_vvw"/>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jmJjhrGYJyC6eByD.ipXKw"/>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hot2qAzhoXFsmbI_tK7cvw"/>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ivxWPRPHrvAxF351xzMJAQ"/>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vgOtxNJ6K8HusdPwux86Sg"/>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B4mC8Srvs7cUlgYPq8GFZQ"/>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y6cXAgMYW5lYg.ItQUAj1Q"/>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QdA83oS7CRrIRye2VLtWiw"/>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ndYWjap7z1ocBnyn2DYBFQ"/>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ZoPHLMu24Nwqfqp9_e_QDg"/>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1Oj7c9VMg5xYU7.zAE5uO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ShQ5x.D1t5nm5KnlJ2TDIA"/>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edkVLC2UKIpP9jQ5edMPrw"/>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iBvyNP62jljKoEB8u32TCQ"/>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L2wkzZdWnSDX62LZ8Hy2aQ"/>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YfkZ92EU37Pma_I5CWtdmA"/>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_ZLXETTgH6B5dxhlxCMCwg"/>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SRdsJ_tN5lHNKuf4hI6bHA"/>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hTV.BAiAcXjuSHQPmF_y7Q"/>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JITM6O3sm6YH0Z6_cVvFtw"/>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ZaQsuz9MMawIvrcS7F9.Ew"/>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XadmxMDon_czXxA_.265K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tUjKqJg2rwI_qqHFyU34iw"/>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LYT2X1QI4t20ORF.1pQ8g"/>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7XpwgqRN_T8D0DVWC26U1g"/>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CxGstdbgr5oVNE6_YTmfJQ"/>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wF43Tb1Cm.U4xWbvMr3e1w"/>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ODPBGZcwfThjzsf8V_gTiw"/>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gzu1BJHeSx2fyPnsmiQQVQ"/>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41kIGqK5SYW8TEqbSLVWvQ"/>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cEQybVBiZqKKmmPdPBR0AA"/>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fOVE37PpVR2_WFRbJ.b3T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GE47B3d.B_g0NXcj50PQXA"/>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IEVchhgCnDSCdxTd06VyOQ"/>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UXIe6cZN5kaPvRrU1r1O8A"/>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9sB0vFf0O_GlHgA5Fk_FiQ"/>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yIWbCmhxnUzb7JtdHnHkSA"/>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GJw1bmaOH7QFjrkkaW1ZOg"/>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LZmOJSiAqFn076Qt.cYViQ"/>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oyeoKjoqYkA6D2m3Fw.tgQ"/>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Rq3vRM_eBJy_3NURAvA6BA"/>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KUN.9ODdIi6FuCg1zoGJWQ"/>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1r.wNwDW1ZZEScdnP346f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vOwe.4BLJlyIzwm_KIjFYg"/>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wDzhWJrFCaUzgfCeQFH3sw"/>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75J9nX1uxd2_6RIXVF2BXg"/>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xjYDKCRpxSLGevkXMEW8Ug"/>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Z2iPVJfSRzCmQTyizMJLog"/>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Mc5h070D4_Qf2MMlu35HNQ"/>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JRBK7rN9BQhqOI1_H41Tfg"/>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RQohPCePhXlQgpkAfOqTMA"/>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z8oUMpcemHdMEGOJum2hjg"/>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GQs6oF3IxjoMrZf3RWnsSA"/>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Dw6DaHnDq_OfgKGG_XuRz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FEdMtvIc6c9DGOjZ3B0CNQ"/>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JmyG2nG2MWN.GUU6LuMpvA"/>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BWam_KoA_fM8kKB2hOyZFQ"/>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mnDe6izCG.rGcp4K3..pJQ"/>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7bMEdInyx3BtuWoiViWWFA"/>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KJk2PELEK3lO2J_RBqh03A"/>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gkuUUpK5kZkw9coo2ygtOA"/>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Vxn38Sfx9CSGFecbif2cjA"/>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2.N.uSuqigDnozGwkumbVQ"/>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1UpZ9UEqBByh9tsLnQvsMg"/>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I7HNYhBzniHj6YUVWAKju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kvhIi8Kffn6eU5_8zS4kng"/>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7.HzR8cAPJ_GPkuAyZ9LPg"/>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UeYL18kluHKq67neaugOtg"/>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9ISWimmBmWtMV8BlyqiJtQ"/>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TPCUh4BU53mxoPC.O6ldoA"/>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gpyK6oYhsXR57MgWIq77Lw"/>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Pc8x65oFZw9xz9GZOWBoXA"/>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TimvBgY_Rn5uXiswsRLetw"/>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IOCVUEM5cdoZo902UMGHGg"/>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J6wPJ.avWRne.l4ioOTwDg"/>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Pry5yki5cq6d5X.gGTUov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46EdgietU.RDZY9tcJKLtQ"/>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GnEp7kfmwLrefGCOP_ETkw"/>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PgDRnZX5xNnnhR9spXoBPw"/>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ZJ3zHu47yP6MYKwtgkSZdQ"/>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so75myQ2c0mMCh6rGJeU1w"/>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S2oG_wDdDB.IcgNMxo6S2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5m4WvktUvJad8wisJJ_Apw"/>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s6j5LBw39F5pNu87NjH9mw"/>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GeK6FSdrX226UdhAg7wdWA"/>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9HOHiJlxOOUStCazsH4Pcg"/>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L3oNwyjkCdRsIfQYOWOMY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AfkL6Jxx2FXPAdrRkydGrQ"/>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5gEPv7XCjJ3VvgE3C.ID0A"/>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EtecAZ9qJhMpzSPdAbpHlw"/>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LErtFfiRNAX_f8TNEGbxmw"/>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ogGhx2XpAaJn7Vh8b0GdwQ"/>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ZF.sdJLn8DILjGoa8JVSTg"/>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2oOAbcvpvNp7Sf4C.Vi7KA"/>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amuaaeUVGDnH5d_TV02Axw"/>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nyxzGZwOPPlbNfw96k4ufQ"/>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EJoLjcbokm2uaq510Wa.Ww"/>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kF1Ks69cinL31q3E8aV.W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KOE9kWnhOW3gFXrxjenBfA"/>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r7t4VyBTSUUazule.0HdxQ"/>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2XkKgDSFdf1VSP3gJC3VpA"/>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MFUue9jOr6LIleNVVIL1kw"/>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2eojDZSLxpAyGO7J3_jEpQ"/>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qaN_mDlxgQ_IygmHL3YhCA"/>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Yfy7S2jSGcZF16NrscNeGw"/>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MuO3X3KwrhH4.ADBP9N7lg"/>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is3pDfBQeWvdFiLubtxBSQ"/>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cc4x3m3jhWuAhbYzFbIRIg"/>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IaNlY.ZJGZkMPmj4gmAaO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Ou7OcA4lh0VqxibYSLdBcQ"/>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r7GYtDMtTRE0VJrzwLP7tg"/>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qyJhBg.uFQjpidUI3kyjJA"/>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XDwUYCPPhZetKQPwsGF4kA"/>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vdTETIWgINBiGyHJRw.lZg"/>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XXSqaVG8eQpS7GruUOoGjQ"/>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uIFM6YXvcGrHBa_D_RRDbA"/>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lAOK1cDuYUYRaQF5Qq7T4A"/>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TE4WSOpPGK4CmIYpPn1MHA"/>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3pIkrzb0TYc23MqHWWFxw"/>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Fn.g0to8Mlel7waYlhHdC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8IeywQyrZnDoOGMb9eWb8A"/>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ABvDakS65HGfsJDoI7JEZQ"/>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DEo.g_ClDqAsopFvhtw3og"/>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jR1tbWZMwJj6VkwuKIIjCA"/>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hvvwmtgdVkAAAtfsbvvHxQ"/>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fdvL2BPuIqXVV0ivWuzlow"/>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p5qX4VQRbGD7dOMjBUhMgA"/>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ZSM8ymZ4oHbkhxRDR34ROw"/>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fOVE37PpVR2_WFRbJ.b3TQ"/>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4PFnuvUMySYyCZyfM1YMB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nuR41YMj7Y_YlFiQBjm4cw"/>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svy3EKwrQhow1QUwkVT.CQ"/>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E1X0f35WmU_EGRhKnPRmEA"/>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zybUt6NNdTnoJ5YXBG52w"/>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JiPIzBUrd8UnBijhlcOnYw"/>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dlVzA7x9zIVkqsXPYBlvBQ"/>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GB69rrmmFxUBCSfiyJ9nLQ"/>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lz37YzTLvO0gX0Wl0CC1jw"/>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75J9nX1uxd2_6RIXVF2BXg"/>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zuj_R3dc4xgfsG3J4QqXPg"/>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eUBEzs4i1YC1qZCfTe.Ov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_zlVoHYXwcoTrgxynoBn.g"/>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DHNVQHhTCINNSvTWzrRk_Q"/>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HbRGb9Jq0r2d4IreBvWuRg"/>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RQohPCePhXlQgpkAfOqTMA"/>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hb_caMQw3YFLnVQMnKjnOw"/>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sE4qIsadDPS87XzknJSAuQ"/>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Z3qyVqo96R0x8MnEJl5wmQ"/>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pVRnzmRuQ5w.Oav_ezHngA"/>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HQXx5_KDS3F8os3E4WQtkg"/>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HxfQwC8gYZ4J_zhjzi.j0w"/>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gjTT3HDesnLYF4HUkRYnw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jiGJhWR3zq6BWaMs0MIfXA"/>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0ml0Bg25ReaIg3nbyH2MzQ"/>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_Y4s31coIsOuPp43l00gbA"/>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UNFNzWlmo6e_CxT6dTRjSQ"/>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2.N.uSuqigDnozGwkumbVQ"/>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HaRJsITtmLL0Y2w17s9o4A"/>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8QeZcw7C.SwshKdmCzqyWg"/>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UYrRItjOKgyAJkQEBQo.kA"/>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ZerPvWVCFbAVEsdWTif.aw"/>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_R4K2qxJnBVDY28vqKZ6cQ"/>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TPCUh4BU53mxoPC.O6ldo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QkkF2Vgz98zyy5PvonuzDw"/>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N85vcWY982Z8bkxuIgWvAg"/>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H6TsiT2pDdzUT8RjCLZAhw"/>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LHXyD.IKdksE._X1hnLCog"/>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O4yL6pfN2CVg87qC3iTgNw"/>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GnEp7kfmwLrefGCOP_ETkw"/>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GeK6FSdrX226UdhAg7wdWA"/>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y2UQGPhzjDmfahIOXfzJgQ"/>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rh3dBZhIXZG14zVhFGxN0g"/>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ZH4P23Ut_qiquXYyN2Ow.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702n_cEbQolQ.5CrrigdCQ"/>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Pry5yki5cq6d5X.gGTUovw"/>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lBUi4D3uEp.jClDDqntstA"/>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gMMBYt7WBHWLZQr4_wFVfg"/>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9HOHiJlxOOUStCazsH4Pcg"/>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L3oNwyjkCdRsIfQYOWOMYQ"/>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5gEPv7XCjJ3VvgE3C.ID0A"/>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EtecAZ9qJhMpzSPdAbpHlw"/>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LErtFfiRNAX_f8TNEGbxmw"/>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ogGhx2XpAaJn7Vh8b0GdwQ"/>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ZF.sdJLn8DILjGoa8JVST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poiyu_n.8JChilZBWEnrQw"/>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2oOAbcvpvNp7Sf4C.Vi7KA"/>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amuaaeUVGDnH5d_TV02Axw"/>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nyxzGZwOPPlbNfw96k4ufQ"/>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EJoLjcbokm2uaq510Wa.Ww"/>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kF1Ks69cinL31q3E8aV.Wg"/>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nRRLAVqtBWAPuHbwlemtlg"/>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zNdmqZvYtBn.IXnNcpoBPA"/>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r7t4VyBTSUUazule.0HdxQ"/>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2XkKgDSFdf1VSP3gJC3VpA"/>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MFUue9jOr6LIleNVVIL1k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aknpDXRIDYikE04Cpm_iSA"/>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2eojDZSLxpAyGO7J3_jEpQ"/>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mFeiOhVTMTFDf_pzlfAMxQ"/>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Yfy7S2jSGcZF16NrscNeGw"/>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MuO3X3KwrhH4.ADBP9N7lg"/>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is3pDfBQeWvdFiLubtxBSQ"/>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cc4x3m3jhWuAhbYzFbIRIg"/>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IaNlY.ZJGZkMPmj4gmAaOg"/>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r7GYtDMtTRE0VJrzwLP7tg"/>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qyJhBg.uFQjpidUI3kyjJA"/>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ivJc5rivtay4gi6mYNh7s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blLmrWQwdLYHxAAF_na9pw"/>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XFaG2TLXkBGHBA.jUwt2Hg"/>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hf93hXu9v1barSIwlAwHxw"/>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B9K0FEhuXCfyp76JPIZmaQ"/>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eZDGGSCjvY8IEXX9Xt2bmA"/>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TE4WSOpPGK4CmIYpPn1MHA"/>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3pIkrzb0TYc23MqHWWFxw"/>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Fn.g0to8Mlel7waYlhHdCw"/>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ABvDakS65HGfsJDoI7JEZQ"/>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DEo.g_ClDqAsopFvhtw3og"/>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jR1tbWZMwJj6VkwuKIIjC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YEaEgzPLVbFVUXvqY2Wd6g"/>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hvvwmtgdVkAAAtfsbvvHxQ"/>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fdvL2BPuIqXVV0ivWuzlow"/>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p5qX4VQRbGD7dOMjBUhMgA"/>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ZSM8ymZ4oHbkhxRDR34ROw"/>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aTDbzGC4AtyETEnpPy_GT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RLgQFR.26j0xugi1QRclb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FssWoQb3Sj2MXLpsywE5U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BbpG_PsC.ICO0ZM8fIeZr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L45RSQrLsYvf1X5IOsdI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KQ_reRNvMjE3lTq.bDd9G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vsn8jrlhh_2PG3.2c44Qa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dn2JsrbgfWSdprUvCPONt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XcyvqUE.wcSrWjBFFmLKf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uK2afVbBA4PFv7MvP0tmF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a9XEOLzW8ZOG7UQ4252q2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IPi0WBVvQr52cpBQIZeY7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trEuD6oSYxEc10MODjKPQ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rLg5FVmJXtrWltdv_YfIk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TmnAxHuElqsTzJ1L7yil.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WSz3eRoz8nzIr905or8WS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93FYHI.RUmHSqFncyIBP9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ymyyja._QLrd.qgb2Wkj1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OEjAIh5Sr4LWcBB5LY99U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O23nwMV5zqk0CeeigUGhx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CV5tTUw8MkC2cTHoivzI3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IDtqNGRIEB64vljhgWGQA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JCNdev.YIKC21dMflCvGV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ifz7VBh0aI96OPKDZejtu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0xkXoitbjRpFz1EwVkgue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jF..e.PP0LTx8RuEbcf.t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CUIQS__bzlb78YYh6kVpE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kKg9NEIYNxFwnm95AcvE4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UHwG06HogtfxkPots0YJp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LWYIqVg.VhFimipI5qNC7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yO6kf2v5ciSFT8EiO0mrC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fOVE37PpVR2_WFRbJ.b3T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05Wm1M8wUsukcwIkZNKYb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FRdtVdgru_BSv9350UyuL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Jbd2NnWx8kLBo7U_huiT5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5Ica8FfqvPFNVk3xWrc.H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80Efj.aezYy9c2z0sDA6Kw"/>
</p:tagLst>
</file>

<file path=ppt/theme/theme1.xml><?xml version="1.0" encoding="utf-8"?>
<a:theme xmlns:a="http://schemas.openxmlformats.org/drawingml/2006/main" name="Comcast Business">
  <a:themeElements>
    <a:clrScheme name="CB2023">
      <a:dk1>
        <a:srgbClr val="000000"/>
      </a:dk1>
      <a:lt1>
        <a:srgbClr val="FFFFFF"/>
      </a:lt1>
      <a:dk2>
        <a:srgbClr val="112F64"/>
      </a:dk2>
      <a:lt2>
        <a:srgbClr val="FFFFFF"/>
      </a:lt2>
      <a:accent1>
        <a:srgbClr val="0B61FF"/>
      </a:accent1>
      <a:accent2>
        <a:srgbClr val="8BE1FA"/>
      </a:accent2>
      <a:accent3>
        <a:srgbClr val="7DEDB5"/>
      </a:accent3>
      <a:accent4>
        <a:srgbClr val="A89FFF"/>
      </a:accent4>
      <a:accent5>
        <a:srgbClr val="F8EB55"/>
      </a:accent5>
      <a:accent6>
        <a:srgbClr val="EAEAEA"/>
      </a:accent6>
      <a:hlink>
        <a:srgbClr val="0B61FF"/>
      </a:hlink>
      <a:folHlink>
        <a:srgbClr val="112F64"/>
      </a:folHlink>
    </a:clrScheme>
    <a:fontScheme name="Custom 1">
      <a:majorFont>
        <a:latin typeface="Montserrat Light"/>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noAutofit/>
      </a:bodyPr>
      <a:lstStyle>
        <a:defPPr algn="l">
          <a:defRPr dirty="0" smtClean="0"/>
        </a:defPPr>
      </a:lstStyle>
    </a:txDef>
  </a:objectDefaults>
  <a:extraClrSchemeLst/>
  <a:custClrLst>
    <a:custClr name="Warm 1">
      <a:srgbClr val="F7F7F7"/>
    </a:custClr>
    <a:custClr name="Warm 2">
      <a:srgbClr val="CCCCCC"/>
    </a:custClr>
    <a:custClr name="Warm 3">
      <a:srgbClr val="414141"/>
    </a:custClr>
    <a:custClr name="Warm 4">
      <a:srgbClr val="303030"/>
    </a:custClr>
    <a:custClr name="Warm 5">
      <a:srgbClr val="191919"/>
    </a:custClr>
    <a:custClr name="Cool 1">
      <a:srgbClr val="E6EAED"/>
    </a:custClr>
    <a:custClr name="Cool 2">
      <a:srgbClr val="A5AFB8"/>
    </a:custClr>
  </a:custClrLst>
  <a:extLst>
    <a:ext uri="{05A4C25C-085E-4340-85A3-A5531E510DB2}">
      <thm15:themeFamily xmlns:thm15="http://schemas.microsoft.com/office/thememl/2012/main" name="Q3 2023 _Jul Wk 1_SMB Performance Update.potx" id="{85FC5200-D05F-4067-8A84-CA5E9E1A3348}" vid="{61CC8C9F-1CB0-4576-A635-A1150E6561B1}"/>
    </a:ext>
  </a:extLst>
</a:theme>
</file>

<file path=ppt/theme/theme2.xml><?xml version="1.0" encoding="utf-8"?>
<a:theme xmlns:a="http://schemas.openxmlformats.org/drawingml/2006/main" name="1_Comcast Business">
  <a:themeElements>
    <a:clrScheme name="CB2023">
      <a:dk1>
        <a:srgbClr val="000000"/>
      </a:dk1>
      <a:lt1>
        <a:srgbClr val="FFFFFF"/>
      </a:lt1>
      <a:dk2>
        <a:srgbClr val="112F64"/>
      </a:dk2>
      <a:lt2>
        <a:srgbClr val="FFFFFF"/>
      </a:lt2>
      <a:accent1>
        <a:srgbClr val="0B61FF"/>
      </a:accent1>
      <a:accent2>
        <a:srgbClr val="8BE1FA"/>
      </a:accent2>
      <a:accent3>
        <a:srgbClr val="7DEDB5"/>
      </a:accent3>
      <a:accent4>
        <a:srgbClr val="A89FFF"/>
      </a:accent4>
      <a:accent5>
        <a:srgbClr val="F8EB55"/>
      </a:accent5>
      <a:accent6>
        <a:srgbClr val="EAEAEA"/>
      </a:accent6>
      <a:hlink>
        <a:srgbClr val="0B61FF"/>
      </a:hlink>
      <a:folHlink>
        <a:srgbClr val="112F64"/>
      </a:folHlink>
    </a:clrScheme>
    <a:fontScheme name="Custom 1">
      <a:majorFont>
        <a:latin typeface="Montserrat Light"/>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noAutofit/>
      </a:bodyPr>
      <a:lstStyle>
        <a:defPPr algn="l">
          <a:defRPr dirty="0" smtClean="0"/>
        </a:defPPr>
      </a:lstStyle>
    </a:txDef>
  </a:objectDefaults>
  <a:extraClrSchemeLst/>
  <a:custClrLst>
    <a:custClr name="Warm 1">
      <a:srgbClr val="F7F7F7"/>
    </a:custClr>
    <a:custClr name="Warm 2">
      <a:srgbClr val="CCCCCC"/>
    </a:custClr>
    <a:custClr name="Warm 3">
      <a:srgbClr val="414141"/>
    </a:custClr>
    <a:custClr name="Warm 4">
      <a:srgbClr val="303030"/>
    </a:custClr>
    <a:custClr name="Warm 5">
      <a:srgbClr val="191919"/>
    </a:custClr>
    <a:custClr name="Cool 1">
      <a:srgbClr val="E6EAED"/>
    </a:custClr>
    <a:custClr name="Cool 2">
      <a:srgbClr val="A5AFB8"/>
    </a:custClr>
  </a:custClrLst>
  <a:extLst>
    <a:ext uri="{05A4C25C-085E-4340-85A3-A5531E510DB2}">
      <thm15:themeFamily xmlns:thm15="http://schemas.microsoft.com/office/thememl/2012/main" name="CB-PPT_Template_16x9_Viz-ID_fontembed_2023" id="{0C226122-73BA-4C9D-8497-C53AB85786D2}" vid="{12A622D2-C5CC-4977-BE37-02062FC045A5}"/>
    </a:ext>
  </a:extLst>
</a:theme>
</file>

<file path=ppt/theme/theme3.xml><?xml version="1.0" encoding="utf-8"?>
<a:theme xmlns:a="http://schemas.openxmlformats.org/drawingml/2006/main" name="2_Comcast Business">
  <a:themeElements>
    <a:clrScheme name="CB_new_colors">
      <a:dk1>
        <a:srgbClr val="000000"/>
      </a:dk1>
      <a:lt1>
        <a:srgbClr val="F7F7F7"/>
      </a:lt1>
      <a:dk2>
        <a:srgbClr val="112F64"/>
      </a:dk2>
      <a:lt2>
        <a:srgbClr val="FFFFFF"/>
      </a:lt2>
      <a:accent1>
        <a:srgbClr val="0D62FF"/>
      </a:accent1>
      <a:accent2>
        <a:srgbClr val="8BE1FA"/>
      </a:accent2>
      <a:accent3>
        <a:srgbClr val="7DEDB5"/>
      </a:accent3>
      <a:accent4>
        <a:srgbClr val="907BE9"/>
      </a:accent4>
      <a:accent5>
        <a:srgbClr val="F05757"/>
      </a:accent5>
      <a:accent6>
        <a:srgbClr val="FECC57"/>
      </a:accent6>
      <a:hlink>
        <a:srgbClr val="0D62FF"/>
      </a:hlink>
      <a:folHlink>
        <a:srgbClr val="112F64"/>
      </a:folHlink>
    </a:clrScheme>
    <a:fontScheme name="Comcast_Biz_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noAutofit/>
      </a:bodyPr>
      <a:lstStyle>
        <a:defPPr algn="l">
          <a:defRPr dirty="0" smtClean="0"/>
        </a:defPPr>
      </a:lstStyle>
    </a:txDef>
  </a:objectDefaults>
  <a:extraClrSchemeLst/>
  <a:custClrLst>
    <a:custClr name="Warm 1">
      <a:srgbClr val="F7F7F7"/>
    </a:custClr>
    <a:custClr name="Warm 2">
      <a:srgbClr val="CCCCCC"/>
    </a:custClr>
    <a:custClr name="Warm 3">
      <a:srgbClr val="414141"/>
    </a:custClr>
    <a:custClr name="Warm 4">
      <a:srgbClr val="303030"/>
    </a:custClr>
    <a:custClr name="Warm 5">
      <a:srgbClr val="191919"/>
    </a:custClr>
    <a:custClr name="Cool 1">
      <a:srgbClr val="E6EAED"/>
    </a:custClr>
    <a:custClr name="Cool 2">
      <a:srgbClr val="A5AFB8"/>
    </a:custClr>
  </a:custClrLst>
  <a:extLst>
    <a:ext uri="{05A4C25C-085E-4340-85A3-A5531E510DB2}">
      <thm15:themeFamily xmlns:thm15="http://schemas.microsoft.com/office/thememl/2012/main" name="Presentation2" id="{586D364F-30BE-854E-86A7-6919039E0016}" vid="{ED45100E-5DE5-524F-850B-9360BE3CA4BE}"/>
    </a:ext>
  </a:extLst>
</a:theme>
</file>

<file path=ppt/theme/theme4.xml><?xml version="1.0" encoding="utf-8"?>
<a:theme xmlns:a="http://schemas.openxmlformats.org/drawingml/2006/main" name="3_Comcast Business">
  <a:themeElements>
    <a:clrScheme name="CB2023">
      <a:dk1>
        <a:srgbClr val="000000"/>
      </a:dk1>
      <a:lt1>
        <a:srgbClr val="FFFFFF"/>
      </a:lt1>
      <a:dk2>
        <a:srgbClr val="112F64"/>
      </a:dk2>
      <a:lt2>
        <a:srgbClr val="FFFFFF"/>
      </a:lt2>
      <a:accent1>
        <a:srgbClr val="0B61FF"/>
      </a:accent1>
      <a:accent2>
        <a:srgbClr val="8BE1FA"/>
      </a:accent2>
      <a:accent3>
        <a:srgbClr val="7DEDB5"/>
      </a:accent3>
      <a:accent4>
        <a:srgbClr val="A89FFF"/>
      </a:accent4>
      <a:accent5>
        <a:srgbClr val="F8EB55"/>
      </a:accent5>
      <a:accent6>
        <a:srgbClr val="EAEAEA"/>
      </a:accent6>
      <a:hlink>
        <a:srgbClr val="0B61FF"/>
      </a:hlink>
      <a:folHlink>
        <a:srgbClr val="112F64"/>
      </a:folHlink>
    </a:clrScheme>
    <a:fontScheme name="Custom 1">
      <a:majorFont>
        <a:latin typeface="Montserrat Light"/>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noAutofit/>
      </a:bodyPr>
      <a:lstStyle>
        <a:defPPr algn="l">
          <a:defRPr dirty="0" smtClean="0"/>
        </a:defPPr>
      </a:lstStyle>
    </a:txDef>
  </a:objectDefaults>
  <a:extraClrSchemeLst/>
  <a:custClrLst>
    <a:custClr name="Warm 1">
      <a:srgbClr val="F7F7F7"/>
    </a:custClr>
    <a:custClr name="Warm 2">
      <a:srgbClr val="CCCCCC"/>
    </a:custClr>
    <a:custClr name="Warm 3">
      <a:srgbClr val="414141"/>
    </a:custClr>
    <a:custClr name="Warm 4">
      <a:srgbClr val="303030"/>
    </a:custClr>
    <a:custClr name="Warm 5">
      <a:srgbClr val="191919"/>
    </a:custClr>
    <a:custClr name="Cool 1">
      <a:srgbClr val="E6EAED"/>
    </a:custClr>
    <a:custClr name="Cool 2">
      <a:srgbClr val="A5AFB8"/>
    </a:custClr>
  </a:custClrLst>
  <a:extLst>
    <a:ext uri="{05A4C25C-085E-4340-85A3-A5531E510DB2}">
      <thm15:themeFamily xmlns:thm15="http://schemas.microsoft.com/office/thememl/2012/main" name="CB-PPT_Template_16x9_2023 (002)  -  Read-Only" id="{D83670D8-8232-436B-B6DB-9BC1CB8030C2}" vid="{95712C46-A886-4F15-B063-1699FA48A473}"/>
    </a:ext>
  </a:extLst>
</a:theme>
</file>

<file path=ppt/theme/theme5.xml><?xml version="1.0" encoding="utf-8"?>
<a:theme xmlns:a="http://schemas.openxmlformats.org/drawingml/2006/main" name="4_Comcast Business">
  <a:themeElements>
    <a:clrScheme name="Comcast_Biz_Colors">
      <a:dk1>
        <a:srgbClr val="000000"/>
      </a:dk1>
      <a:lt1>
        <a:srgbClr val="F7F7F7"/>
      </a:lt1>
      <a:dk2>
        <a:srgbClr val="112F64"/>
      </a:dk2>
      <a:lt2>
        <a:srgbClr val="FFFFFF"/>
      </a:lt2>
      <a:accent1>
        <a:srgbClr val="0D61FF"/>
      </a:accent1>
      <a:accent2>
        <a:srgbClr val="8BE1FA"/>
      </a:accent2>
      <a:accent3>
        <a:srgbClr val="7DEDB5"/>
      </a:accent3>
      <a:accent4>
        <a:srgbClr val="907BE9"/>
      </a:accent4>
      <a:accent5>
        <a:srgbClr val="F05757"/>
      </a:accent5>
      <a:accent6>
        <a:srgbClr val="FECC57"/>
      </a:accent6>
      <a:hlink>
        <a:srgbClr val="0D61FF"/>
      </a:hlink>
      <a:folHlink>
        <a:srgbClr val="112F64"/>
      </a:folHlink>
    </a:clrScheme>
    <a:fontScheme name="Comcast_Biz_fonts">
      <a:majorFont>
        <a:latin typeface="Montserrat Light"/>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noAutofit/>
      </a:bodyPr>
      <a:lstStyle>
        <a:defPPr algn="l">
          <a:defRPr dirty="0" smtClean="0"/>
        </a:defPPr>
      </a:lstStyle>
    </a:txDef>
  </a:objectDefaults>
  <a:extraClrSchemeLst/>
  <a:custClrLst>
    <a:custClr name="Warm 1">
      <a:srgbClr val="F7F7F7"/>
    </a:custClr>
    <a:custClr name="Warm 2">
      <a:srgbClr val="CCCCCC"/>
    </a:custClr>
    <a:custClr name="Warm 3">
      <a:srgbClr val="414141"/>
    </a:custClr>
    <a:custClr name="Warm 4">
      <a:srgbClr val="303030"/>
    </a:custClr>
    <a:custClr name="Warm 5">
      <a:srgbClr val="191919"/>
    </a:custClr>
    <a:custClr name="Cool 1">
      <a:srgbClr val="E6EAED"/>
    </a:custClr>
    <a:custClr name="Cool 2">
      <a:srgbClr val="A5AFB8"/>
    </a:custClr>
  </a:custClrLst>
  <a:extLst>
    <a:ext uri="{05A4C25C-085E-4340-85A3-A5531E510DB2}">
      <thm15:themeFamily xmlns:thm15="http://schemas.microsoft.com/office/thememl/2012/main" name="Presentation2" id="{FE3BC3D9-DAA3-487A-8C5E-9E899F779FF7}" vid="{4240A107-7C3D-4C03-83B0-69303FC47361}"/>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66341510-a3f3-4661-975a-be3443f1b2fc">
      <UserInfo>
        <DisplayName>Brandona, Tanya</DisplayName>
        <AccountId>33</AccountId>
        <AccountType/>
      </UserInfo>
      <UserInfo>
        <DisplayName>Rozzo, John</DisplayName>
        <AccountId>19</AccountId>
        <AccountType/>
      </UserInfo>
      <UserInfo>
        <DisplayName>Pike, Amanda</DisplayName>
        <AccountId>182</AccountId>
        <AccountType/>
      </UserInfo>
      <UserInfo>
        <DisplayName>Eshelman, Brittany (Contractor)</DisplayName>
        <AccountId>146</AccountId>
        <AccountType/>
      </UserInfo>
      <UserInfo>
        <DisplayName>Mercer, Michael</DisplayName>
        <AccountId>392</AccountId>
        <AccountType/>
      </UserInfo>
      <UserInfo>
        <DisplayName>McKelvey, Colleen</DisplayName>
        <AccountId>56</AccountId>
        <AccountType/>
      </UserInfo>
      <UserInfo>
        <DisplayName>Pandey, Deepika</DisplayName>
        <AccountId>16</AccountId>
        <AccountType/>
      </UserInfo>
      <UserInfo>
        <DisplayName>Thomas, David (Contractor)</DisplayName>
        <AccountId>261</AccountId>
        <AccountType/>
      </UserInfo>
      <UserInfo>
        <DisplayName>Ward-Maupin, Teresa</DisplayName>
        <AccountId>94</AccountId>
        <AccountType/>
      </UserInfo>
      <UserInfo>
        <DisplayName>Reidy, Emily (Contractor)</DisplayName>
        <AccountId>51</AccountId>
        <AccountType/>
      </UserInfo>
      <UserInfo>
        <DisplayName>SharingLinks.f04096b8-887a-40c5-85f5-e623b8396358.Flexible.8e92dca0-49b7-4f32-acf6-6ae96f3171dc</DisplayName>
        <AccountId>733</AccountId>
        <AccountType/>
      </UserInfo>
      <UserInfo>
        <DisplayName>Salinas, Meghan (Contractor)</DisplayName>
        <AccountId>12</AccountId>
        <AccountType/>
      </UserInfo>
      <UserInfo>
        <DisplayName>Mittal, Stuti (Contractor)</DisplayName>
        <AccountId>836</AccountId>
        <AccountType/>
      </UserInfo>
    </SharedWithUsers>
    <lcf76f155ced4ddcb4097134ff3c332f xmlns="480fcabe-3c67-4a7d-aab0-55d214c4f8e8">
      <Terms xmlns="http://schemas.microsoft.com/office/infopath/2007/PartnerControls"/>
    </lcf76f155ced4ddcb4097134ff3c332f>
    <TaxCatchAll xmlns="66341510-a3f3-4661-975a-be3443f1b2fc"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AA476306C15AB49A3FAC4EC655067DF" ma:contentTypeVersion="15" ma:contentTypeDescription="Create a new document." ma:contentTypeScope="" ma:versionID="0aeef1170e734e67f1748cdfe415bcc6">
  <xsd:schema xmlns:xsd="http://www.w3.org/2001/XMLSchema" xmlns:xs="http://www.w3.org/2001/XMLSchema" xmlns:p="http://schemas.microsoft.com/office/2006/metadata/properties" xmlns:ns2="66341510-a3f3-4661-975a-be3443f1b2fc" xmlns:ns3="480fcabe-3c67-4a7d-aab0-55d214c4f8e8" targetNamespace="http://schemas.microsoft.com/office/2006/metadata/properties" ma:root="true" ma:fieldsID="adfaccc2a7705acc2a5421aece9efc13" ns2:_="" ns3:_="">
    <xsd:import namespace="66341510-a3f3-4661-975a-be3443f1b2fc"/>
    <xsd:import namespace="480fcabe-3c67-4a7d-aab0-55d214c4f8e8"/>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SearchProperties" minOccurs="0"/>
                <xsd:element ref="ns3:MediaServiceDateTaken" minOccurs="0"/>
                <xsd:element ref="ns3:MediaServiceObjectDetectorVersions" minOccurs="0"/>
                <xsd:element ref="ns3:MediaServiceGenerationTime" minOccurs="0"/>
                <xsd:element ref="ns3:MediaServiceEventHashCode" minOccurs="0"/>
                <xsd:element ref="ns3:MediaLengthInSeconds" minOccurs="0"/>
                <xsd:element ref="ns3:lcf76f155ced4ddcb4097134ff3c332f" minOccurs="0"/>
                <xsd:element ref="ns2:TaxCatchAll" minOccurs="0"/>
                <xsd:element ref="ns3:MediaServiceOCR"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6341510-a3f3-4661-975a-be3443f1b2fc"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20" nillable="true" ma:displayName="Taxonomy Catch All Column" ma:hidden="true" ma:list="{c535858d-5828-4854-8ce4-244a51eda849}" ma:internalName="TaxCatchAll" ma:showField="CatchAllData" ma:web="66341510-a3f3-4661-975a-be3443f1b2fc">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480fcabe-3c67-4a7d-aab0-55d214c4f8e8"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SearchProperties" ma:index="12" nillable="true" ma:displayName="MediaServiceSearchProperties" ma:hidden="true" ma:internalName="MediaServiceSearchProperties" ma:readOnly="true">
      <xsd:simpleType>
        <xsd:restriction base="dms:Note"/>
      </xsd:simpleType>
    </xsd:element>
    <xsd:element name="MediaServiceDateTaken" ma:index="13" nillable="true" ma:displayName="MediaServiceDateTaken" ma:hidden="true" ma:indexed="true" ma:internalName="MediaServiceDateTaken" ma:readOnly="true">
      <xsd:simpleType>
        <xsd:restriction base="dms:Text"/>
      </xsd:simpleType>
    </xsd:element>
    <xsd:element name="MediaServiceObjectDetectorVersions" ma:index="14" nillable="true" ma:displayName="MediaServiceObjectDetectorVersions" ma:hidden="true" ma:indexed="true" ma:internalName="MediaServiceObjectDetectorVersion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b403bea8-3a38-4b57-ad86-c86acc1ab494" ma:termSetId="09814cd3-568e-fe90-9814-8d621ff8fb84" ma:anchorId="fba54fb3-c3e1-fe81-a776-ca4b69148c4d" ma:open="true" ma:isKeyword="false">
      <xsd:complexType>
        <xsd:sequence>
          <xsd:element ref="pc:Terms" minOccurs="0" maxOccurs="1"/>
        </xsd:sequence>
      </xsd:complexType>
    </xsd:element>
    <xsd:element name="MediaServiceOCR" ma:index="21" nillable="true" ma:displayName="Extracted Text" ma:internalName="MediaServiceOCR" ma:readOnly="true">
      <xsd:simpleType>
        <xsd:restriction base="dms:Note">
          <xsd:maxLength value="255"/>
        </xsd:restriction>
      </xsd:simpleType>
    </xsd:element>
    <xsd:element name="MediaServiceLocation" ma:index="22" nillable="true" ma:displayName="Location" ma:indexed="true"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14592C4-68D0-46F0-B134-C63EF5576531}">
  <ds:schemaRefs>
    <ds:schemaRef ds:uri="http://schemas.microsoft.com/sharepoint/v3/contenttype/forms"/>
  </ds:schemaRefs>
</ds:datastoreItem>
</file>

<file path=customXml/itemProps2.xml><?xml version="1.0" encoding="utf-8"?>
<ds:datastoreItem xmlns:ds="http://schemas.openxmlformats.org/officeDocument/2006/customXml" ds:itemID="{D5D638D9-E833-447C-B251-6D896CF9D2EF}">
  <ds:schemaRefs>
    <ds:schemaRef ds:uri="http://schemas.microsoft.com/office/2006/metadata/properties"/>
    <ds:schemaRef ds:uri="66341510-a3f3-4661-975a-be3443f1b2fc"/>
    <ds:schemaRef ds:uri="http://purl.org/dc/elements/1.1/"/>
    <ds:schemaRef ds:uri="http://schemas.microsoft.com/office/2006/documentManagement/types"/>
    <ds:schemaRef ds:uri="http://purl.org/dc/dcmitype/"/>
    <ds:schemaRef ds:uri="480fcabe-3c67-4a7d-aab0-55d214c4f8e8"/>
    <ds:schemaRef ds:uri="http://schemas.microsoft.com/office/infopath/2007/PartnerControls"/>
    <ds:schemaRef ds:uri="http://schemas.openxmlformats.org/package/2006/metadata/core-properties"/>
    <ds:schemaRef ds:uri="http://www.w3.org/XML/1998/namespace"/>
    <ds:schemaRef ds:uri="http://purl.org/dc/terms/"/>
  </ds:schemaRefs>
</ds:datastoreItem>
</file>

<file path=customXml/itemProps3.xml><?xml version="1.0" encoding="utf-8"?>
<ds:datastoreItem xmlns:ds="http://schemas.openxmlformats.org/officeDocument/2006/customXml" ds:itemID="{B88E4C7D-40E0-4295-83A9-B203737F0C6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6341510-a3f3-4661-975a-be3443f1b2fc"/>
    <ds:schemaRef ds:uri="480fcabe-3c67-4a7d-aab0-55d214c4f8e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Q3 2023 _Jul Wk 1_SMB Performance Update</Template>
  <TotalTime>36127</TotalTime>
  <Words>5150</Words>
  <Application>Microsoft Office PowerPoint</Application>
  <PresentationFormat>Widescreen</PresentationFormat>
  <Paragraphs>1327</Paragraphs>
  <Slides>19</Slides>
  <Notes>18</Notes>
  <HiddenSlides>0</HiddenSlides>
  <MMClips>0</MMClips>
  <ScaleCrop>false</ScaleCrop>
  <HeadingPairs>
    <vt:vector size="8" baseType="variant">
      <vt:variant>
        <vt:lpstr>Fonts Used</vt:lpstr>
      </vt:variant>
      <vt:variant>
        <vt:i4>11</vt:i4>
      </vt:variant>
      <vt:variant>
        <vt:lpstr>Theme</vt:lpstr>
      </vt:variant>
      <vt:variant>
        <vt:i4>5</vt:i4>
      </vt:variant>
      <vt:variant>
        <vt:lpstr>Embedded OLE Servers</vt:lpstr>
      </vt:variant>
      <vt:variant>
        <vt:i4>1</vt:i4>
      </vt:variant>
      <vt:variant>
        <vt:lpstr>Slide Titles</vt:lpstr>
      </vt:variant>
      <vt:variant>
        <vt:i4>19</vt:i4>
      </vt:variant>
    </vt:vector>
  </HeadingPairs>
  <TitlesOfParts>
    <vt:vector size="36" baseType="lpstr">
      <vt:lpstr>Xfinity Brown Light</vt:lpstr>
      <vt:lpstr>Arial</vt:lpstr>
      <vt:lpstr>Montserrat SemiBold</vt:lpstr>
      <vt:lpstr>Söhne</vt:lpstr>
      <vt:lpstr>Calibri</vt:lpstr>
      <vt:lpstr>System Font Regular</vt:lpstr>
      <vt:lpstr>Xfinity Brown</vt:lpstr>
      <vt:lpstr>Noto Sans Symbols</vt:lpstr>
      <vt:lpstr>Montserrat</vt:lpstr>
      <vt:lpstr>Courier New</vt:lpstr>
      <vt:lpstr>Montserrat Light</vt:lpstr>
      <vt:lpstr>Comcast Business</vt:lpstr>
      <vt:lpstr>1_Comcast Business</vt:lpstr>
      <vt:lpstr>2_Comcast Business</vt:lpstr>
      <vt:lpstr>3_Comcast Business</vt:lpstr>
      <vt:lpstr>4_Comcast Business</vt:lpstr>
      <vt:lpstr>think-cell Slide</vt:lpstr>
      <vt:lpstr>May Digital Performance</vt:lpstr>
      <vt:lpstr>CB Ops Review – Digital Definitions</vt:lpstr>
      <vt:lpstr>CB Ops Review – Enterprise</vt:lpstr>
      <vt:lpstr>CB Ops Review – Small Business</vt:lpstr>
      <vt:lpstr>EB Digital Performance – Traffic outperformed MoM; leads &amp; sales declined outperforming MoM</vt:lpstr>
      <vt:lpstr>CBM Digital Performance</vt:lpstr>
      <vt:lpstr>SB Digital Performance</vt:lpstr>
      <vt:lpstr>SB Raw Traffic 101% MoM; Eng. Visit Rate 95% MoM</vt:lpstr>
      <vt:lpstr>SB Engaged Traffic 96% MoM and 71% to BUD; Lead CVR 94% MoM</vt:lpstr>
      <vt:lpstr>SB Mar Digital Leads by Sales Tactic</vt:lpstr>
      <vt:lpstr>SB May Digital Demand 124% to BUD; Digital Lead Share 61% MOM</vt:lpstr>
      <vt:lpstr>SB Engaged Traffic xx% MoM; Eng. Visit Rate xx% MoM</vt:lpstr>
      <vt:lpstr>SB Digital Leads by Sales Tactic</vt:lpstr>
      <vt:lpstr>SB Digital Sales by Sales Tactic</vt:lpstr>
      <vt:lpstr>SB Digital Influence Revenue xx% MOM; Share xx% MOM</vt:lpstr>
      <vt:lpstr>[main takeaway]</vt:lpstr>
      <vt:lpstr>[main takeaway]</vt:lpstr>
      <vt:lpstr>Appendix</vt:lpstr>
      <vt:lpstr>CB Ops Review – Digital Definitions</vt:lpstr>
    </vt:vector>
  </TitlesOfParts>
  <Company>EXLService I Pvt Lt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MB  Performance Update</dc:title>
  <dc:creator>Shibu Manna;Ruth Zinder</dc:creator>
  <cp:lastModifiedBy>Imran Syed</cp:lastModifiedBy>
  <cp:revision>14</cp:revision>
  <cp:lastPrinted>2024-04-02T16:05:37Z</cp:lastPrinted>
  <dcterms:created xsi:type="dcterms:W3CDTF">2023-06-30T15:14:52Z</dcterms:created>
  <dcterms:modified xsi:type="dcterms:W3CDTF">2024-06-30T07:45: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AA476306C15AB49A3FAC4EC655067DF</vt:lpwstr>
  </property>
  <property fmtid="{D5CDD505-2E9C-101B-9397-08002B2CF9AE}" pid="3" name="MSIP_Label_15652fe2-2b59-4d95-925c-ee86d789ff67_Enabled">
    <vt:lpwstr>true</vt:lpwstr>
  </property>
  <property fmtid="{D5CDD505-2E9C-101B-9397-08002B2CF9AE}" pid="4" name="MSIP_Label_15652fe2-2b59-4d95-925c-ee86d789ff67_SetDate">
    <vt:lpwstr>2023-06-30T18:16:19Z</vt:lpwstr>
  </property>
  <property fmtid="{D5CDD505-2E9C-101B-9397-08002B2CF9AE}" pid="5" name="MSIP_Label_15652fe2-2b59-4d95-925c-ee86d789ff67_Method">
    <vt:lpwstr>Privileged</vt:lpwstr>
  </property>
  <property fmtid="{D5CDD505-2E9C-101B-9397-08002B2CF9AE}" pid="6" name="MSIP_Label_15652fe2-2b59-4d95-925c-ee86d789ff67_Name">
    <vt:lpwstr>Confidential (C)</vt:lpwstr>
  </property>
  <property fmtid="{D5CDD505-2E9C-101B-9397-08002B2CF9AE}" pid="7" name="MSIP_Label_15652fe2-2b59-4d95-925c-ee86d789ff67_SiteId">
    <vt:lpwstr>906aefe9-76a7-4f65-b82d-5ec20775d5aa</vt:lpwstr>
  </property>
  <property fmtid="{D5CDD505-2E9C-101B-9397-08002B2CF9AE}" pid="8" name="MSIP_Label_15652fe2-2b59-4d95-925c-ee86d789ff67_ActionId">
    <vt:lpwstr>e7ad5c20-342e-47bf-bfe1-56c4eefbf912</vt:lpwstr>
  </property>
  <property fmtid="{D5CDD505-2E9C-101B-9397-08002B2CF9AE}" pid="9" name="MSIP_Label_15652fe2-2b59-4d95-925c-ee86d789ff67_ContentBits">
    <vt:lpwstr>0</vt:lpwstr>
  </property>
  <property fmtid="{D5CDD505-2E9C-101B-9397-08002B2CF9AE}" pid="10" name="MediaServiceImageTags">
    <vt:lpwstr/>
  </property>
</Properties>
</file>